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wdp" ContentType="image/vnd.ms-photo"/>
  <Default Extension="WMF" ContentType="image/x-wmf"/>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diagrams/data9.xml" ContentType="application/vnd.openxmlformats-officedocument.drawingml.diagramData+xml"/>
  <Override PartName="/ppt/diagrams/layout9.xml" ContentType="application/vnd.openxmlformats-officedocument.drawingml.diagramLayout+xml"/>
  <Override PartName="/ppt/diagrams/quickStyle9.xml" ContentType="application/vnd.openxmlformats-officedocument.drawingml.diagramStyle+xml"/>
  <Override PartName="/ppt/diagrams/colors9.xml" ContentType="application/vnd.openxmlformats-officedocument.drawingml.diagramColors+xml"/>
  <Override PartName="/ppt/diagrams/drawing9.xml" ContentType="application/vnd.ms-office.drawingml.diagramDrawing+xml"/>
  <Override PartName="/ppt/diagrams/data10.xml" ContentType="application/vnd.openxmlformats-officedocument.drawingml.diagramData+xml"/>
  <Override PartName="/ppt/diagrams/layout10.xml" ContentType="application/vnd.openxmlformats-officedocument.drawingml.diagramLayout+xml"/>
  <Override PartName="/ppt/diagrams/quickStyle10.xml" ContentType="application/vnd.openxmlformats-officedocument.drawingml.diagramStyle+xml"/>
  <Override PartName="/ppt/diagrams/colors10.xml" ContentType="application/vnd.openxmlformats-officedocument.drawingml.diagramColors+xml"/>
  <Override PartName="/ppt/diagrams/drawing10.xml" ContentType="application/vnd.ms-office.drawingml.diagramDrawing+xml"/>
  <Override PartName="/ppt/diagrams/data11.xml" ContentType="application/vnd.openxmlformats-officedocument.drawingml.diagramData+xml"/>
  <Override PartName="/ppt/diagrams/layout11.xml" ContentType="application/vnd.openxmlformats-officedocument.drawingml.diagramLayout+xml"/>
  <Override PartName="/ppt/diagrams/quickStyle11.xml" ContentType="application/vnd.openxmlformats-officedocument.drawingml.diagramStyle+xml"/>
  <Override PartName="/ppt/diagrams/colors11.xml" ContentType="application/vnd.openxmlformats-officedocument.drawingml.diagramColors+xml"/>
  <Override PartName="/ppt/diagrams/drawing11.xml" ContentType="application/vnd.ms-office.drawingml.diagramDrawing+xml"/>
  <Override PartName="/ppt/diagrams/data12.xml" ContentType="application/vnd.openxmlformats-officedocument.drawingml.diagramData+xml"/>
  <Override PartName="/ppt/diagrams/layout12.xml" ContentType="application/vnd.openxmlformats-officedocument.drawingml.diagramLayout+xml"/>
  <Override PartName="/ppt/diagrams/quickStyle12.xml" ContentType="application/vnd.openxmlformats-officedocument.drawingml.diagramStyle+xml"/>
  <Override PartName="/ppt/diagrams/colors12.xml" ContentType="application/vnd.openxmlformats-officedocument.drawingml.diagramColors+xml"/>
  <Override PartName="/ppt/diagrams/drawing12.xml" ContentType="application/vnd.ms-office.drawingml.diagramDrawing+xml"/>
  <Override PartName="/ppt/diagrams/data13.xml" ContentType="application/vnd.openxmlformats-officedocument.drawingml.diagramData+xml"/>
  <Override PartName="/ppt/diagrams/layout13.xml" ContentType="application/vnd.openxmlformats-officedocument.drawingml.diagramLayout+xml"/>
  <Override PartName="/ppt/diagrams/quickStyle13.xml" ContentType="application/vnd.openxmlformats-officedocument.drawingml.diagramStyle+xml"/>
  <Override PartName="/ppt/diagrams/colors13.xml" ContentType="application/vnd.openxmlformats-officedocument.drawingml.diagramColors+xml"/>
  <Override PartName="/ppt/diagrams/drawing13.xml" ContentType="application/vnd.ms-office.drawingml.diagramDrawing+xml"/>
  <Override PartName="/ppt/diagrams/data14.xml" ContentType="application/vnd.openxmlformats-officedocument.drawingml.diagramData+xml"/>
  <Override PartName="/ppt/diagrams/layout14.xml" ContentType="application/vnd.openxmlformats-officedocument.drawingml.diagramLayout+xml"/>
  <Override PartName="/ppt/diagrams/quickStyle14.xml" ContentType="application/vnd.openxmlformats-officedocument.drawingml.diagramStyle+xml"/>
  <Override PartName="/ppt/diagrams/colors14.xml" ContentType="application/vnd.openxmlformats-officedocument.drawingml.diagramColors+xml"/>
  <Override PartName="/ppt/diagrams/drawing14.xml" ContentType="application/vnd.ms-office.drawingml.diagramDrawing+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1.xml" ContentType="application/vnd.openxmlformats-officedocument.presentationml.tags+xml"/>
  <Override PartName="/ppt/notesSlides/notesSlide5.xml" ContentType="application/vnd.openxmlformats-officedocument.presentationml.notesSlide+xml"/>
  <Override PartName="/ppt/diagrams/data15.xml" ContentType="application/vnd.openxmlformats-officedocument.drawingml.diagramData+xml"/>
  <Override PartName="/ppt/diagrams/layout15.xml" ContentType="application/vnd.openxmlformats-officedocument.drawingml.diagramLayout+xml"/>
  <Override PartName="/ppt/diagrams/quickStyle15.xml" ContentType="application/vnd.openxmlformats-officedocument.drawingml.diagramStyle+xml"/>
  <Override PartName="/ppt/diagrams/colors15.xml" ContentType="application/vnd.openxmlformats-officedocument.drawingml.diagramColors+xml"/>
  <Override PartName="/ppt/diagrams/drawing15.xml" ContentType="application/vnd.ms-office.drawingml.diagramDrawing+xml"/>
  <Override PartName="/ppt/diagrams/data16.xml" ContentType="application/vnd.openxmlformats-officedocument.drawingml.diagramData+xml"/>
  <Override PartName="/ppt/diagrams/layout16.xml" ContentType="application/vnd.openxmlformats-officedocument.drawingml.diagramLayout+xml"/>
  <Override PartName="/ppt/diagrams/quickStyle16.xml" ContentType="application/vnd.openxmlformats-officedocument.drawingml.diagramStyle+xml"/>
  <Override PartName="/ppt/diagrams/colors16.xml" ContentType="application/vnd.openxmlformats-officedocument.drawingml.diagramColors+xml"/>
  <Override PartName="/ppt/diagrams/drawing16.xml" ContentType="application/vnd.ms-office.drawingml.diagramDrawing+xml"/>
  <Override PartName="/ppt/diagrams/data17.xml" ContentType="application/vnd.openxmlformats-officedocument.drawingml.diagramData+xml"/>
  <Override PartName="/ppt/diagrams/layout17.xml" ContentType="application/vnd.openxmlformats-officedocument.drawingml.diagramLayout+xml"/>
  <Override PartName="/ppt/diagrams/quickStyle17.xml" ContentType="application/vnd.openxmlformats-officedocument.drawingml.diagramStyle+xml"/>
  <Override PartName="/ppt/diagrams/colors17.xml" ContentType="application/vnd.openxmlformats-officedocument.drawingml.diagramColors+xml"/>
  <Override PartName="/ppt/diagrams/drawing17.xml" ContentType="application/vnd.ms-office.drawingml.diagramDrawing+xml"/>
  <Override PartName="/ppt/diagrams/data18.xml" ContentType="application/vnd.openxmlformats-officedocument.drawingml.diagramData+xml"/>
  <Override PartName="/ppt/diagrams/layout18.xml" ContentType="application/vnd.openxmlformats-officedocument.drawingml.diagramLayout+xml"/>
  <Override PartName="/ppt/diagrams/quickStyle18.xml" ContentType="application/vnd.openxmlformats-officedocument.drawingml.diagramStyle+xml"/>
  <Override PartName="/ppt/diagrams/colors18.xml" ContentType="application/vnd.openxmlformats-officedocument.drawingml.diagramColors+xml"/>
  <Override PartName="/ppt/diagrams/drawing18.xml" ContentType="application/vnd.ms-office.drawingml.diagramDrawing+xml"/>
  <Override PartName="/ppt/diagrams/data19.xml" ContentType="application/vnd.openxmlformats-officedocument.drawingml.diagramData+xml"/>
  <Override PartName="/ppt/diagrams/layout19.xml" ContentType="application/vnd.openxmlformats-officedocument.drawingml.diagramLayout+xml"/>
  <Override PartName="/ppt/diagrams/quickStyle19.xml" ContentType="application/vnd.openxmlformats-officedocument.drawingml.diagramStyle+xml"/>
  <Override PartName="/ppt/diagrams/colors19.xml" ContentType="application/vnd.openxmlformats-officedocument.drawingml.diagramColors+xml"/>
  <Override PartName="/ppt/diagrams/drawing19.xml" ContentType="application/vnd.ms-office.drawingml.diagramDrawing+xml"/>
  <Override PartName="/ppt/diagrams/data20.xml" ContentType="application/vnd.openxmlformats-officedocument.drawingml.diagramData+xml"/>
  <Override PartName="/ppt/diagrams/layout20.xml" ContentType="application/vnd.openxmlformats-officedocument.drawingml.diagramLayout+xml"/>
  <Override PartName="/ppt/diagrams/quickStyle20.xml" ContentType="application/vnd.openxmlformats-officedocument.drawingml.diagramStyle+xml"/>
  <Override PartName="/ppt/diagrams/colors20.xml" ContentType="application/vnd.openxmlformats-officedocument.drawingml.diagramColors+xml"/>
  <Override PartName="/ppt/diagrams/drawing20.xml" ContentType="application/vnd.ms-office.drawingml.diagramDrawing+xml"/>
  <Override PartName="/ppt/diagrams/data21.xml" ContentType="application/vnd.openxmlformats-officedocument.drawingml.diagramData+xml"/>
  <Override PartName="/ppt/diagrams/layout21.xml" ContentType="application/vnd.openxmlformats-officedocument.drawingml.diagramLayout+xml"/>
  <Override PartName="/ppt/diagrams/quickStyle21.xml" ContentType="application/vnd.openxmlformats-officedocument.drawingml.diagramStyle+xml"/>
  <Override PartName="/ppt/diagrams/colors21.xml" ContentType="application/vnd.openxmlformats-officedocument.drawingml.diagramColors+xml"/>
  <Override PartName="/ppt/diagrams/drawing21.xml" ContentType="application/vnd.ms-office.drawingml.diagramDrawing+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50"/>
  </p:notesMasterIdLst>
  <p:handoutMasterIdLst>
    <p:handoutMasterId r:id="rId51"/>
  </p:handoutMasterIdLst>
  <p:sldIdLst>
    <p:sldId id="497" r:id="rId2"/>
    <p:sldId id="412" r:id="rId3"/>
    <p:sldId id="496" r:id="rId4"/>
    <p:sldId id="2076136560" r:id="rId5"/>
    <p:sldId id="358" r:id="rId6"/>
    <p:sldId id="370" r:id="rId7"/>
    <p:sldId id="371" r:id="rId8"/>
    <p:sldId id="372" r:id="rId9"/>
    <p:sldId id="505" r:id="rId10"/>
    <p:sldId id="374" r:id="rId11"/>
    <p:sldId id="375" r:id="rId12"/>
    <p:sldId id="376" r:id="rId13"/>
    <p:sldId id="2076136561" r:id="rId14"/>
    <p:sldId id="381" r:id="rId15"/>
    <p:sldId id="382" r:id="rId16"/>
    <p:sldId id="380" r:id="rId17"/>
    <p:sldId id="378" r:id="rId18"/>
    <p:sldId id="388" r:id="rId19"/>
    <p:sldId id="368" r:id="rId20"/>
    <p:sldId id="2076136562" r:id="rId21"/>
    <p:sldId id="393" r:id="rId22"/>
    <p:sldId id="502" r:id="rId23"/>
    <p:sldId id="384" r:id="rId24"/>
    <p:sldId id="2076136554" r:id="rId25"/>
    <p:sldId id="2076136550" r:id="rId26"/>
    <p:sldId id="10525" r:id="rId27"/>
    <p:sldId id="2076136565" r:id="rId28"/>
    <p:sldId id="501" r:id="rId29"/>
    <p:sldId id="392" r:id="rId30"/>
    <p:sldId id="500" r:id="rId31"/>
    <p:sldId id="395" r:id="rId32"/>
    <p:sldId id="396" r:id="rId33"/>
    <p:sldId id="2076136563" r:id="rId34"/>
    <p:sldId id="364" r:id="rId35"/>
    <p:sldId id="503" r:id="rId36"/>
    <p:sldId id="499" r:id="rId37"/>
    <p:sldId id="498" r:id="rId38"/>
    <p:sldId id="2076136555" r:id="rId39"/>
    <p:sldId id="2076136556" r:id="rId40"/>
    <p:sldId id="2076136557" r:id="rId41"/>
    <p:sldId id="2076136559" r:id="rId42"/>
    <p:sldId id="2076136564" r:id="rId43"/>
    <p:sldId id="389" r:id="rId44"/>
    <p:sldId id="391" r:id="rId45"/>
    <p:sldId id="387" r:id="rId46"/>
    <p:sldId id="2076136558" r:id="rId47"/>
    <p:sldId id="293" r:id="rId48"/>
    <p:sldId id="302" r:id="rId49"/>
  </p:sldIdLst>
  <p:sldSz cx="9144000" cy="5143500" type="screen16x9"/>
  <p:notesSz cx="9144000" cy="6858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62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6C635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SorterView">
  <p:normalViewPr>
    <p:restoredLeft sz="20846" autoAdjust="0"/>
    <p:restoredTop sz="94676" autoAdjust="0"/>
  </p:normalViewPr>
  <p:slideViewPr>
    <p:cSldViewPr>
      <p:cViewPr varScale="1">
        <p:scale>
          <a:sx n="138" d="100"/>
          <a:sy n="138" d="100"/>
        </p:scale>
        <p:origin x="456" y="108"/>
      </p:cViewPr>
      <p:guideLst>
        <p:guide orient="horz" pos="1620"/>
        <p:guide pos="2880"/>
      </p:guideLst>
    </p:cSldViewPr>
  </p:slideViewPr>
  <p:outlineViewPr>
    <p:cViewPr>
      <p:scale>
        <a:sx n="33" d="100"/>
        <a:sy n="33" d="100"/>
      </p:scale>
      <p:origin x="0" y="-1248"/>
    </p:cViewPr>
  </p:outlineViewPr>
  <p:notesTextViewPr>
    <p:cViewPr>
      <p:scale>
        <a:sx n="1" d="1"/>
        <a:sy n="1" d="1"/>
      </p:scale>
      <p:origin x="0" y="0"/>
    </p:cViewPr>
  </p:notesTextViewPr>
  <p:sorterViewPr>
    <p:cViewPr>
      <p:scale>
        <a:sx n="180" d="100"/>
        <a:sy n="180" d="100"/>
      </p:scale>
      <p:origin x="0" y="-16296"/>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notesMaster" Target="notesMasters/notesMaster1.xml"/><Relationship Id="rId55" Type="http://schemas.openxmlformats.org/officeDocument/2006/relationships/tableStyles" Target="tableStyle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slide" Target="slides/slide40.xml"/><Relationship Id="rId54"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viewProps" Target="view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8" Type="http://schemas.openxmlformats.org/officeDocument/2006/relationships/slide" Target="slides/slide7.xml"/><Relationship Id="rId51" Type="http://schemas.openxmlformats.org/officeDocument/2006/relationships/handoutMaster" Target="handoutMasters/handoutMaster1.xml"/><Relationship Id="rId3" Type="http://schemas.openxmlformats.org/officeDocument/2006/relationships/slide" Target="slides/slide2.xml"/></Relationships>
</file>

<file path=ppt/diagrams/_rels/data10.xml.rels><?xml version="1.0" encoding="UTF-8" standalone="yes"?>
<Relationships xmlns="http://schemas.openxmlformats.org/package/2006/relationships"><Relationship Id="rId8" Type="http://schemas.openxmlformats.org/officeDocument/2006/relationships/image" Target="../media/image73.svg"/><Relationship Id="rId3" Type="http://schemas.openxmlformats.org/officeDocument/2006/relationships/image" Target="../media/image68.png"/><Relationship Id="rId7" Type="http://schemas.openxmlformats.org/officeDocument/2006/relationships/image" Target="../media/image72.png"/><Relationship Id="rId12" Type="http://schemas.openxmlformats.org/officeDocument/2006/relationships/image" Target="../media/image77.svg"/><Relationship Id="rId2" Type="http://schemas.openxmlformats.org/officeDocument/2006/relationships/image" Target="../media/image67.svg"/><Relationship Id="rId1" Type="http://schemas.openxmlformats.org/officeDocument/2006/relationships/image" Target="../media/image66.png"/><Relationship Id="rId6" Type="http://schemas.openxmlformats.org/officeDocument/2006/relationships/image" Target="../media/image71.svg"/><Relationship Id="rId11" Type="http://schemas.openxmlformats.org/officeDocument/2006/relationships/image" Target="../media/image76.png"/><Relationship Id="rId5" Type="http://schemas.openxmlformats.org/officeDocument/2006/relationships/image" Target="../media/image70.png"/><Relationship Id="rId10" Type="http://schemas.openxmlformats.org/officeDocument/2006/relationships/image" Target="../media/image75.svg"/><Relationship Id="rId4" Type="http://schemas.openxmlformats.org/officeDocument/2006/relationships/image" Target="../media/image69.svg"/><Relationship Id="rId9" Type="http://schemas.openxmlformats.org/officeDocument/2006/relationships/image" Target="../media/image74.png"/></Relationships>
</file>

<file path=ppt/diagrams/_rels/data11.xml.rels><?xml version="1.0" encoding="UTF-8" standalone="yes"?>
<Relationships xmlns="http://schemas.openxmlformats.org/package/2006/relationships"><Relationship Id="rId8" Type="http://schemas.openxmlformats.org/officeDocument/2006/relationships/image" Target="../media/image81.svg"/><Relationship Id="rId3" Type="http://schemas.openxmlformats.org/officeDocument/2006/relationships/hyperlink" Target="https://crmtipoftheday.com/" TargetMode="External"/><Relationship Id="rId7" Type="http://schemas.openxmlformats.org/officeDocument/2006/relationships/image" Target="../media/image80.png"/><Relationship Id="rId2" Type="http://schemas.openxmlformats.org/officeDocument/2006/relationships/hyperlink" Target="https://community.dynamics.com/" TargetMode="External"/><Relationship Id="rId1" Type="http://schemas.openxmlformats.org/officeDocument/2006/relationships/hyperlink" Target="https://www.crmug.com/browse/blogs" TargetMode="External"/><Relationship Id="rId6" Type="http://schemas.openxmlformats.org/officeDocument/2006/relationships/image" Target="../media/image79.svg"/><Relationship Id="rId5" Type="http://schemas.openxmlformats.org/officeDocument/2006/relationships/image" Target="../media/image78.png"/><Relationship Id="rId10" Type="http://schemas.openxmlformats.org/officeDocument/2006/relationships/image" Target="../media/image83.svg"/><Relationship Id="rId4" Type="http://schemas.openxmlformats.org/officeDocument/2006/relationships/hyperlink" Target="http://youtube.com/crmtipoftheday" TargetMode="External"/><Relationship Id="rId9" Type="http://schemas.openxmlformats.org/officeDocument/2006/relationships/image" Target="../media/image82.png"/></Relationships>
</file>

<file path=ppt/diagrams/_rels/data12.xml.rels><?xml version="1.0" encoding="UTF-8" standalone="yes"?>
<Relationships xmlns="http://schemas.openxmlformats.org/package/2006/relationships"><Relationship Id="rId8" Type="http://schemas.openxmlformats.org/officeDocument/2006/relationships/image" Target="../media/image85.svg"/><Relationship Id="rId3" Type="http://schemas.openxmlformats.org/officeDocument/2006/relationships/hyperlink" Target="http://www.xrmcoaches.com/freestuff" TargetMode="External"/><Relationship Id="rId7" Type="http://schemas.openxmlformats.org/officeDocument/2006/relationships/image" Target="../media/image84.png"/><Relationship Id="rId12" Type="http://schemas.openxmlformats.org/officeDocument/2006/relationships/image" Target="../media/image89.svg"/><Relationship Id="rId2" Type="http://schemas.openxmlformats.org/officeDocument/2006/relationships/hyperlink" Target="http://www.xrmcoaches.com/knowledgebits" TargetMode="External"/><Relationship Id="rId1" Type="http://schemas.openxmlformats.org/officeDocument/2006/relationships/hyperlink" Target="http://www.xrmcoaches.com/webinars" TargetMode="External"/><Relationship Id="rId6" Type="http://schemas.openxmlformats.org/officeDocument/2006/relationships/image" Target="../media/image9.svg"/><Relationship Id="rId11" Type="http://schemas.openxmlformats.org/officeDocument/2006/relationships/image" Target="../media/image88.png"/><Relationship Id="rId5" Type="http://schemas.openxmlformats.org/officeDocument/2006/relationships/image" Target="../media/image8.png"/><Relationship Id="rId10" Type="http://schemas.openxmlformats.org/officeDocument/2006/relationships/image" Target="../media/image87.svg"/><Relationship Id="rId4" Type="http://schemas.openxmlformats.org/officeDocument/2006/relationships/hyperlink" Target="http://youtube.com/xrmcoaches" TargetMode="External"/><Relationship Id="rId9" Type="http://schemas.openxmlformats.org/officeDocument/2006/relationships/image" Target="../media/image86.png"/></Relationships>
</file>

<file path=ppt/diagrams/_rels/data13.xml.rels><?xml version="1.0" encoding="UTF-8" standalone="yes"?>
<Relationships xmlns="http://schemas.openxmlformats.org/package/2006/relationships"><Relationship Id="rId8" Type="http://schemas.openxmlformats.org/officeDocument/2006/relationships/image" Target="../media/image96.svg"/><Relationship Id="rId3" Type="http://schemas.openxmlformats.org/officeDocument/2006/relationships/image" Target="../media/image25.png"/><Relationship Id="rId7" Type="http://schemas.openxmlformats.org/officeDocument/2006/relationships/image" Target="../media/image95.png"/><Relationship Id="rId2" Type="http://schemas.openxmlformats.org/officeDocument/2006/relationships/image" Target="../media/image92.svg"/><Relationship Id="rId1" Type="http://schemas.openxmlformats.org/officeDocument/2006/relationships/image" Target="../media/image91.png"/><Relationship Id="rId6" Type="http://schemas.openxmlformats.org/officeDocument/2006/relationships/image" Target="../media/image94.svg"/><Relationship Id="rId5" Type="http://schemas.openxmlformats.org/officeDocument/2006/relationships/image" Target="../media/image93.png"/><Relationship Id="rId4" Type="http://schemas.openxmlformats.org/officeDocument/2006/relationships/image" Target="../media/image26.svg"/></Relationships>
</file>

<file path=ppt/diagrams/_rels/data15.xml.rels><?xml version="1.0" encoding="UTF-8" standalone="yes"?>
<Relationships xmlns="http://schemas.openxmlformats.org/package/2006/relationships"><Relationship Id="rId8" Type="http://schemas.openxmlformats.org/officeDocument/2006/relationships/image" Target="../media/image142.svg"/><Relationship Id="rId3" Type="http://schemas.openxmlformats.org/officeDocument/2006/relationships/image" Target="../media/image137.png"/><Relationship Id="rId7" Type="http://schemas.openxmlformats.org/officeDocument/2006/relationships/image" Target="../media/image141.png"/><Relationship Id="rId2" Type="http://schemas.openxmlformats.org/officeDocument/2006/relationships/image" Target="../media/image136.svg"/><Relationship Id="rId1" Type="http://schemas.openxmlformats.org/officeDocument/2006/relationships/image" Target="../media/image135.png"/><Relationship Id="rId6" Type="http://schemas.openxmlformats.org/officeDocument/2006/relationships/image" Target="../media/image140.svg"/><Relationship Id="rId5" Type="http://schemas.openxmlformats.org/officeDocument/2006/relationships/image" Target="../media/image139.png"/><Relationship Id="rId4" Type="http://schemas.openxmlformats.org/officeDocument/2006/relationships/image" Target="../media/image138.svg"/></Relationships>
</file>

<file path=ppt/diagrams/_rels/data16.xml.rels><?xml version="1.0" encoding="UTF-8" standalone="yes"?>
<Relationships xmlns="http://schemas.openxmlformats.org/package/2006/relationships"><Relationship Id="rId8" Type="http://schemas.openxmlformats.org/officeDocument/2006/relationships/image" Target="../media/image148.svg"/><Relationship Id="rId3" Type="http://schemas.openxmlformats.org/officeDocument/2006/relationships/image" Target="../media/image25.png"/><Relationship Id="rId7" Type="http://schemas.openxmlformats.org/officeDocument/2006/relationships/image" Target="../media/image147.png"/><Relationship Id="rId2" Type="http://schemas.openxmlformats.org/officeDocument/2006/relationships/image" Target="../media/image144.svg"/><Relationship Id="rId1" Type="http://schemas.openxmlformats.org/officeDocument/2006/relationships/image" Target="../media/image143.png"/><Relationship Id="rId6" Type="http://schemas.openxmlformats.org/officeDocument/2006/relationships/image" Target="../media/image146.svg"/><Relationship Id="rId5" Type="http://schemas.openxmlformats.org/officeDocument/2006/relationships/image" Target="../media/image145.png"/><Relationship Id="rId4" Type="http://schemas.openxmlformats.org/officeDocument/2006/relationships/image" Target="../media/image26.svg"/></Relationships>
</file>

<file path=ppt/diagrams/_rels/data17.xml.rels><?xml version="1.0" encoding="UTF-8" standalone="yes"?>
<Relationships xmlns="http://schemas.openxmlformats.org/package/2006/relationships"><Relationship Id="rId8" Type="http://schemas.openxmlformats.org/officeDocument/2006/relationships/image" Target="../media/image159.svg"/><Relationship Id="rId3" Type="http://schemas.openxmlformats.org/officeDocument/2006/relationships/image" Target="../media/image154.png"/><Relationship Id="rId7" Type="http://schemas.openxmlformats.org/officeDocument/2006/relationships/image" Target="../media/image158.png"/><Relationship Id="rId12" Type="http://schemas.openxmlformats.org/officeDocument/2006/relationships/image" Target="../media/image163.svg"/><Relationship Id="rId2" Type="http://schemas.openxmlformats.org/officeDocument/2006/relationships/image" Target="../media/image61.svg"/><Relationship Id="rId1" Type="http://schemas.openxmlformats.org/officeDocument/2006/relationships/image" Target="../media/image60.png"/><Relationship Id="rId6" Type="http://schemas.openxmlformats.org/officeDocument/2006/relationships/image" Target="../media/image157.svg"/><Relationship Id="rId11" Type="http://schemas.openxmlformats.org/officeDocument/2006/relationships/image" Target="../media/image162.png"/><Relationship Id="rId5" Type="http://schemas.openxmlformats.org/officeDocument/2006/relationships/image" Target="../media/image156.png"/><Relationship Id="rId10" Type="http://schemas.openxmlformats.org/officeDocument/2006/relationships/image" Target="../media/image161.svg"/><Relationship Id="rId4" Type="http://schemas.openxmlformats.org/officeDocument/2006/relationships/image" Target="../media/image155.svg"/><Relationship Id="rId9" Type="http://schemas.openxmlformats.org/officeDocument/2006/relationships/image" Target="../media/image160.png"/></Relationships>
</file>

<file path=ppt/diagrams/_rels/data18.xml.rels><?xml version="1.0" encoding="UTF-8" standalone="yes"?>
<Relationships xmlns="http://schemas.openxmlformats.org/package/2006/relationships"><Relationship Id="rId8" Type="http://schemas.openxmlformats.org/officeDocument/2006/relationships/image" Target="../media/image171.svg"/><Relationship Id="rId3" Type="http://schemas.openxmlformats.org/officeDocument/2006/relationships/image" Target="../media/image166.png"/><Relationship Id="rId7" Type="http://schemas.openxmlformats.org/officeDocument/2006/relationships/image" Target="../media/image170.png"/><Relationship Id="rId2" Type="http://schemas.openxmlformats.org/officeDocument/2006/relationships/image" Target="../media/image165.svg"/><Relationship Id="rId1" Type="http://schemas.openxmlformats.org/officeDocument/2006/relationships/image" Target="../media/image164.png"/><Relationship Id="rId6" Type="http://schemas.openxmlformats.org/officeDocument/2006/relationships/image" Target="../media/image169.svg"/><Relationship Id="rId5" Type="http://schemas.openxmlformats.org/officeDocument/2006/relationships/image" Target="../media/image168.png"/><Relationship Id="rId4" Type="http://schemas.openxmlformats.org/officeDocument/2006/relationships/image" Target="../media/image167.svg"/></Relationships>
</file>

<file path=ppt/diagrams/_rels/data19.xml.rels><?xml version="1.0" encoding="UTF-8" standalone="yes"?>
<Relationships xmlns="http://schemas.openxmlformats.org/package/2006/relationships"><Relationship Id="rId8" Type="http://schemas.openxmlformats.org/officeDocument/2006/relationships/image" Target="../media/image179.svg"/><Relationship Id="rId3" Type="http://schemas.openxmlformats.org/officeDocument/2006/relationships/image" Target="../media/image174.png"/><Relationship Id="rId7" Type="http://schemas.openxmlformats.org/officeDocument/2006/relationships/image" Target="../media/image178.png"/><Relationship Id="rId2" Type="http://schemas.openxmlformats.org/officeDocument/2006/relationships/image" Target="../media/image173.svg"/><Relationship Id="rId1" Type="http://schemas.openxmlformats.org/officeDocument/2006/relationships/image" Target="../media/image172.png"/><Relationship Id="rId6" Type="http://schemas.openxmlformats.org/officeDocument/2006/relationships/image" Target="../media/image177.svg"/><Relationship Id="rId5" Type="http://schemas.openxmlformats.org/officeDocument/2006/relationships/image" Target="../media/image176.png"/><Relationship Id="rId10" Type="http://schemas.openxmlformats.org/officeDocument/2006/relationships/image" Target="../media/image181.svg"/><Relationship Id="rId4" Type="http://schemas.openxmlformats.org/officeDocument/2006/relationships/image" Target="../media/image175.svg"/><Relationship Id="rId9" Type="http://schemas.openxmlformats.org/officeDocument/2006/relationships/image" Target="../media/image180.png"/></Relationships>
</file>

<file path=ppt/diagrams/_rels/data2.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image" Target="../media/image9.svg"/><Relationship Id="rId7" Type="http://schemas.openxmlformats.org/officeDocument/2006/relationships/image" Target="../media/image13.svg"/><Relationship Id="rId2" Type="http://schemas.openxmlformats.org/officeDocument/2006/relationships/image" Target="../media/image8.png"/><Relationship Id="rId1" Type="http://schemas.openxmlformats.org/officeDocument/2006/relationships/hyperlink" Target="http://learn.xrmcoaches.com/" TargetMode="External"/><Relationship Id="rId6" Type="http://schemas.openxmlformats.org/officeDocument/2006/relationships/image" Target="../media/image12.png"/><Relationship Id="rId5" Type="http://schemas.openxmlformats.org/officeDocument/2006/relationships/image" Target="../media/image11.svg"/><Relationship Id="rId4" Type="http://schemas.openxmlformats.org/officeDocument/2006/relationships/image" Target="../media/image10.png"/><Relationship Id="rId9" Type="http://schemas.openxmlformats.org/officeDocument/2006/relationships/image" Target="../media/image15.svg"/></Relationships>
</file>

<file path=ppt/diagrams/_rels/data20.xml.rels><?xml version="1.0" encoding="UTF-8" standalone="yes"?>
<Relationships xmlns="http://schemas.openxmlformats.org/package/2006/relationships"><Relationship Id="rId3" Type="http://schemas.openxmlformats.org/officeDocument/2006/relationships/image" Target="../media/image186.png"/><Relationship Id="rId2" Type="http://schemas.openxmlformats.org/officeDocument/2006/relationships/image" Target="../media/image185.svg"/><Relationship Id="rId1" Type="http://schemas.openxmlformats.org/officeDocument/2006/relationships/image" Target="../media/image184.png"/><Relationship Id="rId4" Type="http://schemas.openxmlformats.org/officeDocument/2006/relationships/image" Target="../media/image187.svg"/></Relationships>
</file>

<file path=ppt/diagrams/_rels/data21.xml.rels><?xml version="1.0" encoding="UTF-8" standalone="yes"?>
<Relationships xmlns="http://schemas.openxmlformats.org/package/2006/relationships"><Relationship Id="rId8" Type="http://schemas.openxmlformats.org/officeDocument/2006/relationships/image" Target="../media/image73.svg"/><Relationship Id="rId3" Type="http://schemas.openxmlformats.org/officeDocument/2006/relationships/image" Target="../media/image190.png"/><Relationship Id="rId7" Type="http://schemas.openxmlformats.org/officeDocument/2006/relationships/image" Target="../media/image72.png"/><Relationship Id="rId2" Type="http://schemas.openxmlformats.org/officeDocument/2006/relationships/image" Target="../media/image189.svg"/><Relationship Id="rId1" Type="http://schemas.openxmlformats.org/officeDocument/2006/relationships/image" Target="../media/image188.png"/><Relationship Id="rId6" Type="http://schemas.openxmlformats.org/officeDocument/2006/relationships/image" Target="../media/image193.svg"/><Relationship Id="rId5" Type="http://schemas.openxmlformats.org/officeDocument/2006/relationships/image" Target="../media/image192.png"/><Relationship Id="rId4" Type="http://schemas.openxmlformats.org/officeDocument/2006/relationships/image" Target="../media/image191.svg"/></Relationships>
</file>

<file path=ppt/diagrams/_rels/data4.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svg"/><Relationship Id="rId1" Type="http://schemas.openxmlformats.org/officeDocument/2006/relationships/image" Target="../media/image17.png"/><Relationship Id="rId6" Type="http://schemas.openxmlformats.org/officeDocument/2006/relationships/image" Target="../media/image22.svg"/><Relationship Id="rId5" Type="http://schemas.openxmlformats.org/officeDocument/2006/relationships/image" Target="../media/image21.png"/><Relationship Id="rId4" Type="http://schemas.openxmlformats.org/officeDocument/2006/relationships/image" Target="../media/image20.svg"/></Relationships>
</file>

<file path=ppt/diagrams/_rels/data5.xml.rels><?xml version="1.0" encoding="UTF-8" standalone="yes"?>
<Relationships xmlns="http://schemas.openxmlformats.org/package/2006/relationships"><Relationship Id="rId8" Type="http://schemas.openxmlformats.org/officeDocument/2006/relationships/image" Target="../media/image30.svg"/><Relationship Id="rId3" Type="http://schemas.openxmlformats.org/officeDocument/2006/relationships/image" Target="../media/image25.png"/><Relationship Id="rId7" Type="http://schemas.openxmlformats.org/officeDocument/2006/relationships/image" Target="../media/image29.png"/><Relationship Id="rId2" Type="http://schemas.openxmlformats.org/officeDocument/2006/relationships/image" Target="../media/image24.svg"/><Relationship Id="rId1" Type="http://schemas.openxmlformats.org/officeDocument/2006/relationships/image" Target="../media/image23.png"/><Relationship Id="rId6" Type="http://schemas.openxmlformats.org/officeDocument/2006/relationships/image" Target="../media/image28.svg"/><Relationship Id="rId5" Type="http://schemas.openxmlformats.org/officeDocument/2006/relationships/image" Target="../media/image27.png"/><Relationship Id="rId10" Type="http://schemas.openxmlformats.org/officeDocument/2006/relationships/image" Target="../media/image32.svg"/><Relationship Id="rId4" Type="http://schemas.openxmlformats.org/officeDocument/2006/relationships/image" Target="../media/image26.svg"/><Relationship Id="rId9" Type="http://schemas.openxmlformats.org/officeDocument/2006/relationships/image" Target="../media/image31.png"/></Relationships>
</file>

<file path=ppt/diagrams/_rels/data6.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4.svg"/><Relationship Id="rId1" Type="http://schemas.openxmlformats.org/officeDocument/2006/relationships/image" Target="../media/image33.png"/><Relationship Id="rId6" Type="http://schemas.openxmlformats.org/officeDocument/2006/relationships/image" Target="../media/image38.svg"/><Relationship Id="rId5" Type="http://schemas.openxmlformats.org/officeDocument/2006/relationships/image" Target="../media/image37.png"/><Relationship Id="rId4" Type="http://schemas.openxmlformats.org/officeDocument/2006/relationships/image" Target="../media/image36.svg"/></Relationships>
</file>

<file path=ppt/diagrams/_rels/data7.xml.rels><?xml version="1.0" encoding="UTF-8" standalone="yes"?>
<Relationships xmlns="http://schemas.openxmlformats.org/package/2006/relationships"><Relationship Id="rId8" Type="http://schemas.openxmlformats.org/officeDocument/2006/relationships/image" Target="../media/image45.svg"/><Relationship Id="rId3" Type="http://schemas.openxmlformats.org/officeDocument/2006/relationships/image" Target="../media/image41.png"/><Relationship Id="rId7" Type="http://schemas.openxmlformats.org/officeDocument/2006/relationships/image" Target="../media/image31.png"/><Relationship Id="rId2" Type="http://schemas.openxmlformats.org/officeDocument/2006/relationships/image" Target="../media/image40.svg"/><Relationship Id="rId1" Type="http://schemas.openxmlformats.org/officeDocument/2006/relationships/image" Target="../media/image39.png"/><Relationship Id="rId6" Type="http://schemas.openxmlformats.org/officeDocument/2006/relationships/image" Target="../media/image44.svg"/><Relationship Id="rId5" Type="http://schemas.openxmlformats.org/officeDocument/2006/relationships/image" Target="../media/image43.png"/><Relationship Id="rId4" Type="http://schemas.openxmlformats.org/officeDocument/2006/relationships/image" Target="../media/image42.svg"/></Relationships>
</file>

<file path=ppt/diagrams/_rels/data8.xml.rels><?xml version="1.0" encoding="UTF-8" standalone="yes"?>
<Relationships xmlns="http://schemas.openxmlformats.org/package/2006/relationships"><Relationship Id="rId8" Type="http://schemas.openxmlformats.org/officeDocument/2006/relationships/image" Target="../media/image53.svg"/><Relationship Id="rId3" Type="http://schemas.openxmlformats.org/officeDocument/2006/relationships/image" Target="../media/image48.png"/><Relationship Id="rId7" Type="http://schemas.openxmlformats.org/officeDocument/2006/relationships/image" Target="../media/image52.png"/><Relationship Id="rId2" Type="http://schemas.openxmlformats.org/officeDocument/2006/relationships/image" Target="../media/image47.svg"/><Relationship Id="rId1" Type="http://schemas.openxmlformats.org/officeDocument/2006/relationships/image" Target="../media/image46.png"/><Relationship Id="rId6" Type="http://schemas.openxmlformats.org/officeDocument/2006/relationships/image" Target="../media/image51.svg"/><Relationship Id="rId5" Type="http://schemas.openxmlformats.org/officeDocument/2006/relationships/image" Target="../media/image50.png"/><Relationship Id="rId4" Type="http://schemas.openxmlformats.org/officeDocument/2006/relationships/image" Target="../media/image49.svg"/></Relationships>
</file>

<file path=ppt/diagrams/_rels/data9.xml.rels><?xml version="1.0" encoding="UTF-8" standalone="yes"?>
<Relationships xmlns="http://schemas.openxmlformats.org/package/2006/relationships"><Relationship Id="rId8" Type="http://schemas.openxmlformats.org/officeDocument/2006/relationships/image" Target="../media/image61.svg"/><Relationship Id="rId3" Type="http://schemas.openxmlformats.org/officeDocument/2006/relationships/image" Target="../media/image56.png"/><Relationship Id="rId7" Type="http://schemas.openxmlformats.org/officeDocument/2006/relationships/image" Target="../media/image60.png"/><Relationship Id="rId2" Type="http://schemas.openxmlformats.org/officeDocument/2006/relationships/image" Target="../media/image55.svg"/><Relationship Id="rId1" Type="http://schemas.openxmlformats.org/officeDocument/2006/relationships/image" Target="../media/image54.png"/><Relationship Id="rId6" Type="http://schemas.openxmlformats.org/officeDocument/2006/relationships/image" Target="../media/image59.svg"/><Relationship Id="rId5" Type="http://schemas.openxmlformats.org/officeDocument/2006/relationships/image" Target="../media/image58.png"/><Relationship Id="rId10" Type="http://schemas.openxmlformats.org/officeDocument/2006/relationships/image" Target="../media/image63.svg"/><Relationship Id="rId4" Type="http://schemas.openxmlformats.org/officeDocument/2006/relationships/image" Target="../media/image57.svg"/><Relationship Id="rId9" Type="http://schemas.openxmlformats.org/officeDocument/2006/relationships/image" Target="../media/image62.png"/></Relationships>
</file>

<file path=ppt/diagrams/_rels/drawing10.xml.rels><?xml version="1.0" encoding="UTF-8" standalone="yes"?>
<Relationships xmlns="http://schemas.openxmlformats.org/package/2006/relationships"><Relationship Id="rId8" Type="http://schemas.openxmlformats.org/officeDocument/2006/relationships/image" Target="../media/image73.svg"/><Relationship Id="rId3" Type="http://schemas.openxmlformats.org/officeDocument/2006/relationships/image" Target="../media/image68.png"/><Relationship Id="rId7" Type="http://schemas.openxmlformats.org/officeDocument/2006/relationships/image" Target="../media/image72.png"/><Relationship Id="rId12" Type="http://schemas.openxmlformats.org/officeDocument/2006/relationships/image" Target="../media/image77.svg"/><Relationship Id="rId2" Type="http://schemas.openxmlformats.org/officeDocument/2006/relationships/image" Target="../media/image67.svg"/><Relationship Id="rId1" Type="http://schemas.openxmlformats.org/officeDocument/2006/relationships/image" Target="../media/image66.png"/><Relationship Id="rId6" Type="http://schemas.openxmlformats.org/officeDocument/2006/relationships/image" Target="../media/image71.svg"/><Relationship Id="rId11" Type="http://schemas.openxmlformats.org/officeDocument/2006/relationships/image" Target="../media/image76.png"/><Relationship Id="rId5" Type="http://schemas.openxmlformats.org/officeDocument/2006/relationships/image" Target="../media/image70.png"/><Relationship Id="rId10" Type="http://schemas.openxmlformats.org/officeDocument/2006/relationships/image" Target="../media/image75.svg"/><Relationship Id="rId4" Type="http://schemas.openxmlformats.org/officeDocument/2006/relationships/image" Target="../media/image69.svg"/><Relationship Id="rId9" Type="http://schemas.openxmlformats.org/officeDocument/2006/relationships/image" Target="../media/image74.png"/></Relationships>
</file>

<file path=ppt/diagrams/_rels/drawing11.xml.rels><?xml version="1.0" encoding="UTF-8" standalone="yes"?>
<Relationships xmlns="http://schemas.openxmlformats.org/package/2006/relationships"><Relationship Id="rId8" Type="http://schemas.openxmlformats.org/officeDocument/2006/relationships/image" Target="../media/image83.svg"/><Relationship Id="rId3" Type="http://schemas.openxmlformats.org/officeDocument/2006/relationships/hyperlink" Target="https://www.crmug.com/browse/blogs" TargetMode="External"/><Relationship Id="rId7" Type="http://schemas.openxmlformats.org/officeDocument/2006/relationships/image" Target="../media/image82.png"/><Relationship Id="rId2" Type="http://schemas.openxmlformats.org/officeDocument/2006/relationships/image" Target="../media/image79.svg"/><Relationship Id="rId1" Type="http://schemas.openxmlformats.org/officeDocument/2006/relationships/image" Target="../media/image78.png"/><Relationship Id="rId6" Type="http://schemas.openxmlformats.org/officeDocument/2006/relationships/hyperlink" Target="https://community.dynamics.com/" TargetMode="External"/><Relationship Id="rId5" Type="http://schemas.openxmlformats.org/officeDocument/2006/relationships/image" Target="../media/image81.svg"/><Relationship Id="rId10" Type="http://schemas.openxmlformats.org/officeDocument/2006/relationships/hyperlink" Target="http://youtube.com/crmtipoftheday" TargetMode="External"/><Relationship Id="rId4" Type="http://schemas.openxmlformats.org/officeDocument/2006/relationships/image" Target="../media/image80.png"/><Relationship Id="rId9" Type="http://schemas.openxmlformats.org/officeDocument/2006/relationships/hyperlink" Target="https://crmtipoftheday.com/" TargetMode="External"/></Relationships>
</file>

<file path=ppt/diagrams/_rels/drawing12.xml.rels><?xml version="1.0" encoding="UTF-8" standalone="yes"?>
<Relationships xmlns="http://schemas.openxmlformats.org/package/2006/relationships"><Relationship Id="rId8" Type="http://schemas.openxmlformats.org/officeDocument/2006/relationships/image" Target="../media/image87.svg"/><Relationship Id="rId3" Type="http://schemas.openxmlformats.org/officeDocument/2006/relationships/hyperlink" Target="http://www.xrmcoaches.com/webinars" TargetMode="External"/><Relationship Id="rId7" Type="http://schemas.openxmlformats.org/officeDocument/2006/relationships/image" Target="../media/image86.png"/><Relationship Id="rId12" Type="http://schemas.openxmlformats.org/officeDocument/2006/relationships/hyperlink" Target="http://youtube.com/xrmcoaches" TargetMode="External"/><Relationship Id="rId2" Type="http://schemas.openxmlformats.org/officeDocument/2006/relationships/image" Target="../media/image9.svg"/><Relationship Id="rId1" Type="http://schemas.openxmlformats.org/officeDocument/2006/relationships/image" Target="../media/image8.png"/><Relationship Id="rId6" Type="http://schemas.openxmlformats.org/officeDocument/2006/relationships/hyperlink" Target="http://www.xrmcoaches.com/knowledgebits" TargetMode="External"/><Relationship Id="rId11" Type="http://schemas.openxmlformats.org/officeDocument/2006/relationships/image" Target="../media/image89.svg"/><Relationship Id="rId5" Type="http://schemas.openxmlformats.org/officeDocument/2006/relationships/image" Target="../media/image85.svg"/><Relationship Id="rId10" Type="http://schemas.openxmlformats.org/officeDocument/2006/relationships/image" Target="../media/image88.png"/><Relationship Id="rId4" Type="http://schemas.openxmlformats.org/officeDocument/2006/relationships/image" Target="../media/image84.png"/><Relationship Id="rId9" Type="http://schemas.openxmlformats.org/officeDocument/2006/relationships/hyperlink" Target="http://www.xrmcoaches.com/freestuff" TargetMode="External"/></Relationships>
</file>

<file path=ppt/diagrams/_rels/drawing13.xml.rels><?xml version="1.0" encoding="UTF-8" standalone="yes"?>
<Relationships xmlns="http://schemas.openxmlformats.org/package/2006/relationships"><Relationship Id="rId8" Type="http://schemas.openxmlformats.org/officeDocument/2006/relationships/image" Target="../media/image96.svg"/><Relationship Id="rId3" Type="http://schemas.openxmlformats.org/officeDocument/2006/relationships/image" Target="../media/image25.png"/><Relationship Id="rId7" Type="http://schemas.openxmlformats.org/officeDocument/2006/relationships/image" Target="../media/image95.png"/><Relationship Id="rId2" Type="http://schemas.openxmlformats.org/officeDocument/2006/relationships/image" Target="../media/image92.svg"/><Relationship Id="rId1" Type="http://schemas.openxmlformats.org/officeDocument/2006/relationships/image" Target="../media/image91.png"/><Relationship Id="rId6" Type="http://schemas.openxmlformats.org/officeDocument/2006/relationships/image" Target="../media/image94.svg"/><Relationship Id="rId5" Type="http://schemas.openxmlformats.org/officeDocument/2006/relationships/image" Target="../media/image93.png"/><Relationship Id="rId4" Type="http://schemas.openxmlformats.org/officeDocument/2006/relationships/image" Target="../media/image26.svg"/></Relationships>
</file>

<file path=ppt/diagrams/_rels/drawing15.xml.rels><?xml version="1.0" encoding="UTF-8" standalone="yes"?>
<Relationships xmlns="http://schemas.openxmlformats.org/package/2006/relationships"><Relationship Id="rId8" Type="http://schemas.openxmlformats.org/officeDocument/2006/relationships/image" Target="../media/image142.svg"/><Relationship Id="rId3" Type="http://schemas.openxmlformats.org/officeDocument/2006/relationships/image" Target="../media/image137.png"/><Relationship Id="rId7" Type="http://schemas.openxmlformats.org/officeDocument/2006/relationships/image" Target="../media/image141.png"/><Relationship Id="rId2" Type="http://schemas.openxmlformats.org/officeDocument/2006/relationships/image" Target="../media/image136.svg"/><Relationship Id="rId1" Type="http://schemas.openxmlformats.org/officeDocument/2006/relationships/image" Target="../media/image135.png"/><Relationship Id="rId6" Type="http://schemas.openxmlformats.org/officeDocument/2006/relationships/image" Target="../media/image140.svg"/><Relationship Id="rId5" Type="http://schemas.openxmlformats.org/officeDocument/2006/relationships/image" Target="../media/image139.png"/><Relationship Id="rId4" Type="http://schemas.openxmlformats.org/officeDocument/2006/relationships/image" Target="../media/image138.svg"/></Relationships>
</file>

<file path=ppt/diagrams/_rels/drawing16.xml.rels><?xml version="1.0" encoding="UTF-8" standalone="yes"?>
<Relationships xmlns="http://schemas.openxmlformats.org/package/2006/relationships"><Relationship Id="rId8" Type="http://schemas.openxmlformats.org/officeDocument/2006/relationships/image" Target="../media/image148.svg"/><Relationship Id="rId3" Type="http://schemas.openxmlformats.org/officeDocument/2006/relationships/image" Target="../media/image25.png"/><Relationship Id="rId7" Type="http://schemas.openxmlformats.org/officeDocument/2006/relationships/image" Target="../media/image147.png"/><Relationship Id="rId2" Type="http://schemas.openxmlformats.org/officeDocument/2006/relationships/image" Target="../media/image144.svg"/><Relationship Id="rId1" Type="http://schemas.openxmlformats.org/officeDocument/2006/relationships/image" Target="../media/image143.png"/><Relationship Id="rId6" Type="http://schemas.openxmlformats.org/officeDocument/2006/relationships/image" Target="../media/image146.svg"/><Relationship Id="rId5" Type="http://schemas.openxmlformats.org/officeDocument/2006/relationships/image" Target="../media/image145.png"/><Relationship Id="rId4" Type="http://schemas.openxmlformats.org/officeDocument/2006/relationships/image" Target="../media/image26.svg"/></Relationships>
</file>

<file path=ppt/diagrams/_rels/drawing17.xml.rels><?xml version="1.0" encoding="UTF-8" standalone="yes"?>
<Relationships xmlns="http://schemas.openxmlformats.org/package/2006/relationships"><Relationship Id="rId8" Type="http://schemas.openxmlformats.org/officeDocument/2006/relationships/image" Target="../media/image159.svg"/><Relationship Id="rId3" Type="http://schemas.openxmlformats.org/officeDocument/2006/relationships/image" Target="../media/image154.png"/><Relationship Id="rId7" Type="http://schemas.openxmlformats.org/officeDocument/2006/relationships/image" Target="../media/image158.png"/><Relationship Id="rId12" Type="http://schemas.openxmlformats.org/officeDocument/2006/relationships/image" Target="../media/image163.svg"/><Relationship Id="rId2" Type="http://schemas.openxmlformats.org/officeDocument/2006/relationships/image" Target="../media/image61.svg"/><Relationship Id="rId1" Type="http://schemas.openxmlformats.org/officeDocument/2006/relationships/image" Target="../media/image60.png"/><Relationship Id="rId6" Type="http://schemas.openxmlformats.org/officeDocument/2006/relationships/image" Target="../media/image157.svg"/><Relationship Id="rId11" Type="http://schemas.openxmlformats.org/officeDocument/2006/relationships/image" Target="../media/image162.png"/><Relationship Id="rId5" Type="http://schemas.openxmlformats.org/officeDocument/2006/relationships/image" Target="../media/image156.png"/><Relationship Id="rId10" Type="http://schemas.openxmlformats.org/officeDocument/2006/relationships/image" Target="../media/image161.svg"/><Relationship Id="rId4" Type="http://schemas.openxmlformats.org/officeDocument/2006/relationships/image" Target="../media/image155.svg"/><Relationship Id="rId9" Type="http://schemas.openxmlformats.org/officeDocument/2006/relationships/image" Target="../media/image160.png"/></Relationships>
</file>

<file path=ppt/diagrams/_rels/drawing18.xml.rels><?xml version="1.0" encoding="UTF-8" standalone="yes"?>
<Relationships xmlns="http://schemas.openxmlformats.org/package/2006/relationships"><Relationship Id="rId8" Type="http://schemas.openxmlformats.org/officeDocument/2006/relationships/image" Target="../media/image171.svg"/><Relationship Id="rId3" Type="http://schemas.openxmlformats.org/officeDocument/2006/relationships/image" Target="../media/image166.png"/><Relationship Id="rId7" Type="http://schemas.openxmlformats.org/officeDocument/2006/relationships/image" Target="../media/image170.png"/><Relationship Id="rId2" Type="http://schemas.openxmlformats.org/officeDocument/2006/relationships/image" Target="../media/image165.svg"/><Relationship Id="rId1" Type="http://schemas.openxmlformats.org/officeDocument/2006/relationships/image" Target="../media/image164.png"/><Relationship Id="rId6" Type="http://schemas.openxmlformats.org/officeDocument/2006/relationships/image" Target="../media/image169.svg"/><Relationship Id="rId5" Type="http://schemas.openxmlformats.org/officeDocument/2006/relationships/image" Target="../media/image168.png"/><Relationship Id="rId4" Type="http://schemas.openxmlformats.org/officeDocument/2006/relationships/image" Target="../media/image167.svg"/></Relationships>
</file>

<file path=ppt/diagrams/_rels/drawing19.xml.rels><?xml version="1.0" encoding="UTF-8" standalone="yes"?>
<Relationships xmlns="http://schemas.openxmlformats.org/package/2006/relationships"><Relationship Id="rId8" Type="http://schemas.openxmlformats.org/officeDocument/2006/relationships/image" Target="../media/image179.svg"/><Relationship Id="rId3" Type="http://schemas.openxmlformats.org/officeDocument/2006/relationships/image" Target="../media/image174.png"/><Relationship Id="rId7" Type="http://schemas.openxmlformats.org/officeDocument/2006/relationships/image" Target="../media/image178.png"/><Relationship Id="rId2" Type="http://schemas.openxmlformats.org/officeDocument/2006/relationships/image" Target="../media/image173.svg"/><Relationship Id="rId1" Type="http://schemas.openxmlformats.org/officeDocument/2006/relationships/image" Target="../media/image172.png"/><Relationship Id="rId6" Type="http://schemas.openxmlformats.org/officeDocument/2006/relationships/image" Target="../media/image177.svg"/><Relationship Id="rId5" Type="http://schemas.openxmlformats.org/officeDocument/2006/relationships/image" Target="../media/image176.png"/><Relationship Id="rId10" Type="http://schemas.openxmlformats.org/officeDocument/2006/relationships/image" Target="../media/image181.svg"/><Relationship Id="rId4" Type="http://schemas.openxmlformats.org/officeDocument/2006/relationships/image" Target="../media/image175.svg"/><Relationship Id="rId9" Type="http://schemas.openxmlformats.org/officeDocument/2006/relationships/image" Target="../media/image180.png"/></Relationships>
</file>

<file path=ppt/diagrams/_rels/drawing2.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hyperlink" Target="http://learn.xrmcoaches.com/" TargetMode="External"/><Relationship Id="rId7" Type="http://schemas.openxmlformats.org/officeDocument/2006/relationships/image" Target="../media/image13.svg"/><Relationship Id="rId2" Type="http://schemas.openxmlformats.org/officeDocument/2006/relationships/image" Target="../media/image9.svg"/><Relationship Id="rId1" Type="http://schemas.openxmlformats.org/officeDocument/2006/relationships/image" Target="../media/image8.png"/><Relationship Id="rId6" Type="http://schemas.openxmlformats.org/officeDocument/2006/relationships/image" Target="../media/image12.png"/><Relationship Id="rId5" Type="http://schemas.openxmlformats.org/officeDocument/2006/relationships/image" Target="../media/image11.svg"/><Relationship Id="rId4" Type="http://schemas.openxmlformats.org/officeDocument/2006/relationships/image" Target="../media/image10.png"/><Relationship Id="rId9" Type="http://schemas.openxmlformats.org/officeDocument/2006/relationships/image" Target="../media/image15.svg"/></Relationships>
</file>

<file path=ppt/diagrams/_rels/drawing20.xml.rels><?xml version="1.0" encoding="UTF-8" standalone="yes"?>
<Relationships xmlns="http://schemas.openxmlformats.org/package/2006/relationships"><Relationship Id="rId3" Type="http://schemas.openxmlformats.org/officeDocument/2006/relationships/image" Target="../media/image186.png"/><Relationship Id="rId2" Type="http://schemas.openxmlformats.org/officeDocument/2006/relationships/image" Target="../media/image185.svg"/><Relationship Id="rId1" Type="http://schemas.openxmlformats.org/officeDocument/2006/relationships/image" Target="../media/image184.png"/><Relationship Id="rId4" Type="http://schemas.openxmlformats.org/officeDocument/2006/relationships/image" Target="../media/image187.svg"/></Relationships>
</file>

<file path=ppt/diagrams/_rels/drawing21.xml.rels><?xml version="1.0" encoding="UTF-8" standalone="yes"?>
<Relationships xmlns="http://schemas.openxmlformats.org/package/2006/relationships"><Relationship Id="rId8" Type="http://schemas.openxmlformats.org/officeDocument/2006/relationships/image" Target="../media/image73.svg"/><Relationship Id="rId3" Type="http://schemas.openxmlformats.org/officeDocument/2006/relationships/image" Target="../media/image190.png"/><Relationship Id="rId7" Type="http://schemas.openxmlformats.org/officeDocument/2006/relationships/image" Target="../media/image72.png"/><Relationship Id="rId2" Type="http://schemas.openxmlformats.org/officeDocument/2006/relationships/image" Target="../media/image189.svg"/><Relationship Id="rId1" Type="http://schemas.openxmlformats.org/officeDocument/2006/relationships/image" Target="../media/image188.png"/><Relationship Id="rId6" Type="http://schemas.openxmlformats.org/officeDocument/2006/relationships/image" Target="../media/image193.svg"/><Relationship Id="rId5" Type="http://schemas.openxmlformats.org/officeDocument/2006/relationships/image" Target="../media/image192.png"/><Relationship Id="rId4" Type="http://schemas.openxmlformats.org/officeDocument/2006/relationships/image" Target="../media/image191.svg"/></Relationships>
</file>

<file path=ppt/diagrams/_rels/drawing4.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svg"/><Relationship Id="rId1" Type="http://schemas.openxmlformats.org/officeDocument/2006/relationships/image" Target="../media/image17.png"/><Relationship Id="rId6" Type="http://schemas.openxmlformats.org/officeDocument/2006/relationships/image" Target="../media/image22.svg"/><Relationship Id="rId5" Type="http://schemas.openxmlformats.org/officeDocument/2006/relationships/image" Target="../media/image21.png"/><Relationship Id="rId4" Type="http://schemas.openxmlformats.org/officeDocument/2006/relationships/image" Target="../media/image20.svg"/></Relationships>
</file>

<file path=ppt/diagrams/_rels/drawing5.xml.rels><?xml version="1.0" encoding="UTF-8" standalone="yes"?>
<Relationships xmlns="http://schemas.openxmlformats.org/package/2006/relationships"><Relationship Id="rId8" Type="http://schemas.openxmlformats.org/officeDocument/2006/relationships/image" Target="../media/image30.svg"/><Relationship Id="rId3" Type="http://schemas.openxmlformats.org/officeDocument/2006/relationships/image" Target="../media/image25.png"/><Relationship Id="rId7" Type="http://schemas.openxmlformats.org/officeDocument/2006/relationships/image" Target="../media/image29.png"/><Relationship Id="rId2" Type="http://schemas.openxmlformats.org/officeDocument/2006/relationships/image" Target="../media/image24.svg"/><Relationship Id="rId1" Type="http://schemas.openxmlformats.org/officeDocument/2006/relationships/image" Target="../media/image23.png"/><Relationship Id="rId6" Type="http://schemas.openxmlformats.org/officeDocument/2006/relationships/image" Target="../media/image28.svg"/><Relationship Id="rId5" Type="http://schemas.openxmlformats.org/officeDocument/2006/relationships/image" Target="../media/image27.png"/><Relationship Id="rId10" Type="http://schemas.openxmlformats.org/officeDocument/2006/relationships/image" Target="../media/image32.svg"/><Relationship Id="rId4" Type="http://schemas.openxmlformats.org/officeDocument/2006/relationships/image" Target="../media/image26.svg"/><Relationship Id="rId9" Type="http://schemas.openxmlformats.org/officeDocument/2006/relationships/image" Target="../media/image31.png"/></Relationships>
</file>

<file path=ppt/diagrams/_rels/drawing6.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4.svg"/><Relationship Id="rId1" Type="http://schemas.openxmlformats.org/officeDocument/2006/relationships/image" Target="../media/image33.png"/><Relationship Id="rId6" Type="http://schemas.openxmlformats.org/officeDocument/2006/relationships/image" Target="../media/image38.svg"/><Relationship Id="rId5" Type="http://schemas.openxmlformats.org/officeDocument/2006/relationships/image" Target="../media/image37.png"/><Relationship Id="rId4" Type="http://schemas.openxmlformats.org/officeDocument/2006/relationships/image" Target="../media/image36.svg"/></Relationships>
</file>

<file path=ppt/diagrams/_rels/drawing7.xml.rels><?xml version="1.0" encoding="UTF-8" standalone="yes"?>
<Relationships xmlns="http://schemas.openxmlformats.org/package/2006/relationships"><Relationship Id="rId8" Type="http://schemas.openxmlformats.org/officeDocument/2006/relationships/image" Target="../media/image45.svg"/><Relationship Id="rId3" Type="http://schemas.openxmlformats.org/officeDocument/2006/relationships/image" Target="../media/image41.png"/><Relationship Id="rId7" Type="http://schemas.openxmlformats.org/officeDocument/2006/relationships/image" Target="../media/image31.png"/><Relationship Id="rId2" Type="http://schemas.openxmlformats.org/officeDocument/2006/relationships/image" Target="../media/image40.svg"/><Relationship Id="rId1" Type="http://schemas.openxmlformats.org/officeDocument/2006/relationships/image" Target="../media/image39.png"/><Relationship Id="rId6" Type="http://schemas.openxmlformats.org/officeDocument/2006/relationships/image" Target="../media/image44.svg"/><Relationship Id="rId5" Type="http://schemas.openxmlformats.org/officeDocument/2006/relationships/image" Target="../media/image43.png"/><Relationship Id="rId4" Type="http://schemas.openxmlformats.org/officeDocument/2006/relationships/image" Target="../media/image42.svg"/></Relationships>
</file>

<file path=ppt/diagrams/_rels/drawing8.xml.rels><?xml version="1.0" encoding="UTF-8" standalone="yes"?>
<Relationships xmlns="http://schemas.openxmlformats.org/package/2006/relationships"><Relationship Id="rId8" Type="http://schemas.openxmlformats.org/officeDocument/2006/relationships/image" Target="../media/image53.svg"/><Relationship Id="rId3" Type="http://schemas.openxmlformats.org/officeDocument/2006/relationships/image" Target="../media/image48.png"/><Relationship Id="rId7" Type="http://schemas.openxmlformats.org/officeDocument/2006/relationships/image" Target="../media/image52.png"/><Relationship Id="rId2" Type="http://schemas.openxmlformats.org/officeDocument/2006/relationships/image" Target="../media/image47.svg"/><Relationship Id="rId1" Type="http://schemas.openxmlformats.org/officeDocument/2006/relationships/image" Target="../media/image46.png"/><Relationship Id="rId6" Type="http://schemas.openxmlformats.org/officeDocument/2006/relationships/image" Target="../media/image51.svg"/><Relationship Id="rId5" Type="http://schemas.openxmlformats.org/officeDocument/2006/relationships/image" Target="../media/image50.png"/><Relationship Id="rId4" Type="http://schemas.openxmlformats.org/officeDocument/2006/relationships/image" Target="../media/image49.svg"/></Relationships>
</file>

<file path=ppt/diagrams/_rels/drawing9.xml.rels><?xml version="1.0" encoding="UTF-8" standalone="yes"?>
<Relationships xmlns="http://schemas.openxmlformats.org/package/2006/relationships"><Relationship Id="rId8" Type="http://schemas.openxmlformats.org/officeDocument/2006/relationships/image" Target="../media/image61.svg"/><Relationship Id="rId3" Type="http://schemas.openxmlformats.org/officeDocument/2006/relationships/image" Target="../media/image56.png"/><Relationship Id="rId7" Type="http://schemas.openxmlformats.org/officeDocument/2006/relationships/image" Target="../media/image60.png"/><Relationship Id="rId2" Type="http://schemas.openxmlformats.org/officeDocument/2006/relationships/image" Target="../media/image55.svg"/><Relationship Id="rId1" Type="http://schemas.openxmlformats.org/officeDocument/2006/relationships/image" Target="../media/image54.png"/><Relationship Id="rId6" Type="http://schemas.openxmlformats.org/officeDocument/2006/relationships/image" Target="../media/image59.svg"/><Relationship Id="rId5" Type="http://schemas.openxmlformats.org/officeDocument/2006/relationships/image" Target="../media/image58.png"/><Relationship Id="rId10" Type="http://schemas.openxmlformats.org/officeDocument/2006/relationships/image" Target="../media/image63.svg"/><Relationship Id="rId4" Type="http://schemas.openxmlformats.org/officeDocument/2006/relationships/image" Target="../media/image57.svg"/><Relationship Id="rId9" Type="http://schemas.openxmlformats.org/officeDocument/2006/relationships/image" Target="../media/image62.png"/></Relationships>
</file>

<file path=ppt/diagrams/colors1.xml><?xml version="1.0" encoding="utf-8"?>
<dgm:colorsDef xmlns:dgm="http://schemas.openxmlformats.org/drawingml/2006/diagram" xmlns:a="http://schemas.openxmlformats.org/drawingml/2006/main" uniqueId="urn:microsoft.com/office/officeart/2005/8/colors/accent4_2">
  <dgm:title val=""/>
  <dgm:desc val=""/>
  <dgm:catLst>
    <dgm:cat type="accent4" pri="11200"/>
  </dgm:catLst>
  <dgm:styleLbl name="node0">
    <dgm:fillClrLst meth="repeat">
      <a:schemeClr val="accent4"/>
    </dgm:fillClrLst>
    <dgm:linClrLst meth="repeat">
      <a:schemeClr val="lt1"/>
    </dgm:linClrLst>
    <dgm:effectClrLst/>
    <dgm:txLinClrLst/>
    <dgm:txFillClrLst/>
    <dgm:txEffectClrLst/>
  </dgm:styleLbl>
  <dgm:styleLbl name="node1">
    <dgm:fillClrLst meth="repeat">
      <a:schemeClr val="accent4"/>
    </dgm:fillClrLst>
    <dgm:linClrLst meth="repeat">
      <a:schemeClr val="lt1"/>
    </dgm:linClrLst>
    <dgm:effectClrLst/>
    <dgm:txLinClrLst/>
    <dgm:txFillClrLst/>
    <dgm:txEffectClrLst/>
  </dgm:styleLbl>
  <dgm:styleLbl name="alignNode1">
    <dgm:fillClrLst meth="repeat">
      <a:schemeClr val="accent4"/>
    </dgm:fillClrLst>
    <dgm:linClrLst meth="repeat">
      <a:schemeClr val="accent4"/>
    </dgm:linClrLst>
    <dgm:effectClrLst/>
    <dgm:txLinClrLst/>
    <dgm:txFillClrLst/>
    <dgm:txEffectClrLst/>
  </dgm:styleLbl>
  <dgm:styleLbl name="lnNode1">
    <dgm:fillClrLst meth="repeat">
      <a:schemeClr val="accent4"/>
    </dgm:fillClrLst>
    <dgm:linClrLst meth="repeat">
      <a:schemeClr val="lt1"/>
    </dgm:linClrLst>
    <dgm:effectClrLst/>
    <dgm:txLinClrLst/>
    <dgm:txFillClrLst/>
    <dgm:txEffectClrLst/>
  </dgm:styleLbl>
  <dgm:styleLbl name="vennNode1">
    <dgm:fillClrLst meth="repeat">
      <a:schemeClr val="accent4">
        <a:alpha val="50000"/>
      </a:schemeClr>
    </dgm:fillClrLst>
    <dgm:linClrLst meth="repeat">
      <a:schemeClr val="lt1"/>
    </dgm:linClrLst>
    <dgm:effectClrLst/>
    <dgm:txLinClrLst/>
    <dgm:txFillClrLst/>
    <dgm:txEffectClrLst/>
  </dgm:styleLbl>
  <dgm:styleLbl name="node2">
    <dgm:fillClrLst meth="repeat">
      <a:schemeClr val="accent4"/>
    </dgm:fillClrLst>
    <dgm:linClrLst meth="repeat">
      <a:schemeClr val="lt1"/>
    </dgm:linClrLst>
    <dgm:effectClrLst/>
    <dgm:txLinClrLst/>
    <dgm:txFillClrLst/>
    <dgm:txEffectClrLst/>
  </dgm:styleLbl>
  <dgm:styleLbl name="node3">
    <dgm:fillClrLst meth="repeat">
      <a:schemeClr val="accent4"/>
    </dgm:fillClrLst>
    <dgm:linClrLst meth="repeat">
      <a:schemeClr val="lt1"/>
    </dgm:linClrLst>
    <dgm:effectClrLst/>
    <dgm:txLinClrLst/>
    <dgm:txFillClrLst/>
    <dgm:txEffectClrLst/>
  </dgm:styleLbl>
  <dgm:styleLbl name="node4">
    <dgm:fillClrLst meth="repeat">
      <a:schemeClr val="accent4"/>
    </dgm:fillClrLst>
    <dgm:linClrLst meth="repeat">
      <a:schemeClr val="lt1"/>
    </dgm:linClrLst>
    <dgm:effectClrLst/>
    <dgm:txLinClrLst/>
    <dgm:txFillClrLst/>
    <dgm:txEffectClrLst/>
  </dgm:styleLbl>
  <dgm:styleLbl name="fgImgPlace1">
    <dgm:fillClrLst meth="repeat">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4">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4">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4">
        <a:tint val="60000"/>
      </a:schemeClr>
    </dgm:fillClrLst>
    <dgm:linClrLst meth="repeat">
      <a:schemeClr val="accent4">
        <a:tint val="60000"/>
      </a:schemeClr>
    </dgm:linClrLst>
    <dgm:effectClrLst/>
    <dgm:txLinClrLst/>
    <dgm:txFillClrLst/>
    <dgm:txEffectClrLst/>
  </dgm:styleLbl>
  <dgm:styleLbl name="fgSibTrans2D1">
    <dgm:fillClrLst meth="repeat">
      <a:schemeClr val="accent4">
        <a:tint val="60000"/>
      </a:schemeClr>
    </dgm:fillClrLst>
    <dgm:linClrLst meth="repeat">
      <a:schemeClr val="accent4">
        <a:tint val="60000"/>
      </a:schemeClr>
    </dgm:linClrLst>
    <dgm:effectClrLst/>
    <dgm:txLinClrLst/>
    <dgm:txFillClrLst/>
    <dgm:txEffectClrLst/>
  </dgm:styleLbl>
  <dgm:styleLbl name="bgSibTrans2D1">
    <dgm:fillClrLst meth="repeat">
      <a:schemeClr val="accent4">
        <a:tint val="60000"/>
      </a:schemeClr>
    </dgm:fillClrLst>
    <dgm:linClrLst meth="repeat">
      <a:schemeClr val="accent4">
        <a:tint val="60000"/>
      </a:schemeClr>
    </dgm:linClrLst>
    <dgm:effectClrLst/>
    <dgm:txLinClrLst/>
    <dgm:txFillClrLst/>
    <dgm:txEffectClrLst/>
  </dgm:styleLbl>
  <dgm:styleLbl name="sibTrans1D1">
    <dgm:fillClrLst meth="repeat">
      <a:schemeClr val="accent4"/>
    </dgm:fillClrLst>
    <dgm:linClrLst meth="repeat">
      <a:schemeClr val="accent4"/>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dgm:linClrLst>
    <dgm:effectClrLst/>
    <dgm:txLinClrLst/>
    <dgm:txFillClrLst/>
    <dgm:txEffectClrLst/>
  </dgm:styleLbl>
  <dgm:styleLbl name="asst1">
    <dgm:fillClrLst meth="repeat">
      <a:schemeClr val="accent4"/>
    </dgm:fillClrLst>
    <dgm:linClrLst meth="repeat">
      <a:schemeClr val="lt1"/>
    </dgm:linClrLst>
    <dgm:effectClrLst/>
    <dgm:txLinClrLst/>
    <dgm:txFillClrLst/>
    <dgm:txEffectClrLst/>
  </dgm:styleLbl>
  <dgm:styleLbl name="asst2">
    <dgm:fillClrLst meth="repeat">
      <a:schemeClr val="accent4"/>
    </dgm:fillClrLst>
    <dgm:linClrLst meth="repeat">
      <a:schemeClr val="lt1"/>
    </dgm:linClrLst>
    <dgm:effectClrLst/>
    <dgm:txLinClrLst/>
    <dgm:txFillClrLst/>
    <dgm:txEffectClrLst/>
  </dgm:styleLbl>
  <dgm:styleLbl name="asst3">
    <dgm:fillClrLst meth="repeat">
      <a:schemeClr val="accent4"/>
    </dgm:fillClrLst>
    <dgm:linClrLst meth="repeat">
      <a:schemeClr val="lt1"/>
    </dgm:linClrLst>
    <dgm:effectClrLst/>
    <dgm:txLinClrLst/>
    <dgm:txFillClrLst/>
    <dgm:txEffectClrLst/>
  </dgm:styleLbl>
  <dgm:styleLbl name="asst4">
    <dgm:fillClrLst meth="repeat">
      <a:schemeClr val="accent4"/>
    </dgm:fillClrLst>
    <dgm:linClrLst meth="repeat">
      <a:schemeClr val="lt1"/>
    </dgm:linClrLst>
    <dgm:effectClrLst/>
    <dgm:txLinClrLst/>
    <dgm:txFillClrLst/>
    <dgm:txEffectClrLst/>
  </dgm:styleLbl>
  <dgm:styleLbl name="parChTrans2D1">
    <dgm:fillClrLst meth="repeat">
      <a:schemeClr val="accent4">
        <a:tint val="60000"/>
      </a:schemeClr>
    </dgm:fillClrLst>
    <dgm:linClrLst meth="repeat">
      <a:schemeClr val="accent4">
        <a:tint val="60000"/>
      </a:schemeClr>
    </dgm:linClrLst>
    <dgm:effectClrLst/>
    <dgm:txLinClrLst/>
    <dgm:txFillClrLst meth="repeat">
      <a:schemeClr val="lt1"/>
    </dgm:txFillClrLst>
    <dgm:txEffectClrLst/>
  </dgm:styleLbl>
  <dgm:styleLbl name="parChTrans2D2">
    <dgm:fillClrLst meth="repeat">
      <a:schemeClr val="accent4"/>
    </dgm:fillClrLst>
    <dgm:linClrLst meth="repeat">
      <a:schemeClr val="accent4"/>
    </dgm:linClrLst>
    <dgm:effectClrLst/>
    <dgm:txLinClrLst/>
    <dgm:txFillClrLst meth="repeat">
      <a:schemeClr val="lt1"/>
    </dgm:txFillClrLst>
    <dgm:txEffectClrLst/>
  </dgm:styleLbl>
  <dgm:styleLbl name="parChTrans2D3">
    <dgm:fillClrLst meth="repeat">
      <a:schemeClr val="accent4"/>
    </dgm:fillClrLst>
    <dgm:linClrLst meth="repeat">
      <a:schemeClr val="accent4"/>
    </dgm:linClrLst>
    <dgm:effectClrLst/>
    <dgm:txLinClrLst/>
    <dgm:txFillClrLst meth="repeat">
      <a:schemeClr val="lt1"/>
    </dgm:txFillClrLst>
    <dgm:txEffectClrLst/>
  </dgm:styleLbl>
  <dgm:styleLbl name="parChTrans2D4">
    <dgm:fillClrLst meth="repeat">
      <a:schemeClr val="accent4"/>
    </dgm:fillClrLst>
    <dgm:linClrLst meth="repeat">
      <a:schemeClr val="accent4"/>
    </dgm:linClrLst>
    <dgm:effectClrLst/>
    <dgm:txLinClrLst/>
    <dgm:txFillClrLst meth="repeat">
      <a:schemeClr val="lt1"/>
    </dgm:txFillClrLst>
    <dgm:txEffectClrLst/>
  </dgm:styleLbl>
  <dgm:styleLbl name="parChTrans1D1">
    <dgm:fillClrLst meth="repeat">
      <a:schemeClr val="accent4"/>
    </dgm:fillClrLst>
    <dgm:linClrLst meth="repeat">
      <a:schemeClr val="accent4">
        <a:shade val="60000"/>
      </a:schemeClr>
    </dgm:linClrLst>
    <dgm:effectClrLst/>
    <dgm:txLinClrLst/>
    <dgm:txFillClrLst meth="repeat">
      <a:schemeClr val="tx1"/>
    </dgm:txFillClrLst>
    <dgm:txEffectClrLst/>
  </dgm:styleLbl>
  <dgm:styleLbl name="parChTrans1D2">
    <dgm:fillClrLst meth="repeat">
      <a:schemeClr val="accent4"/>
    </dgm:fillClrLst>
    <dgm:linClrLst meth="repeat">
      <a:schemeClr val="accent4">
        <a:shade val="60000"/>
      </a:schemeClr>
    </dgm:linClrLst>
    <dgm:effectClrLst/>
    <dgm:txLinClrLst/>
    <dgm:txFillClrLst meth="repeat">
      <a:schemeClr val="tx1"/>
    </dgm:txFillClrLst>
    <dgm:txEffectClrLst/>
  </dgm:styleLbl>
  <dgm:styleLbl name="parChTrans1D3">
    <dgm:fillClrLst meth="repeat">
      <a:schemeClr val="accent4"/>
    </dgm:fillClrLst>
    <dgm:linClrLst meth="repeat">
      <a:schemeClr val="accent4">
        <a:shade val="80000"/>
      </a:schemeClr>
    </dgm:linClrLst>
    <dgm:effectClrLst/>
    <dgm:txLinClrLst/>
    <dgm:txFillClrLst meth="repeat">
      <a:schemeClr val="tx1"/>
    </dgm:txFillClrLst>
    <dgm:txEffectClrLst/>
  </dgm:styleLbl>
  <dgm:styleLbl name="parChTrans1D4">
    <dgm:fillClrLst meth="repeat">
      <a:schemeClr val="accent4"/>
    </dgm:fillClrLst>
    <dgm:linClrLst meth="repeat">
      <a:schemeClr val="accent4">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solidFgAcc1">
    <dgm:fillClrLst meth="repeat">
      <a:schemeClr val="lt1"/>
    </dgm:fillClrLst>
    <dgm:linClrLst meth="repeat">
      <a:schemeClr val="accent4"/>
    </dgm:linClrLst>
    <dgm:effectClrLst/>
    <dgm:txLinClrLst/>
    <dgm:txFillClrLst meth="repeat">
      <a:schemeClr val="dk1"/>
    </dgm:txFillClrLst>
    <dgm:txEffectClrLst/>
  </dgm:styleLbl>
  <dgm:styleLbl name="solidAlignAcc1">
    <dgm:fillClrLst meth="repeat">
      <a:schemeClr val="lt1"/>
    </dgm:fillClrLst>
    <dgm:linClrLst meth="repeat">
      <a:schemeClr val="accent4"/>
    </dgm:linClrLst>
    <dgm:effectClrLst/>
    <dgm:txLinClrLst/>
    <dgm:txFillClrLst meth="repeat">
      <a:schemeClr val="dk1"/>
    </dgm:txFillClrLst>
    <dgm:txEffectClrLst/>
  </dgm:styleLbl>
  <dgm:styleLbl name="solidBgAcc1">
    <dgm:fillClrLst meth="repeat">
      <a:schemeClr val="lt1"/>
    </dgm:fillClrLst>
    <dgm:linClrLst meth="repeat">
      <a:schemeClr val="accent4"/>
    </dgm:linClrLst>
    <dgm:effectClrLst/>
    <dgm:txLinClrLst/>
    <dgm:txFillClrLst meth="repeat">
      <a:schemeClr val="dk1"/>
    </dgm:txFillClrLst>
    <dgm:txEffectClrLst/>
  </dgm:styleLbl>
  <dgm:styleLbl name="fgAccFollowNode1">
    <dgm:fillClrLst meth="repeat">
      <a:schemeClr val="accent4">
        <a:alpha val="90000"/>
        <a:tint val="40000"/>
      </a:schemeClr>
    </dgm:fillClrLst>
    <dgm:linClrLst meth="repeat">
      <a:schemeClr val="accent4">
        <a:alpha val="90000"/>
        <a:tint val="40000"/>
      </a:schemeClr>
    </dgm:linClrLst>
    <dgm:effectClrLst/>
    <dgm:txLinClrLst/>
    <dgm:txFillClrLst meth="repeat">
      <a:schemeClr val="dk1"/>
    </dgm:txFillClrLst>
    <dgm:txEffectClrLst/>
  </dgm:styleLbl>
  <dgm:styleLbl name="alignAccFollowNode1">
    <dgm:fillClrLst meth="repeat">
      <a:schemeClr val="accent4">
        <a:alpha val="90000"/>
        <a:tint val="40000"/>
      </a:schemeClr>
    </dgm:fillClrLst>
    <dgm:linClrLst meth="repeat">
      <a:schemeClr val="accent4">
        <a:alpha val="90000"/>
        <a:tint val="40000"/>
      </a:schemeClr>
    </dgm:linClrLst>
    <dgm:effectClrLst/>
    <dgm:txLinClrLst/>
    <dgm:txFillClrLst meth="repeat">
      <a:schemeClr val="dk1"/>
    </dgm:txFillClrLst>
    <dgm:txEffectClrLst/>
  </dgm:styleLbl>
  <dgm:styleLbl name="bgAccFollowNode1">
    <dgm:fillClrLst meth="repeat">
      <a:schemeClr val="accent4">
        <a:alpha val="90000"/>
        <a:tint val="40000"/>
      </a:schemeClr>
    </dgm:fillClrLst>
    <dgm:linClrLst meth="repeat">
      <a:schemeClr val="accent4">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accent4"/>
    </dgm:linClrLst>
    <dgm:effectClrLst/>
    <dgm:txLinClrLst/>
    <dgm:txFillClrLst meth="repeat">
      <a:schemeClr val="dk1"/>
    </dgm:txFillClrLst>
    <dgm:txEffectClrLst/>
  </dgm:styleLbl>
  <dgm:styleLbl name="dkBgShp">
    <dgm:fillClrLst meth="repeat">
      <a:schemeClr val="accent4">
        <a:shade val="80000"/>
      </a:schemeClr>
    </dgm:fillClrLst>
    <dgm:linClrLst meth="repeat">
      <a:schemeClr val="accent4"/>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0.xml><?xml version="1.0" encoding="utf-8"?>
<dgm:colorsDef xmlns:dgm="http://schemas.openxmlformats.org/drawingml/2006/diagram" xmlns:a="http://schemas.openxmlformats.org/drawingml/2006/main" uniqueId="urn:microsoft.com/office/officeart/2018/5/colors/Iconchunking_neutralbg_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a:alpha val="0"/>
      </a:schemeClr>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bg1">
        <a:lumMod val="95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1.xml><?xml version="1.0" encoding="utf-8"?>
<dgm:colorsDef xmlns:dgm="http://schemas.openxmlformats.org/drawingml/2006/diagram" xmlns:a="http://schemas.openxmlformats.org/drawingml/2006/main" uniqueId="urn:microsoft.com/office/officeart/2018/5/colors/Iconchunking_neutralbg_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a:alpha val="0"/>
      </a:schemeClr>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bg1">
        <a:lumMod val="95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2.xml><?xml version="1.0" encoding="utf-8"?>
<dgm:colorsDef xmlns:dgm="http://schemas.openxmlformats.org/drawingml/2006/diagram" xmlns:a="http://schemas.openxmlformats.org/drawingml/2006/main" uniqueId="urn:microsoft.com/office/officeart/2018/5/colors/Iconchunking_neutralbg_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a:alpha val="0"/>
      </a:schemeClr>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bg1">
        <a:lumMod val="95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3.xml><?xml version="1.0" encoding="utf-8"?>
<dgm:colorsDef xmlns:dgm="http://schemas.openxmlformats.org/drawingml/2006/diagram" xmlns:a="http://schemas.openxmlformats.org/drawingml/2006/main" uniqueId="urn:microsoft.com/office/officeart/2018/5/colors/Iconchunking_neutralbg_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a:alpha val="0"/>
      </a:schemeClr>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bg1">
        <a:lumMod val="95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4.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5.xml><?xml version="1.0" encoding="utf-8"?>
<dgm:colorsDef xmlns:dgm="http://schemas.openxmlformats.org/drawingml/2006/diagram" xmlns:a="http://schemas.openxmlformats.org/drawingml/2006/main" uniqueId="urn:microsoft.com/office/officeart/2018/5/colors/Iconchunking_neutralbg_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a:alpha val="0"/>
      </a:schemeClr>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bg1">
        <a:lumMod val="95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6.xml><?xml version="1.0" encoding="utf-8"?>
<dgm:colorsDef xmlns:dgm="http://schemas.openxmlformats.org/drawingml/2006/diagram" xmlns:a="http://schemas.openxmlformats.org/drawingml/2006/main" uniqueId="urn:microsoft.com/office/officeart/2018/5/colors/Iconchunking_neutralbg_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a:alpha val="0"/>
      </a:schemeClr>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bg1">
        <a:lumMod val="95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7.xml><?xml version="1.0" encoding="utf-8"?>
<dgm:colorsDef xmlns:dgm="http://schemas.openxmlformats.org/drawingml/2006/diagram" xmlns:a="http://schemas.openxmlformats.org/drawingml/2006/main" uniqueId="urn:microsoft.com/office/officeart/2018/5/colors/Iconchunking_neutralbg_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a:alpha val="0"/>
      </a:schemeClr>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bg1">
        <a:lumMod val="95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8.xml><?xml version="1.0" encoding="utf-8"?>
<dgm:colorsDef xmlns:dgm="http://schemas.openxmlformats.org/drawingml/2006/diagram" xmlns:a="http://schemas.openxmlformats.org/drawingml/2006/main" uniqueId="urn:microsoft.com/office/officeart/2018/5/colors/Iconchunking_neutralbg_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a:alpha val="0"/>
      </a:schemeClr>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bg1">
        <a:lumMod val="95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9.xml><?xml version="1.0" encoding="utf-8"?>
<dgm:colorsDef xmlns:dgm="http://schemas.openxmlformats.org/drawingml/2006/diagram" xmlns:a="http://schemas.openxmlformats.org/drawingml/2006/main" uniqueId="urn:microsoft.com/office/officeart/2018/5/colors/Iconchunking_neutralbg_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a:alpha val="0"/>
      </a:schemeClr>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bg1">
        <a:lumMod val="95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18/5/colors/Iconchunking_neutralbg_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a:alpha val="0"/>
      </a:schemeClr>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bg1">
        <a:lumMod val="95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0.xml><?xml version="1.0" encoding="utf-8"?>
<dgm:colorsDef xmlns:dgm="http://schemas.openxmlformats.org/drawingml/2006/diagram" xmlns:a="http://schemas.openxmlformats.org/drawingml/2006/main" uniqueId="urn:microsoft.com/office/officeart/2018/5/colors/Iconchunking_neutralbg_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a:alpha val="0"/>
      </a:schemeClr>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bg1">
        <a:lumMod val="95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1.xml><?xml version="1.0" encoding="utf-8"?>
<dgm:colorsDef xmlns:dgm="http://schemas.openxmlformats.org/drawingml/2006/diagram" xmlns:a="http://schemas.openxmlformats.org/drawingml/2006/main" uniqueId="urn:microsoft.com/office/officeart/2018/5/colors/Iconchunking_neutralbg_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a:alpha val="0"/>
      </a:schemeClr>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bg1">
        <a:lumMod val="95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18/5/colors/Iconchunking_neutralbg_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a:alpha val="0"/>
      </a:schemeClr>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bg1">
        <a:lumMod val="95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18/5/colors/Iconchunking_neutralbg_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a:alpha val="0"/>
      </a:schemeClr>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bg1">
        <a:lumMod val="95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18/5/colors/Iconchunking_neutralbg_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a:alpha val="0"/>
      </a:schemeClr>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bg1">
        <a:lumMod val="95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18/5/colors/Iconchunking_neutralbg_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a:alpha val="0"/>
      </a:schemeClr>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bg1">
        <a:lumMod val="95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18/5/colors/Iconchunking_neutralbg_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a:alpha val="0"/>
      </a:schemeClr>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bg1">
        <a:lumMod val="95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18/5/colors/Iconchunking_neutralbg_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a:alpha val="0"/>
      </a:schemeClr>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bg1">
        <a:lumMod val="95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2D0C7BDF-ED53-4C65-9555-338A529EE5CD}" type="doc">
      <dgm:prSet loTypeId="urn:microsoft.com/office/officeart/2008/layout/LinedList" loCatId="list" qsTypeId="urn:microsoft.com/office/officeart/2005/8/quickstyle/simple4" qsCatId="simple" csTypeId="urn:microsoft.com/office/officeart/2005/8/colors/accent4_2" csCatId="accent4" phldr="1"/>
      <dgm:spPr/>
      <dgm:t>
        <a:bodyPr/>
        <a:lstStyle/>
        <a:p>
          <a:endParaRPr lang="en-US"/>
        </a:p>
      </dgm:t>
    </dgm:pt>
    <dgm:pt modelId="{8F1B5935-80BC-40B1-9679-4E9520F18104}">
      <dgm:prSet/>
      <dgm:spPr/>
      <dgm:t>
        <a:bodyPr/>
        <a:lstStyle/>
        <a:p>
          <a:r>
            <a:rPr lang="en-US" b="1" dirty="0"/>
            <a:t>mitch@xrmcoaches.com</a:t>
          </a:r>
        </a:p>
      </dgm:t>
    </dgm:pt>
    <dgm:pt modelId="{6BC9E0B7-D2A6-41D3-AAC1-BEDD7F9E8F9C}" type="parTrans" cxnId="{978BD9B3-B55F-45F7-9B35-135E460C9354}">
      <dgm:prSet/>
      <dgm:spPr/>
      <dgm:t>
        <a:bodyPr/>
        <a:lstStyle/>
        <a:p>
          <a:endParaRPr lang="en-US"/>
        </a:p>
      </dgm:t>
    </dgm:pt>
    <dgm:pt modelId="{8784CF03-DB96-4881-B7ED-BAA9C992CAD6}" type="sibTrans" cxnId="{978BD9B3-B55F-45F7-9B35-135E460C9354}">
      <dgm:prSet/>
      <dgm:spPr/>
      <dgm:t>
        <a:bodyPr/>
        <a:lstStyle/>
        <a:p>
          <a:endParaRPr lang="en-US"/>
        </a:p>
      </dgm:t>
    </dgm:pt>
    <dgm:pt modelId="{A9950817-A5DA-4948-BD7D-97F6933D8F6D}">
      <dgm:prSet/>
      <dgm:spPr/>
      <dgm:t>
        <a:bodyPr/>
        <a:lstStyle/>
        <a:p>
          <a:r>
            <a:rPr lang="en-US" b="1" dirty="0"/>
            <a:t>@</a:t>
          </a:r>
          <a:r>
            <a:rPr lang="en-US" b="1" dirty="0" err="1"/>
            <a:t>mitchmilam</a:t>
          </a:r>
          <a:endParaRPr lang="en-US" b="1" dirty="0"/>
        </a:p>
      </dgm:t>
    </dgm:pt>
    <dgm:pt modelId="{348965A4-DB68-429E-8F54-85DC3DA6F1EC}" type="parTrans" cxnId="{F7F58F48-754B-4D26-AA4C-C489948F7A6F}">
      <dgm:prSet/>
      <dgm:spPr/>
      <dgm:t>
        <a:bodyPr/>
        <a:lstStyle/>
        <a:p>
          <a:endParaRPr lang="en-US"/>
        </a:p>
      </dgm:t>
    </dgm:pt>
    <dgm:pt modelId="{F63FE117-1DF1-4851-A1B0-98386887525A}" type="sibTrans" cxnId="{F7F58F48-754B-4D26-AA4C-C489948F7A6F}">
      <dgm:prSet/>
      <dgm:spPr/>
      <dgm:t>
        <a:bodyPr/>
        <a:lstStyle/>
        <a:p>
          <a:endParaRPr lang="en-US"/>
        </a:p>
      </dgm:t>
    </dgm:pt>
    <dgm:pt modelId="{82B41A2D-DB88-432E-9D1E-09FDE47F972E}">
      <dgm:prSet/>
      <dgm:spPr/>
      <dgm:t>
        <a:bodyPr/>
        <a:lstStyle/>
        <a:p>
          <a:r>
            <a:rPr lang="en-US" b="1" dirty="0"/>
            <a:t>linkedin.com/in/mitchmilam</a:t>
          </a:r>
        </a:p>
      </dgm:t>
    </dgm:pt>
    <dgm:pt modelId="{2DCA53D0-C620-4F13-8093-126BE2282CCA}" type="parTrans" cxnId="{F7939D33-F7A3-4821-967F-7BD309C89C7B}">
      <dgm:prSet/>
      <dgm:spPr/>
      <dgm:t>
        <a:bodyPr/>
        <a:lstStyle/>
        <a:p>
          <a:endParaRPr lang="en-US"/>
        </a:p>
      </dgm:t>
    </dgm:pt>
    <dgm:pt modelId="{FDB8E1AB-6C53-483D-AD37-79469CF4F4DE}" type="sibTrans" cxnId="{F7939D33-F7A3-4821-967F-7BD309C89C7B}">
      <dgm:prSet/>
      <dgm:spPr/>
      <dgm:t>
        <a:bodyPr/>
        <a:lstStyle/>
        <a:p>
          <a:endParaRPr lang="en-US"/>
        </a:p>
      </dgm:t>
    </dgm:pt>
    <dgm:pt modelId="{28BB30D4-224A-4D31-8F1C-1DA14F49155B}">
      <dgm:prSet/>
      <dgm:spPr/>
      <dgm:t>
        <a:bodyPr/>
        <a:lstStyle/>
        <a:p>
          <a:r>
            <a:rPr lang="en-US" b="1" dirty="0"/>
            <a:t>youtube.com/xRMCoaches</a:t>
          </a:r>
        </a:p>
      </dgm:t>
    </dgm:pt>
    <dgm:pt modelId="{DFE3A48C-EFAC-4065-AC02-D14961539EE5}" type="parTrans" cxnId="{901A5873-B44D-48B9-8121-46D61643D26D}">
      <dgm:prSet/>
      <dgm:spPr/>
      <dgm:t>
        <a:bodyPr/>
        <a:lstStyle/>
        <a:p>
          <a:endParaRPr lang="en-US"/>
        </a:p>
      </dgm:t>
    </dgm:pt>
    <dgm:pt modelId="{34AD2AAB-8203-49DD-8A86-6DF02049C3C2}" type="sibTrans" cxnId="{901A5873-B44D-48B9-8121-46D61643D26D}">
      <dgm:prSet/>
      <dgm:spPr/>
      <dgm:t>
        <a:bodyPr/>
        <a:lstStyle/>
        <a:p>
          <a:endParaRPr lang="en-US"/>
        </a:p>
      </dgm:t>
    </dgm:pt>
    <dgm:pt modelId="{2B368D25-F567-4B51-86C3-D90A0D577882}" type="pres">
      <dgm:prSet presAssocID="{2D0C7BDF-ED53-4C65-9555-338A529EE5CD}" presName="vert0" presStyleCnt="0">
        <dgm:presLayoutVars>
          <dgm:dir/>
          <dgm:animOne val="branch"/>
          <dgm:animLvl val="lvl"/>
        </dgm:presLayoutVars>
      </dgm:prSet>
      <dgm:spPr/>
    </dgm:pt>
    <dgm:pt modelId="{69DD0293-7514-408A-8B5E-75A95EC3A70E}" type="pres">
      <dgm:prSet presAssocID="{8F1B5935-80BC-40B1-9679-4E9520F18104}" presName="thickLine" presStyleLbl="alignNode1" presStyleIdx="0" presStyleCnt="4"/>
      <dgm:spPr/>
    </dgm:pt>
    <dgm:pt modelId="{995B2F2E-E130-4035-8826-1C67482DE87E}" type="pres">
      <dgm:prSet presAssocID="{8F1B5935-80BC-40B1-9679-4E9520F18104}" presName="horz1" presStyleCnt="0"/>
      <dgm:spPr/>
    </dgm:pt>
    <dgm:pt modelId="{414DC4A8-1964-45BC-901B-52463C74CC8F}" type="pres">
      <dgm:prSet presAssocID="{8F1B5935-80BC-40B1-9679-4E9520F18104}" presName="tx1" presStyleLbl="revTx" presStyleIdx="0" presStyleCnt="4"/>
      <dgm:spPr/>
    </dgm:pt>
    <dgm:pt modelId="{4181B578-C467-4500-BEFE-1AAEC68A9B5A}" type="pres">
      <dgm:prSet presAssocID="{8F1B5935-80BC-40B1-9679-4E9520F18104}" presName="vert1" presStyleCnt="0"/>
      <dgm:spPr/>
    </dgm:pt>
    <dgm:pt modelId="{231A45E0-246A-476F-97BD-B030E40B70A3}" type="pres">
      <dgm:prSet presAssocID="{A9950817-A5DA-4948-BD7D-97F6933D8F6D}" presName="thickLine" presStyleLbl="alignNode1" presStyleIdx="1" presStyleCnt="4"/>
      <dgm:spPr/>
    </dgm:pt>
    <dgm:pt modelId="{7513A532-4119-4E1A-A344-2857C456D96C}" type="pres">
      <dgm:prSet presAssocID="{A9950817-A5DA-4948-BD7D-97F6933D8F6D}" presName="horz1" presStyleCnt="0"/>
      <dgm:spPr/>
    </dgm:pt>
    <dgm:pt modelId="{7C0DC3F6-522E-4AE0-86CE-CCB39AF725C9}" type="pres">
      <dgm:prSet presAssocID="{A9950817-A5DA-4948-BD7D-97F6933D8F6D}" presName="tx1" presStyleLbl="revTx" presStyleIdx="1" presStyleCnt="4"/>
      <dgm:spPr/>
    </dgm:pt>
    <dgm:pt modelId="{F4DB6106-0B24-430D-B824-28209B3DDE86}" type="pres">
      <dgm:prSet presAssocID="{A9950817-A5DA-4948-BD7D-97F6933D8F6D}" presName="vert1" presStyleCnt="0"/>
      <dgm:spPr/>
    </dgm:pt>
    <dgm:pt modelId="{B5A67A0F-B2CF-46A7-ABE8-9EDDF17475C8}" type="pres">
      <dgm:prSet presAssocID="{82B41A2D-DB88-432E-9D1E-09FDE47F972E}" presName="thickLine" presStyleLbl="alignNode1" presStyleIdx="2" presStyleCnt="4"/>
      <dgm:spPr/>
    </dgm:pt>
    <dgm:pt modelId="{3C1AD2B9-1F4C-4690-B84E-92A50AE3F56B}" type="pres">
      <dgm:prSet presAssocID="{82B41A2D-DB88-432E-9D1E-09FDE47F972E}" presName="horz1" presStyleCnt="0"/>
      <dgm:spPr/>
    </dgm:pt>
    <dgm:pt modelId="{29A4991B-7739-48D4-9DA6-FC3F454F785D}" type="pres">
      <dgm:prSet presAssocID="{82B41A2D-DB88-432E-9D1E-09FDE47F972E}" presName="tx1" presStyleLbl="revTx" presStyleIdx="2" presStyleCnt="4"/>
      <dgm:spPr/>
    </dgm:pt>
    <dgm:pt modelId="{7FDDE0C4-64DE-4CFD-9593-4FCD44A050F7}" type="pres">
      <dgm:prSet presAssocID="{82B41A2D-DB88-432E-9D1E-09FDE47F972E}" presName="vert1" presStyleCnt="0"/>
      <dgm:spPr/>
    </dgm:pt>
    <dgm:pt modelId="{071EE56F-D604-48FD-AE45-9240BFBDC51A}" type="pres">
      <dgm:prSet presAssocID="{28BB30D4-224A-4D31-8F1C-1DA14F49155B}" presName="thickLine" presStyleLbl="alignNode1" presStyleIdx="3" presStyleCnt="4"/>
      <dgm:spPr/>
    </dgm:pt>
    <dgm:pt modelId="{3C973BFF-2849-4B50-BED6-1E90095A76C7}" type="pres">
      <dgm:prSet presAssocID="{28BB30D4-224A-4D31-8F1C-1DA14F49155B}" presName="horz1" presStyleCnt="0"/>
      <dgm:spPr/>
    </dgm:pt>
    <dgm:pt modelId="{C05FC414-5B10-46DC-93CD-2FB88A3716CF}" type="pres">
      <dgm:prSet presAssocID="{28BB30D4-224A-4D31-8F1C-1DA14F49155B}" presName="tx1" presStyleLbl="revTx" presStyleIdx="3" presStyleCnt="4"/>
      <dgm:spPr/>
    </dgm:pt>
    <dgm:pt modelId="{29551A9E-C09E-443A-94EA-59E5C3893EBB}" type="pres">
      <dgm:prSet presAssocID="{28BB30D4-224A-4D31-8F1C-1DA14F49155B}" presName="vert1" presStyleCnt="0"/>
      <dgm:spPr/>
    </dgm:pt>
  </dgm:ptLst>
  <dgm:cxnLst>
    <dgm:cxn modelId="{F7939D33-F7A3-4821-967F-7BD309C89C7B}" srcId="{2D0C7BDF-ED53-4C65-9555-338A529EE5CD}" destId="{82B41A2D-DB88-432E-9D1E-09FDE47F972E}" srcOrd="2" destOrd="0" parTransId="{2DCA53D0-C620-4F13-8093-126BE2282CCA}" sibTransId="{FDB8E1AB-6C53-483D-AD37-79469CF4F4DE}"/>
    <dgm:cxn modelId="{F7F58F48-754B-4D26-AA4C-C489948F7A6F}" srcId="{2D0C7BDF-ED53-4C65-9555-338A529EE5CD}" destId="{A9950817-A5DA-4948-BD7D-97F6933D8F6D}" srcOrd="1" destOrd="0" parTransId="{348965A4-DB68-429E-8F54-85DC3DA6F1EC}" sibTransId="{F63FE117-1DF1-4851-A1B0-98386887525A}"/>
    <dgm:cxn modelId="{901A5873-B44D-48B9-8121-46D61643D26D}" srcId="{2D0C7BDF-ED53-4C65-9555-338A529EE5CD}" destId="{28BB30D4-224A-4D31-8F1C-1DA14F49155B}" srcOrd="3" destOrd="0" parTransId="{DFE3A48C-EFAC-4065-AC02-D14961539EE5}" sibTransId="{34AD2AAB-8203-49DD-8A86-6DF02049C3C2}"/>
    <dgm:cxn modelId="{FD069090-782C-4A54-8F14-2462582BA126}" type="presOf" srcId="{2D0C7BDF-ED53-4C65-9555-338A529EE5CD}" destId="{2B368D25-F567-4B51-86C3-D90A0D577882}" srcOrd="0" destOrd="0" presId="urn:microsoft.com/office/officeart/2008/layout/LinedList"/>
    <dgm:cxn modelId="{093D9690-63BC-4E3D-B4E3-9874C142785E}" type="presOf" srcId="{28BB30D4-224A-4D31-8F1C-1DA14F49155B}" destId="{C05FC414-5B10-46DC-93CD-2FB88A3716CF}" srcOrd="0" destOrd="0" presId="urn:microsoft.com/office/officeart/2008/layout/LinedList"/>
    <dgm:cxn modelId="{623BE894-89CC-4720-B458-2D3FCD7B4F69}" type="presOf" srcId="{A9950817-A5DA-4948-BD7D-97F6933D8F6D}" destId="{7C0DC3F6-522E-4AE0-86CE-CCB39AF725C9}" srcOrd="0" destOrd="0" presId="urn:microsoft.com/office/officeart/2008/layout/LinedList"/>
    <dgm:cxn modelId="{978BD9B3-B55F-45F7-9B35-135E460C9354}" srcId="{2D0C7BDF-ED53-4C65-9555-338A529EE5CD}" destId="{8F1B5935-80BC-40B1-9679-4E9520F18104}" srcOrd="0" destOrd="0" parTransId="{6BC9E0B7-D2A6-41D3-AAC1-BEDD7F9E8F9C}" sibTransId="{8784CF03-DB96-4881-B7ED-BAA9C992CAD6}"/>
    <dgm:cxn modelId="{33AA1DB9-13D8-4E40-8BE6-9B911CD91FFC}" type="presOf" srcId="{82B41A2D-DB88-432E-9D1E-09FDE47F972E}" destId="{29A4991B-7739-48D4-9DA6-FC3F454F785D}" srcOrd="0" destOrd="0" presId="urn:microsoft.com/office/officeart/2008/layout/LinedList"/>
    <dgm:cxn modelId="{2F3A0EDC-DEDD-4C5B-A17E-ED506F5D576C}" type="presOf" srcId="{8F1B5935-80BC-40B1-9679-4E9520F18104}" destId="{414DC4A8-1964-45BC-901B-52463C74CC8F}" srcOrd="0" destOrd="0" presId="urn:microsoft.com/office/officeart/2008/layout/LinedList"/>
    <dgm:cxn modelId="{8BDAE7C7-8AA2-4D8C-8C6E-92286B13CAAE}" type="presParOf" srcId="{2B368D25-F567-4B51-86C3-D90A0D577882}" destId="{69DD0293-7514-408A-8B5E-75A95EC3A70E}" srcOrd="0" destOrd="0" presId="urn:microsoft.com/office/officeart/2008/layout/LinedList"/>
    <dgm:cxn modelId="{DC359B48-8C47-46E5-AE42-BC6C04AB8B40}" type="presParOf" srcId="{2B368D25-F567-4B51-86C3-D90A0D577882}" destId="{995B2F2E-E130-4035-8826-1C67482DE87E}" srcOrd="1" destOrd="0" presId="urn:microsoft.com/office/officeart/2008/layout/LinedList"/>
    <dgm:cxn modelId="{9571A79B-EC7A-4571-903D-2A12012C5F6E}" type="presParOf" srcId="{995B2F2E-E130-4035-8826-1C67482DE87E}" destId="{414DC4A8-1964-45BC-901B-52463C74CC8F}" srcOrd="0" destOrd="0" presId="urn:microsoft.com/office/officeart/2008/layout/LinedList"/>
    <dgm:cxn modelId="{F4E2E165-B33A-4825-9215-B06B0D20F3C1}" type="presParOf" srcId="{995B2F2E-E130-4035-8826-1C67482DE87E}" destId="{4181B578-C467-4500-BEFE-1AAEC68A9B5A}" srcOrd="1" destOrd="0" presId="urn:microsoft.com/office/officeart/2008/layout/LinedList"/>
    <dgm:cxn modelId="{27A60DB9-FEAA-4184-966C-DA23DAC9D547}" type="presParOf" srcId="{2B368D25-F567-4B51-86C3-D90A0D577882}" destId="{231A45E0-246A-476F-97BD-B030E40B70A3}" srcOrd="2" destOrd="0" presId="urn:microsoft.com/office/officeart/2008/layout/LinedList"/>
    <dgm:cxn modelId="{7BCDDA22-16F1-46B2-8129-FF87A438B0E7}" type="presParOf" srcId="{2B368D25-F567-4B51-86C3-D90A0D577882}" destId="{7513A532-4119-4E1A-A344-2857C456D96C}" srcOrd="3" destOrd="0" presId="urn:microsoft.com/office/officeart/2008/layout/LinedList"/>
    <dgm:cxn modelId="{7DD7F5CD-4E85-4849-942B-42713B883507}" type="presParOf" srcId="{7513A532-4119-4E1A-A344-2857C456D96C}" destId="{7C0DC3F6-522E-4AE0-86CE-CCB39AF725C9}" srcOrd="0" destOrd="0" presId="urn:microsoft.com/office/officeart/2008/layout/LinedList"/>
    <dgm:cxn modelId="{1A41C926-FFF9-4B26-AAD0-E37C10F109B2}" type="presParOf" srcId="{7513A532-4119-4E1A-A344-2857C456D96C}" destId="{F4DB6106-0B24-430D-B824-28209B3DDE86}" srcOrd="1" destOrd="0" presId="urn:microsoft.com/office/officeart/2008/layout/LinedList"/>
    <dgm:cxn modelId="{FF8AE4BB-EF50-470E-83B3-AB9EB4A449E6}" type="presParOf" srcId="{2B368D25-F567-4B51-86C3-D90A0D577882}" destId="{B5A67A0F-B2CF-46A7-ABE8-9EDDF17475C8}" srcOrd="4" destOrd="0" presId="urn:microsoft.com/office/officeart/2008/layout/LinedList"/>
    <dgm:cxn modelId="{43F3CDF8-426F-4BE4-8CCE-1A392DCFC092}" type="presParOf" srcId="{2B368D25-F567-4B51-86C3-D90A0D577882}" destId="{3C1AD2B9-1F4C-4690-B84E-92A50AE3F56B}" srcOrd="5" destOrd="0" presId="urn:microsoft.com/office/officeart/2008/layout/LinedList"/>
    <dgm:cxn modelId="{90DBF3D2-0CA1-48C9-A76D-AF9CC0F871ED}" type="presParOf" srcId="{3C1AD2B9-1F4C-4690-B84E-92A50AE3F56B}" destId="{29A4991B-7739-48D4-9DA6-FC3F454F785D}" srcOrd="0" destOrd="0" presId="urn:microsoft.com/office/officeart/2008/layout/LinedList"/>
    <dgm:cxn modelId="{9141AF30-3B1F-4F3E-970B-6D5254ACEF44}" type="presParOf" srcId="{3C1AD2B9-1F4C-4690-B84E-92A50AE3F56B}" destId="{7FDDE0C4-64DE-4CFD-9593-4FCD44A050F7}" srcOrd="1" destOrd="0" presId="urn:microsoft.com/office/officeart/2008/layout/LinedList"/>
    <dgm:cxn modelId="{F169214A-79E6-4204-AFE7-4E32FB44F47C}" type="presParOf" srcId="{2B368D25-F567-4B51-86C3-D90A0D577882}" destId="{071EE56F-D604-48FD-AE45-9240BFBDC51A}" srcOrd="6" destOrd="0" presId="urn:microsoft.com/office/officeart/2008/layout/LinedList"/>
    <dgm:cxn modelId="{276554F9-E325-46EB-9F5D-51F7301C4B6B}" type="presParOf" srcId="{2B368D25-F567-4B51-86C3-D90A0D577882}" destId="{3C973BFF-2849-4B50-BED6-1E90095A76C7}" srcOrd="7" destOrd="0" presId="urn:microsoft.com/office/officeart/2008/layout/LinedList"/>
    <dgm:cxn modelId="{6A6AEABD-605E-432B-8956-1E09434E1F6E}" type="presParOf" srcId="{3C973BFF-2849-4B50-BED6-1E90095A76C7}" destId="{C05FC414-5B10-46DC-93CD-2FB88A3716CF}" srcOrd="0" destOrd="0" presId="urn:microsoft.com/office/officeart/2008/layout/LinedList"/>
    <dgm:cxn modelId="{63A0092E-3DC9-41E2-90EB-5CAF6263164E}" type="presParOf" srcId="{3C973BFF-2849-4B50-BED6-1E90095A76C7}" destId="{29551A9E-C09E-443A-94EA-59E5C3893EBB}" srcOrd="1" destOrd="0" presId="urn:microsoft.com/office/officeart/2008/layout/LinedList"/>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10.xml><?xml version="1.0" encoding="utf-8"?>
<dgm:dataModel xmlns:dgm="http://schemas.openxmlformats.org/drawingml/2006/diagram" xmlns:a="http://schemas.openxmlformats.org/drawingml/2006/main">
  <dgm:ptLst>
    <dgm:pt modelId="{57F3D938-4083-4B74-8735-32C37C170D54}" type="doc">
      <dgm:prSet loTypeId="urn:microsoft.com/office/officeart/2018/2/layout/IconVerticalSolidList" loCatId="icon" qsTypeId="urn:microsoft.com/office/officeart/2005/8/quickstyle/simple1" qsCatId="simple" csTypeId="urn:microsoft.com/office/officeart/2018/5/colors/Iconchunking_neutralbg_colorful1" csCatId="colorful" phldr="1"/>
      <dgm:spPr/>
      <dgm:t>
        <a:bodyPr/>
        <a:lstStyle/>
        <a:p>
          <a:endParaRPr lang="en-US"/>
        </a:p>
      </dgm:t>
    </dgm:pt>
    <dgm:pt modelId="{1CCC1A13-4107-4835-A36E-CE141FA4A7AA}">
      <dgm:prSet/>
      <dgm:spPr/>
      <dgm:t>
        <a:bodyPr/>
        <a:lstStyle/>
        <a:p>
          <a:pPr>
            <a:lnSpc>
              <a:spcPct val="100000"/>
            </a:lnSpc>
          </a:pPr>
          <a:r>
            <a:rPr lang="en-US" dirty="0"/>
            <a:t>Websites and Blogs</a:t>
          </a:r>
        </a:p>
      </dgm:t>
    </dgm:pt>
    <dgm:pt modelId="{D325AEDD-2503-4F51-AE14-2168A5908602}" type="parTrans" cxnId="{53DF474A-1B42-4409-9363-7A87966F3D54}">
      <dgm:prSet/>
      <dgm:spPr/>
      <dgm:t>
        <a:bodyPr/>
        <a:lstStyle/>
        <a:p>
          <a:endParaRPr lang="en-US"/>
        </a:p>
      </dgm:t>
    </dgm:pt>
    <dgm:pt modelId="{18C55870-F814-48AE-9E0F-E52865F88388}" type="sibTrans" cxnId="{53DF474A-1B42-4409-9363-7A87966F3D54}">
      <dgm:prSet/>
      <dgm:spPr/>
      <dgm:t>
        <a:bodyPr/>
        <a:lstStyle/>
        <a:p>
          <a:endParaRPr lang="en-US"/>
        </a:p>
      </dgm:t>
    </dgm:pt>
    <dgm:pt modelId="{8334B27D-622E-48A2-B156-8B16D4BD4A9C}">
      <dgm:prSet/>
      <dgm:spPr/>
      <dgm:t>
        <a:bodyPr/>
        <a:lstStyle/>
        <a:p>
          <a:pPr>
            <a:lnSpc>
              <a:spcPct val="100000"/>
            </a:lnSpc>
          </a:pPr>
          <a:r>
            <a:rPr lang="en-US"/>
            <a:t>YouTube</a:t>
          </a:r>
        </a:p>
      </dgm:t>
    </dgm:pt>
    <dgm:pt modelId="{6405EBAB-1C3E-45F4-B594-22346A0BAEA6}" type="parTrans" cxnId="{A13BD6A1-73E5-4371-BBCD-870AE90EAC51}">
      <dgm:prSet/>
      <dgm:spPr/>
      <dgm:t>
        <a:bodyPr/>
        <a:lstStyle/>
        <a:p>
          <a:endParaRPr lang="en-US"/>
        </a:p>
      </dgm:t>
    </dgm:pt>
    <dgm:pt modelId="{2A5EDC92-2C71-4566-B37E-67936436D9F6}" type="sibTrans" cxnId="{A13BD6A1-73E5-4371-BBCD-870AE90EAC51}">
      <dgm:prSet/>
      <dgm:spPr/>
      <dgm:t>
        <a:bodyPr/>
        <a:lstStyle/>
        <a:p>
          <a:endParaRPr lang="en-US"/>
        </a:p>
      </dgm:t>
    </dgm:pt>
    <dgm:pt modelId="{827A4E4E-5288-4CEE-82C8-4FC57090DA93}">
      <dgm:prSet/>
      <dgm:spPr/>
      <dgm:t>
        <a:bodyPr/>
        <a:lstStyle/>
        <a:p>
          <a:pPr>
            <a:lnSpc>
              <a:spcPct val="100000"/>
            </a:lnSpc>
          </a:pPr>
          <a:r>
            <a:rPr lang="en-US"/>
            <a:t>Books</a:t>
          </a:r>
        </a:p>
      </dgm:t>
    </dgm:pt>
    <dgm:pt modelId="{66B29A8E-ED6E-4628-B9FE-60DC9A68FD5A}" type="parTrans" cxnId="{0B21A94F-E37C-4E84-932B-59505CC8E2CE}">
      <dgm:prSet/>
      <dgm:spPr/>
      <dgm:t>
        <a:bodyPr/>
        <a:lstStyle/>
        <a:p>
          <a:endParaRPr lang="en-US"/>
        </a:p>
      </dgm:t>
    </dgm:pt>
    <dgm:pt modelId="{234B01B9-8C85-4536-BE43-93F43F3C127E}" type="sibTrans" cxnId="{0B21A94F-E37C-4E84-932B-59505CC8E2CE}">
      <dgm:prSet/>
      <dgm:spPr/>
      <dgm:t>
        <a:bodyPr/>
        <a:lstStyle/>
        <a:p>
          <a:endParaRPr lang="en-US"/>
        </a:p>
      </dgm:t>
    </dgm:pt>
    <dgm:pt modelId="{726FC690-79FC-4408-87C6-E5F4128CC5E1}">
      <dgm:prSet/>
      <dgm:spPr/>
      <dgm:t>
        <a:bodyPr/>
        <a:lstStyle/>
        <a:p>
          <a:pPr>
            <a:lnSpc>
              <a:spcPct val="100000"/>
            </a:lnSpc>
          </a:pPr>
          <a:r>
            <a:rPr lang="en-US" dirty="0"/>
            <a:t>Courses (on-demand, in-person)</a:t>
          </a:r>
        </a:p>
      </dgm:t>
    </dgm:pt>
    <dgm:pt modelId="{92D8CADA-6790-4557-AE77-822C537E4E67}" type="parTrans" cxnId="{9282C744-E5B2-4752-8E9D-AE5E57F1BB40}">
      <dgm:prSet/>
      <dgm:spPr/>
      <dgm:t>
        <a:bodyPr/>
        <a:lstStyle/>
        <a:p>
          <a:endParaRPr lang="en-US"/>
        </a:p>
      </dgm:t>
    </dgm:pt>
    <dgm:pt modelId="{46573C8A-D957-45BD-BF6A-65163597A0FA}" type="sibTrans" cxnId="{9282C744-E5B2-4752-8E9D-AE5E57F1BB40}">
      <dgm:prSet/>
      <dgm:spPr/>
      <dgm:t>
        <a:bodyPr/>
        <a:lstStyle/>
        <a:p>
          <a:endParaRPr lang="en-US"/>
        </a:p>
      </dgm:t>
    </dgm:pt>
    <dgm:pt modelId="{4A9FEAC0-674B-45BC-8C19-36AD2A0D9953}">
      <dgm:prSet/>
      <dgm:spPr/>
      <dgm:t>
        <a:bodyPr/>
        <a:lstStyle/>
        <a:p>
          <a:pPr>
            <a:lnSpc>
              <a:spcPct val="100000"/>
            </a:lnSpc>
          </a:pPr>
          <a:r>
            <a:rPr lang="en-US" dirty="0"/>
            <a:t>Conferences (live and virtual)</a:t>
          </a:r>
        </a:p>
      </dgm:t>
    </dgm:pt>
    <dgm:pt modelId="{D79914EB-D44E-4F78-AFC2-459AD08CA5EA}" type="parTrans" cxnId="{A0DF01F5-9271-489A-AAF5-A1D337A2A742}">
      <dgm:prSet/>
      <dgm:spPr/>
      <dgm:t>
        <a:bodyPr/>
        <a:lstStyle/>
        <a:p>
          <a:endParaRPr lang="en-US"/>
        </a:p>
      </dgm:t>
    </dgm:pt>
    <dgm:pt modelId="{A7738EE4-A89C-4B18-8038-3F5E6F255141}" type="sibTrans" cxnId="{A0DF01F5-9271-489A-AAF5-A1D337A2A742}">
      <dgm:prSet/>
      <dgm:spPr/>
      <dgm:t>
        <a:bodyPr/>
        <a:lstStyle/>
        <a:p>
          <a:endParaRPr lang="en-US"/>
        </a:p>
      </dgm:t>
    </dgm:pt>
    <dgm:pt modelId="{87290994-5975-44A2-88D7-DD05D7B6CE4D}">
      <dgm:prSet/>
      <dgm:spPr/>
      <dgm:t>
        <a:bodyPr/>
        <a:lstStyle/>
        <a:p>
          <a:pPr>
            <a:lnSpc>
              <a:spcPct val="100000"/>
            </a:lnSpc>
          </a:pPr>
          <a:r>
            <a:rPr lang="en-US" dirty="0"/>
            <a:t>User Groups</a:t>
          </a:r>
        </a:p>
      </dgm:t>
    </dgm:pt>
    <dgm:pt modelId="{BC0F4297-CED5-4BC6-AEB8-03AD2D16D0B8}" type="parTrans" cxnId="{767F3903-6E8A-451C-8597-04E5F21FC142}">
      <dgm:prSet/>
      <dgm:spPr/>
      <dgm:t>
        <a:bodyPr/>
        <a:lstStyle/>
        <a:p>
          <a:endParaRPr lang="en-US"/>
        </a:p>
      </dgm:t>
    </dgm:pt>
    <dgm:pt modelId="{E6AB9A44-35CD-4AD4-8EF9-BDFD0D668FEE}" type="sibTrans" cxnId="{767F3903-6E8A-451C-8597-04E5F21FC142}">
      <dgm:prSet/>
      <dgm:spPr/>
      <dgm:t>
        <a:bodyPr/>
        <a:lstStyle/>
        <a:p>
          <a:endParaRPr lang="en-US"/>
        </a:p>
      </dgm:t>
    </dgm:pt>
    <dgm:pt modelId="{EB7C6B68-709D-4613-9E74-2547ABAD92F6}" type="pres">
      <dgm:prSet presAssocID="{57F3D938-4083-4B74-8735-32C37C170D54}" presName="root" presStyleCnt="0">
        <dgm:presLayoutVars>
          <dgm:dir/>
          <dgm:resizeHandles val="exact"/>
        </dgm:presLayoutVars>
      </dgm:prSet>
      <dgm:spPr/>
    </dgm:pt>
    <dgm:pt modelId="{0F6C1FE9-7E6A-4473-976E-12D4B644E76E}" type="pres">
      <dgm:prSet presAssocID="{1CCC1A13-4107-4835-A36E-CE141FA4A7AA}" presName="compNode" presStyleCnt="0"/>
      <dgm:spPr/>
    </dgm:pt>
    <dgm:pt modelId="{A1C340B9-F0CD-4CB1-817D-DFDD46E2DCDE}" type="pres">
      <dgm:prSet presAssocID="{1CCC1A13-4107-4835-A36E-CE141FA4A7AA}" presName="bgRect" presStyleLbl="bgShp" presStyleIdx="0" presStyleCnt="6"/>
      <dgm:spPr/>
    </dgm:pt>
    <dgm:pt modelId="{E1CEC71E-983B-4378-9134-1ABA5D7CB2DC}" type="pres">
      <dgm:prSet presAssocID="{1CCC1A13-4107-4835-A36E-CE141FA4A7AA}" presName="iconRect" presStyleLbl="node1" presStyleIdx="0" presStyleCnt="6"/>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a:noFill/>
        </a:ln>
      </dgm:spPr>
      <dgm:extLst>
        <a:ext uri="{E40237B7-FDA0-4F09-8148-C483321AD2D9}">
          <dgm14:cNvPr xmlns:dgm14="http://schemas.microsoft.com/office/drawing/2010/diagram" id="0" name="" descr="Internet"/>
        </a:ext>
      </dgm:extLst>
    </dgm:pt>
    <dgm:pt modelId="{BB0076C6-5FE6-47A4-8A99-5F2CCE30B245}" type="pres">
      <dgm:prSet presAssocID="{1CCC1A13-4107-4835-A36E-CE141FA4A7AA}" presName="spaceRect" presStyleCnt="0"/>
      <dgm:spPr/>
    </dgm:pt>
    <dgm:pt modelId="{ED3360E8-AABD-4E88-A4FC-FAC496049025}" type="pres">
      <dgm:prSet presAssocID="{1CCC1A13-4107-4835-A36E-CE141FA4A7AA}" presName="parTx" presStyleLbl="revTx" presStyleIdx="0" presStyleCnt="6">
        <dgm:presLayoutVars>
          <dgm:chMax val="0"/>
          <dgm:chPref val="0"/>
        </dgm:presLayoutVars>
      </dgm:prSet>
      <dgm:spPr/>
    </dgm:pt>
    <dgm:pt modelId="{D5116E8B-4174-4DC8-81D0-35D1C207A09C}" type="pres">
      <dgm:prSet presAssocID="{18C55870-F814-48AE-9E0F-E52865F88388}" presName="sibTrans" presStyleCnt="0"/>
      <dgm:spPr/>
    </dgm:pt>
    <dgm:pt modelId="{B7E593DC-3003-4618-B3DD-5B4008B9EF53}" type="pres">
      <dgm:prSet presAssocID="{8334B27D-622E-48A2-B156-8B16D4BD4A9C}" presName="compNode" presStyleCnt="0"/>
      <dgm:spPr/>
    </dgm:pt>
    <dgm:pt modelId="{4AF804CA-95F8-4418-9C58-CBF137D4A2DE}" type="pres">
      <dgm:prSet presAssocID="{8334B27D-622E-48A2-B156-8B16D4BD4A9C}" presName="bgRect" presStyleLbl="bgShp" presStyleIdx="1" presStyleCnt="6"/>
      <dgm:spPr/>
    </dgm:pt>
    <dgm:pt modelId="{3E7CA742-19A0-4B1A-8C93-E1566280F817}" type="pres">
      <dgm:prSet presAssocID="{8334B27D-622E-48A2-B156-8B16D4BD4A9C}" presName="iconRect" presStyleLbl="node1" presStyleIdx="1" presStyleCnt="6"/>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dgm:spPr>
      <dgm:extLst>
        <a:ext uri="{E40237B7-FDA0-4F09-8148-C483321AD2D9}">
          <dgm14:cNvPr xmlns:dgm14="http://schemas.microsoft.com/office/drawing/2010/diagram" id="0" name="" descr="Presentation with Media"/>
        </a:ext>
      </dgm:extLst>
    </dgm:pt>
    <dgm:pt modelId="{AC5663CF-615A-4AA9-BDCB-5FA6CD3A8AE7}" type="pres">
      <dgm:prSet presAssocID="{8334B27D-622E-48A2-B156-8B16D4BD4A9C}" presName="spaceRect" presStyleCnt="0"/>
      <dgm:spPr/>
    </dgm:pt>
    <dgm:pt modelId="{08946F01-6B95-4A1A-9ED0-A56DA760AE89}" type="pres">
      <dgm:prSet presAssocID="{8334B27D-622E-48A2-B156-8B16D4BD4A9C}" presName="parTx" presStyleLbl="revTx" presStyleIdx="1" presStyleCnt="6">
        <dgm:presLayoutVars>
          <dgm:chMax val="0"/>
          <dgm:chPref val="0"/>
        </dgm:presLayoutVars>
      </dgm:prSet>
      <dgm:spPr/>
    </dgm:pt>
    <dgm:pt modelId="{4F6FE6FC-FCBD-47B8-98B0-9660BB819090}" type="pres">
      <dgm:prSet presAssocID="{2A5EDC92-2C71-4566-B37E-67936436D9F6}" presName="sibTrans" presStyleCnt="0"/>
      <dgm:spPr/>
    </dgm:pt>
    <dgm:pt modelId="{3849DB2F-0C62-4637-9892-7B8DA351131B}" type="pres">
      <dgm:prSet presAssocID="{827A4E4E-5288-4CEE-82C8-4FC57090DA93}" presName="compNode" presStyleCnt="0"/>
      <dgm:spPr/>
    </dgm:pt>
    <dgm:pt modelId="{4D3B4FFD-2180-4B93-8CFC-E6A60B166318}" type="pres">
      <dgm:prSet presAssocID="{827A4E4E-5288-4CEE-82C8-4FC57090DA93}" presName="bgRect" presStyleLbl="bgShp" presStyleIdx="2" presStyleCnt="6"/>
      <dgm:spPr/>
    </dgm:pt>
    <dgm:pt modelId="{66CED7FF-681A-4591-BFA2-2514DC65F168}" type="pres">
      <dgm:prSet presAssocID="{827A4E4E-5288-4CEE-82C8-4FC57090DA93}" presName="iconRect" presStyleLbl="node1" presStyleIdx="2" presStyleCnt="6"/>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a:noFill/>
        </a:ln>
      </dgm:spPr>
      <dgm:extLst>
        <a:ext uri="{E40237B7-FDA0-4F09-8148-C483321AD2D9}">
          <dgm14:cNvPr xmlns:dgm14="http://schemas.microsoft.com/office/drawing/2010/diagram" id="0" name="" descr="Books"/>
        </a:ext>
      </dgm:extLst>
    </dgm:pt>
    <dgm:pt modelId="{EB78C926-8E1F-4422-9E1D-1841A974F496}" type="pres">
      <dgm:prSet presAssocID="{827A4E4E-5288-4CEE-82C8-4FC57090DA93}" presName="spaceRect" presStyleCnt="0"/>
      <dgm:spPr/>
    </dgm:pt>
    <dgm:pt modelId="{647D1B26-CE08-479E-84F0-DB9B47A4B8F5}" type="pres">
      <dgm:prSet presAssocID="{827A4E4E-5288-4CEE-82C8-4FC57090DA93}" presName="parTx" presStyleLbl="revTx" presStyleIdx="2" presStyleCnt="6">
        <dgm:presLayoutVars>
          <dgm:chMax val="0"/>
          <dgm:chPref val="0"/>
        </dgm:presLayoutVars>
      </dgm:prSet>
      <dgm:spPr/>
    </dgm:pt>
    <dgm:pt modelId="{89A76AA3-E56C-4E98-A756-D2AD7B8D7F5B}" type="pres">
      <dgm:prSet presAssocID="{234B01B9-8C85-4536-BE43-93F43F3C127E}" presName="sibTrans" presStyleCnt="0"/>
      <dgm:spPr/>
    </dgm:pt>
    <dgm:pt modelId="{F078359D-06C4-49C1-9D2D-C0256E1B4932}" type="pres">
      <dgm:prSet presAssocID="{726FC690-79FC-4408-87C6-E5F4128CC5E1}" presName="compNode" presStyleCnt="0"/>
      <dgm:spPr/>
    </dgm:pt>
    <dgm:pt modelId="{29449B24-9E60-4BA5-89D7-F402CC59AF29}" type="pres">
      <dgm:prSet presAssocID="{726FC690-79FC-4408-87C6-E5F4128CC5E1}" presName="bgRect" presStyleLbl="bgShp" presStyleIdx="3" presStyleCnt="6"/>
      <dgm:spPr/>
    </dgm:pt>
    <dgm:pt modelId="{BCEBAB04-B5F1-4F38-857D-527EEC40A80B}" type="pres">
      <dgm:prSet presAssocID="{726FC690-79FC-4408-87C6-E5F4128CC5E1}" presName="iconRect" presStyleLbl="node1" presStyleIdx="3" presStyleCnt="6"/>
      <dgm:spPr>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a:noFill/>
        </a:ln>
      </dgm:spPr>
      <dgm:extLst>
        <a:ext uri="{E40237B7-FDA0-4F09-8148-C483321AD2D9}">
          <dgm14:cNvPr xmlns:dgm14="http://schemas.microsoft.com/office/drawing/2010/diagram" id="0" name="" descr="Bitcoin"/>
        </a:ext>
      </dgm:extLst>
    </dgm:pt>
    <dgm:pt modelId="{36132E8A-0E9B-4D71-99B6-9FB55877E3E2}" type="pres">
      <dgm:prSet presAssocID="{726FC690-79FC-4408-87C6-E5F4128CC5E1}" presName="spaceRect" presStyleCnt="0"/>
      <dgm:spPr/>
    </dgm:pt>
    <dgm:pt modelId="{636743E6-55B6-4936-BE77-EF86BCCAD9F6}" type="pres">
      <dgm:prSet presAssocID="{726FC690-79FC-4408-87C6-E5F4128CC5E1}" presName="parTx" presStyleLbl="revTx" presStyleIdx="3" presStyleCnt="6">
        <dgm:presLayoutVars>
          <dgm:chMax val="0"/>
          <dgm:chPref val="0"/>
        </dgm:presLayoutVars>
      </dgm:prSet>
      <dgm:spPr/>
    </dgm:pt>
    <dgm:pt modelId="{39224FE1-0B8E-4EC0-9612-67BDAEE0C87F}" type="pres">
      <dgm:prSet presAssocID="{46573C8A-D957-45BD-BF6A-65163597A0FA}" presName="sibTrans" presStyleCnt="0"/>
      <dgm:spPr/>
    </dgm:pt>
    <dgm:pt modelId="{193F5A78-B37C-4AC3-A43E-F324D7592FFF}" type="pres">
      <dgm:prSet presAssocID="{87290994-5975-44A2-88D7-DD05D7B6CE4D}" presName="compNode" presStyleCnt="0"/>
      <dgm:spPr/>
    </dgm:pt>
    <dgm:pt modelId="{F2AA941A-C19D-48EF-84E9-5C6ACA469414}" type="pres">
      <dgm:prSet presAssocID="{87290994-5975-44A2-88D7-DD05D7B6CE4D}" presName="bgRect" presStyleLbl="bgShp" presStyleIdx="4" presStyleCnt="6"/>
      <dgm:spPr/>
    </dgm:pt>
    <dgm:pt modelId="{8B39D5E7-7BC0-47C7-8EE0-02426102AFAA}" type="pres">
      <dgm:prSet presAssocID="{87290994-5975-44A2-88D7-DD05D7B6CE4D}" presName="iconRect" presStyleLbl="node1" presStyleIdx="4" presStyleCnt="6"/>
      <dgm:spPr>
        <a:blipFill>
          <a:blip xmlns:r="http://schemas.openxmlformats.org/officeDocument/2006/relationships"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a:blipFill>
        <a:ln>
          <a:noFill/>
        </a:ln>
      </dgm:spPr>
      <dgm:extLst>
        <a:ext uri="{E40237B7-FDA0-4F09-8148-C483321AD2D9}">
          <dgm14:cNvPr xmlns:dgm14="http://schemas.microsoft.com/office/drawing/2010/diagram" id="0" name="" descr="Virtual RealityHeadset"/>
        </a:ext>
      </dgm:extLst>
    </dgm:pt>
    <dgm:pt modelId="{0B15BAAF-F2A4-4751-8A9A-5E9AE6786156}" type="pres">
      <dgm:prSet presAssocID="{87290994-5975-44A2-88D7-DD05D7B6CE4D}" presName="spaceRect" presStyleCnt="0"/>
      <dgm:spPr/>
    </dgm:pt>
    <dgm:pt modelId="{F8FC0F7A-D493-44E9-B70E-463F0B80D876}" type="pres">
      <dgm:prSet presAssocID="{87290994-5975-44A2-88D7-DD05D7B6CE4D}" presName="parTx" presStyleLbl="revTx" presStyleIdx="4" presStyleCnt="6">
        <dgm:presLayoutVars>
          <dgm:chMax val="0"/>
          <dgm:chPref val="0"/>
        </dgm:presLayoutVars>
      </dgm:prSet>
      <dgm:spPr/>
    </dgm:pt>
    <dgm:pt modelId="{09952215-D5C2-4924-97EE-DE159ABF35F7}" type="pres">
      <dgm:prSet presAssocID="{E6AB9A44-35CD-4AD4-8EF9-BDFD0D668FEE}" presName="sibTrans" presStyleCnt="0"/>
      <dgm:spPr/>
    </dgm:pt>
    <dgm:pt modelId="{DAFACF97-99E0-47D6-915B-4C0BD1410602}" type="pres">
      <dgm:prSet presAssocID="{4A9FEAC0-674B-45BC-8C19-36AD2A0D9953}" presName="compNode" presStyleCnt="0"/>
      <dgm:spPr/>
    </dgm:pt>
    <dgm:pt modelId="{620C3973-37BF-4F6D-9225-FF77D5F80706}" type="pres">
      <dgm:prSet presAssocID="{4A9FEAC0-674B-45BC-8C19-36AD2A0D9953}" presName="bgRect" presStyleLbl="bgShp" presStyleIdx="5" presStyleCnt="6"/>
      <dgm:spPr/>
    </dgm:pt>
    <dgm:pt modelId="{7B77992C-E40B-4255-AE3C-A107D0071680}" type="pres">
      <dgm:prSet presAssocID="{4A9FEAC0-674B-45BC-8C19-36AD2A0D9953}" presName="iconRect" presStyleLbl="node1" presStyleIdx="5" presStyleCnt="6"/>
      <dgm:spPr>
        <a:blipFill>
          <a:blip xmlns:r="http://schemas.openxmlformats.org/officeDocument/2006/relationships"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a:blipFill>
        <a:ln>
          <a:noFill/>
        </a:ln>
      </dgm:spPr>
      <dgm:extLst>
        <a:ext uri="{E40237B7-FDA0-4F09-8148-C483321AD2D9}">
          <dgm14:cNvPr xmlns:dgm14="http://schemas.microsoft.com/office/drawing/2010/diagram" id="0" name="" descr="Users"/>
        </a:ext>
      </dgm:extLst>
    </dgm:pt>
    <dgm:pt modelId="{D5D19FA9-59E7-4681-A548-920DE92AB174}" type="pres">
      <dgm:prSet presAssocID="{4A9FEAC0-674B-45BC-8C19-36AD2A0D9953}" presName="spaceRect" presStyleCnt="0"/>
      <dgm:spPr/>
    </dgm:pt>
    <dgm:pt modelId="{90C26AAF-8EAC-4447-849B-7AD6ABC34337}" type="pres">
      <dgm:prSet presAssocID="{4A9FEAC0-674B-45BC-8C19-36AD2A0D9953}" presName="parTx" presStyleLbl="revTx" presStyleIdx="5" presStyleCnt="6">
        <dgm:presLayoutVars>
          <dgm:chMax val="0"/>
          <dgm:chPref val="0"/>
        </dgm:presLayoutVars>
      </dgm:prSet>
      <dgm:spPr/>
    </dgm:pt>
  </dgm:ptLst>
  <dgm:cxnLst>
    <dgm:cxn modelId="{767F3903-6E8A-451C-8597-04E5F21FC142}" srcId="{57F3D938-4083-4B74-8735-32C37C170D54}" destId="{87290994-5975-44A2-88D7-DD05D7B6CE4D}" srcOrd="4" destOrd="0" parTransId="{BC0F4297-CED5-4BC6-AEB8-03AD2D16D0B8}" sibTransId="{E6AB9A44-35CD-4AD4-8EF9-BDFD0D668FEE}"/>
    <dgm:cxn modelId="{C552F823-9488-4C54-A404-CB78913FA57B}" type="presOf" srcId="{87290994-5975-44A2-88D7-DD05D7B6CE4D}" destId="{F8FC0F7A-D493-44E9-B70E-463F0B80D876}" srcOrd="0" destOrd="0" presId="urn:microsoft.com/office/officeart/2018/2/layout/IconVerticalSolidList"/>
    <dgm:cxn modelId="{4C8B862F-0541-453F-93F0-422A11CCFF89}" type="presOf" srcId="{57F3D938-4083-4B74-8735-32C37C170D54}" destId="{EB7C6B68-709D-4613-9E74-2547ABAD92F6}" srcOrd="0" destOrd="0" presId="urn:microsoft.com/office/officeart/2018/2/layout/IconVerticalSolidList"/>
    <dgm:cxn modelId="{9282C744-E5B2-4752-8E9D-AE5E57F1BB40}" srcId="{57F3D938-4083-4B74-8735-32C37C170D54}" destId="{726FC690-79FC-4408-87C6-E5F4128CC5E1}" srcOrd="3" destOrd="0" parTransId="{92D8CADA-6790-4557-AE77-822C537E4E67}" sibTransId="{46573C8A-D957-45BD-BF6A-65163597A0FA}"/>
    <dgm:cxn modelId="{53DF474A-1B42-4409-9363-7A87966F3D54}" srcId="{57F3D938-4083-4B74-8735-32C37C170D54}" destId="{1CCC1A13-4107-4835-A36E-CE141FA4A7AA}" srcOrd="0" destOrd="0" parTransId="{D325AEDD-2503-4F51-AE14-2168A5908602}" sibTransId="{18C55870-F814-48AE-9E0F-E52865F88388}"/>
    <dgm:cxn modelId="{0B21A94F-E37C-4E84-932B-59505CC8E2CE}" srcId="{57F3D938-4083-4B74-8735-32C37C170D54}" destId="{827A4E4E-5288-4CEE-82C8-4FC57090DA93}" srcOrd="2" destOrd="0" parTransId="{66B29A8E-ED6E-4628-B9FE-60DC9A68FD5A}" sibTransId="{234B01B9-8C85-4536-BE43-93F43F3C127E}"/>
    <dgm:cxn modelId="{AC3AB156-43C4-4F4A-AA88-6B2984E7E3C7}" type="presOf" srcId="{726FC690-79FC-4408-87C6-E5F4128CC5E1}" destId="{636743E6-55B6-4936-BE77-EF86BCCAD9F6}" srcOrd="0" destOrd="0" presId="urn:microsoft.com/office/officeart/2018/2/layout/IconVerticalSolidList"/>
    <dgm:cxn modelId="{A13BD6A1-73E5-4371-BBCD-870AE90EAC51}" srcId="{57F3D938-4083-4B74-8735-32C37C170D54}" destId="{8334B27D-622E-48A2-B156-8B16D4BD4A9C}" srcOrd="1" destOrd="0" parTransId="{6405EBAB-1C3E-45F4-B594-22346A0BAEA6}" sibTransId="{2A5EDC92-2C71-4566-B37E-67936436D9F6}"/>
    <dgm:cxn modelId="{79250FA9-CF99-4DA9-A908-D145DC75F5E2}" type="presOf" srcId="{1CCC1A13-4107-4835-A36E-CE141FA4A7AA}" destId="{ED3360E8-AABD-4E88-A4FC-FAC496049025}" srcOrd="0" destOrd="0" presId="urn:microsoft.com/office/officeart/2018/2/layout/IconVerticalSolidList"/>
    <dgm:cxn modelId="{0C7D55B1-C765-4260-8316-4FAD5B52B871}" type="presOf" srcId="{4A9FEAC0-674B-45BC-8C19-36AD2A0D9953}" destId="{90C26AAF-8EAC-4447-849B-7AD6ABC34337}" srcOrd="0" destOrd="0" presId="urn:microsoft.com/office/officeart/2018/2/layout/IconVerticalSolidList"/>
    <dgm:cxn modelId="{BD268FBB-C3EE-4E0D-A934-4A1E0B530C80}" type="presOf" srcId="{8334B27D-622E-48A2-B156-8B16D4BD4A9C}" destId="{08946F01-6B95-4A1A-9ED0-A56DA760AE89}" srcOrd="0" destOrd="0" presId="urn:microsoft.com/office/officeart/2018/2/layout/IconVerticalSolidList"/>
    <dgm:cxn modelId="{23EAC1DF-0243-4DA4-8D20-FE5A261F3998}" type="presOf" srcId="{827A4E4E-5288-4CEE-82C8-4FC57090DA93}" destId="{647D1B26-CE08-479E-84F0-DB9B47A4B8F5}" srcOrd="0" destOrd="0" presId="urn:microsoft.com/office/officeart/2018/2/layout/IconVerticalSolidList"/>
    <dgm:cxn modelId="{A0DF01F5-9271-489A-AAF5-A1D337A2A742}" srcId="{57F3D938-4083-4B74-8735-32C37C170D54}" destId="{4A9FEAC0-674B-45BC-8C19-36AD2A0D9953}" srcOrd="5" destOrd="0" parTransId="{D79914EB-D44E-4F78-AFC2-459AD08CA5EA}" sibTransId="{A7738EE4-A89C-4B18-8038-3F5E6F255141}"/>
    <dgm:cxn modelId="{08571313-583E-47F0-825C-578578DA27EB}" type="presParOf" srcId="{EB7C6B68-709D-4613-9E74-2547ABAD92F6}" destId="{0F6C1FE9-7E6A-4473-976E-12D4B644E76E}" srcOrd="0" destOrd="0" presId="urn:microsoft.com/office/officeart/2018/2/layout/IconVerticalSolidList"/>
    <dgm:cxn modelId="{D9229F14-D996-413A-AE99-624C9F339BA5}" type="presParOf" srcId="{0F6C1FE9-7E6A-4473-976E-12D4B644E76E}" destId="{A1C340B9-F0CD-4CB1-817D-DFDD46E2DCDE}" srcOrd="0" destOrd="0" presId="urn:microsoft.com/office/officeart/2018/2/layout/IconVerticalSolidList"/>
    <dgm:cxn modelId="{86416C23-AC97-41E0-B2AD-6E1F0C11CD7B}" type="presParOf" srcId="{0F6C1FE9-7E6A-4473-976E-12D4B644E76E}" destId="{E1CEC71E-983B-4378-9134-1ABA5D7CB2DC}" srcOrd="1" destOrd="0" presId="urn:microsoft.com/office/officeart/2018/2/layout/IconVerticalSolidList"/>
    <dgm:cxn modelId="{5D09CB90-78C0-4EA8-9FE9-9BDB157C9EC3}" type="presParOf" srcId="{0F6C1FE9-7E6A-4473-976E-12D4B644E76E}" destId="{BB0076C6-5FE6-47A4-8A99-5F2CCE30B245}" srcOrd="2" destOrd="0" presId="urn:microsoft.com/office/officeart/2018/2/layout/IconVerticalSolidList"/>
    <dgm:cxn modelId="{CA7E7F5B-43D1-4E0C-B0B6-72CFC6890172}" type="presParOf" srcId="{0F6C1FE9-7E6A-4473-976E-12D4B644E76E}" destId="{ED3360E8-AABD-4E88-A4FC-FAC496049025}" srcOrd="3" destOrd="0" presId="urn:microsoft.com/office/officeart/2018/2/layout/IconVerticalSolidList"/>
    <dgm:cxn modelId="{06404AA7-FEE6-437A-BCDA-2E335E2FD23D}" type="presParOf" srcId="{EB7C6B68-709D-4613-9E74-2547ABAD92F6}" destId="{D5116E8B-4174-4DC8-81D0-35D1C207A09C}" srcOrd="1" destOrd="0" presId="urn:microsoft.com/office/officeart/2018/2/layout/IconVerticalSolidList"/>
    <dgm:cxn modelId="{86F18D29-79D1-407D-96D9-EEEB822EC7F6}" type="presParOf" srcId="{EB7C6B68-709D-4613-9E74-2547ABAD92F6}" destId="{B7E593DC-3003-4618-B3DD-5B4008B9EF53}" srcOrd="2" destOrd="0" presId="urn:microsoft.com/office/officeart/2018/2/layout/IconVerticalSolidList"/>
    <dgm:cxn modelId="{F9B00FDC-B640-46DF-8E2B-70B40BCC108D}" type="presParOf" srcId="{B7E593DC-3003-4618-B3DD-5B4008B9EF53}" destId="{4AF804CA-95F8-4418-9C58-CBF137D4A2DE}" srcOrd="0" destOrd="0" presId="urn:microsoft.com/office/officeart/2018/2/layout/IconVerticalSolidList"/>
    <dgm:cxn modelId="{9CDE7F25-19DF-49BE-93BC-90ECAFB5D883}" type="presParOf" srcId="{B7E593DC-3003-4618-B3DD-5B4008B9EF53}" destId="{3E7CA742-19A0-4B1A-8C93-E1566280F817}" srcOrd="1" destOrd="0" presId="urn:microsoft.com/office/officeart/2018/2/layout/IconVerticalSolidList"/>
    <dgm:cxn modelId="{AA2E24D0-72D3-4499-89F3-12D6B85A137C}" type="presParOf" srcId="{B7E593DC-3003-4618-B3DD-5B4008B9EF53}" destId="{AC5663CF-615A-4AA9-BDCB-5FA6CD3A8AE7}" srcOrd="2" destOrd="0" presId="urn:microsoft.com/office/officeart/2018/2/layout/IconVerticalSolidList"/>
    <dgm:cxn modelId="{E3EA9BDB-1220-4A85-869C-9DE29F70F9F3}" type="presParOf" srcId="{B7E593DC-3003-4618-B3DD-5B4008B9EF53}" destId="{08946F01-6B95-4A1A-9ED0-A56DA760AE89}" srcOrd="3" destOrd="0" presId="urn:microsoft.com/office/officeart/2018/2/layout/IconVerticalSolidList"/>
    <dgm:cxn modelId="{E60AC718-C62F-4FFF-A213-41336A588B9D}" type="presParOf" srcId="{EB7C6B68-709D-4613-9E74-2547ABAD92F6}" destId="{4F6FE6FC-FCBD-47B8-98B0-9660BB819090}" srcOrd="3" destOrd="0" presId="urn:microsoft.com/office/officeart/2018/2/layout/IconVerticalSolidList"/>
    <dgm:cxn modelId="{2F67CFF4-D950-4C09-9FA7-E0992E054C93}" type="presParOf" srcId="{EB7C6B68-709D-4613-9E74-2547ABAD92F6}" destId="{3849DB2F-0C62-4637-9892-7B8DA351131B}" srcOrd="4" destOrd="0" presId="urn:microsoft.com/office/officeart/2018/2/layout/IconVerticalSolidList"/>
    <dgm:cxn modelId="{2DD3C675-B301-4F87-B79A-4673D14F5BD6}" type="presParOf" srcId="{3849DB2F-0C62-4637-9892-7B8DA351131B}" destId="{4D3B4FFD-2180-4B93-8CFC-E6A60B166318}" srcOrd="0" destOrd="0" presId="urn:microsoft.com/office/officeart/2018/2/layout/IconVerticalSolidList"/>
    <dgm:cxn modelId="{0A5E2F4D-82C7-42D8-8BFD-749C5858F753}" type="presParOf" srcId="{3849DB2F-0C62-4637-9892-7B8DA351131B}" destId="{66CED7FF-681A-4591-BFA2-2514DC65F168}" srcOrd="1" destOrd="0" presId="urn:microsoft.com/office/officeart/2018/2/layout/IconVerticalSolidList"/>
    <dgm:cxn modelId="{BCA113A1-33DC-4E2E-8E04-A2D76B43579B}" type="presParOf" srcId="{3849DB2F-0C62-4637-9892-7B8DA351131B}" destId="{EB78C926-8E1F-4422-9E1D-1841A974F496}" srcOrd="2" destOrd="0" presId="urn:microsoft.com/office/officeart/2018/2/layout/IconVerticalSolidList"/>
    <dgm:cxn modelId="{81F1A84E-2717-42F7-BEDB-79BFB068F96D}" type="presParOf" srcId="{3849DB2F-0C62-4637-9892-7B8DA351131B}" destId="{647D1B26-CE08-479E-84F0-DB9B47A4B8F5}" srcOrd="3" destOrd="0" presId="urn:microsoft.com/office/officeart/2018/2/layout/IconVerticalSolidList"/>
    <dgm:cxn modelId="{72E1D924-445D-4528-A049-46173B0B4FEF}" type="presParOf" srcId="{EB7C6B68-709D-4613-9E74-2547ABAD92F6}" destId="{89A76AA3-E56C-4E98-A756-D2AD7B8D7F5B}" srcOrd="5" destOrd="0" presId="urn:microsoft.com/office/officeart/2018/2/layout/IconVerticalSolidList"/>
    <dgm:cxn modelId="{5EBA1E4C-9F25-4A60-A8F4-55D5B6980543}" type="presParOf" srcId="{EB7C6B68-709D-4613-9E74-2547ABAD92F6}" destId="{F078359D-06C4-49C1-9D2D-C0256E1B4932}" srcOrd="6" destOrd="0" presId="urn:microsoft.com/office/officeart/2018/2/layout/IconVerticalSolidList"/>
    <dgm:cxn modelId="{1078BBD6-E242-4F0D-A84D-766C148A1149}" type="presParOf" srcId="{F078359D-06C4-49C1-9D2D-C0256E1B4932}" destId="{29449B24-9E60-4BA5-89D7-F402CC59AF29}" srcOrd="0" destOrd="0" presId="urn:microsoft.com/office/officeart/2018/2/layout/IconVerticalSolidList"/>
    <dgm:cxn modelId="{CD52B0C2-44E3-4E12-9DA7-1F6611F09D9C}" type="presParOf" srcId="{F078359D-06C4-49C1-9D2D-C0256E1B4932}" destId="{BCEBAB04-B5F1-4F38-857D-527EEC40A80B}" srcOrd="1" destOrd="0" presId="urn:microsoft.com/office/officeart/2018/2/layout/IconVerticalSolidList"/>
    <dgm:cxn modelId="{C74979B0-2E60-454C-9225-5F4DA5FEE7CC}" type="presParOf" srcId="{F078359D-06C4-49C1-9D2D-C0256E1B4932}" destId="{36132E8A-0E9B-4D71-99B6-9FB55877E3E2}" srcOrd="2" destOrd="0" presId="urn:microsoft.com/office/officeart/2018/2/layout/IconVerticalSolidList"/>
    <dgm:cxn modelId="{43A61B93-371D-489A-825E-0751615FE389}" type="presParOf" srcId="{F078359D-06C4-49C1-9D2D-C0256E1B4932}" destId="{636743E6-55B6-4936-BE77-EF86BCCAD9F6}" srcOrd="3" destOrd="0" presId="urn:microsoft.com/office/officeart/2018/2/layout/IconVerticalSolidList"/>
    <dgm:cxn modelId="{9D78F762-4850-40EE-BC53-A49B3B6297F4}" type="presParOf" srcId="{EB7C6B68-709D-4613-9E74-2547ABAD92F6}" destId="{39224FE1-0B8E-4EC0-9612-67BDAEE0C87F}" srcOrd="7" destOrd="0" presId="urn:microsoft.com/office/officeart/2018/2/layout/IconVerticalSolidList"/>
    <dgm:cxn modelId="{E4C3B185-32D4-488D-A1F5-BD59C812DC00}" type="presParOf" srcId="{EB7C6B68-709D-4613-9E74-2547ABAD92F6}" destId="{193F5A78-B37C-4AC3-A43E-F324D7592FFF}" srcOrd="8" destOrd="0" presId="urn:microsoft.com/office/officeart/2018/2/layout/IconVerticalSolidList"/>
    <dgm:cxn modelId="{F915C94D-8A4F-43A8-87F0-B43F972C9271}" type="presParOf" srcId="{193F5A78-B37C-4AC3-A43E-F324D7592FFF}" destId="{F2AA941A-C19D-48EF-84E9-5C6ACA469414}" srcOrd="0" destOrd="0" presId="urn:microsoft.com/office/officeart/2018/2/layout/IconVerticalSolidList"/>
    <dgm:cxn modelId="{B6DE1EF9-864F-4EAB-A39A-F167068BBE25}" type="presParOf" srcId="{193F5A78-B37C-4AC3-A43E-F324D7592FFF}" destId="{8B39D5E7-7BC0-47C7-8EE0-02426102AFAA}" srcOrd="1" destOrd="0" presId="urn:microsoft.com/office/officeart/2018/2/layout/IconVerticalSolidList"/>
    <dgm:cxn modelId="{43FE6F74-D923-4C6E-BD03-78BBA6F1661C}" type="presParOf" srcId="{193F5A78-B37C-4AC3-A43E-F324D7592FFF}" destId="{0B15BAAF-F2A4-4751-8A9A-5E9AE6786156}" srcOrd="2" destOrd="0" presId="urn:microsoft.com/office/officeart/2018/2/layout/IconVerticalSolidList"/>
    <dgm:cxn modelId="{54CD6163-0ED2-42C2-97B4-86FB58CA995E}" type="presParOf" srcId="{193F5A78-B37C-4AC3-A43E-F324D7592FFF}" destId="{F8FC0F7A-D493-44E9-B70E-463F0B80D876}" srcOrd="3" destOrd="0" presId="urn:microsoft.com/office/officeart/2018/2/layout/IconVerticalSolidList"/>
    <dgm:cxn modelId="{1BD6D014-3FCA-42A3-A3E6-B6AE137EA378}" type="presParOf" srcId="{EB7C6B68-709D-4613-9E74-2547ABAD92F6}" destId="{09952215-D5C2-4924-97EE-DE159ABF35F7}" srcOrd="9" destOrd="0" presId="urn:microsoft.com/office/officeart/2018/2/layout/IconVerticalSolidList"/>
    <dgm:cxn modelId="{E7DCD338-A6A8-4DEC-B766-CC8BC3622086}" type="presParOf" srcId="{EB7C6B68-709D-4613-9E74-2547ABAD92F6}" destId="{DAFACF97-99E0-47D6-915B-4C0BD1410602}" srcOrd="10" destOrd="0" presId="urn:microsoft.com/office/officeart/2018/2/layout/IconVerticalSolidList"/>
    <dgm:cxn modelId="{5F2032CF-8C65-42F5-905D-F012A77185F3}" type="presParOf" srcId="{DAFACF97-99E0-47D6-915B-4C0BD1410602}" destId="{620C3973-37BF-4F6D-9225-FF77D5F80706}" srcOrd="0" destOrd="0" presId="urn:microsoft.com/office/officeart/2018/2/layout/IconVerticalSolidList"/>
    <dgm:cxn modelId="{A16608DC-D974-4C9A-9164-F4E9CC8DE38D}" type="presParOf" srcId="{DAFACF97-99E0-47D6-915B-4C0BD1410602}" destId="{7B77992C-E40B-4255-AE3C-A107D0071680}" srcOrd="1" destOrd="0" presId="urn:microsoft.com/office/officeart/2018/2/layout/IconVerticalSolidList"/>
    <dgm:cxn modelId="{EC1DE2AC-A6EC-4C80-8BA4-A27ED419A725}" type="presParOf" srcId="{DAFACF97-99E0-47D6-915B-4C0BD1410602}" destId="{D5D19FA9-59E7-4681-A548-920DE92AB174}" srcOrd="2" destOrd="0" presId="urn:microsoft.com/office/officeart/2018/2/layout/IconVerticalSolidList"/>
    <dgm:cxn modelId="{4BB6C624-4CB5-4C88-8B19-3A5108AD97D3}" type="presParOf" srcId="{DAFACF97-99E0-47D6-915B-4C0BD1410602}" destId="{90C26AAF-8EAC-4447-849B-7AD6ABC34337}" srcOrd="3" destOrd="0" presId="urn:microsoft.com/office/officeart/2018/2/layout/IconVerticalSolid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1.xml><?xml version="1.0" encoding="utf-8"?>
<dgm:dataModel xmlns:dgm="http://schemas.openxmlformats.org/drawingml/2006/diagram" xmlns:a="http://schemas.openxmlformats.org/drawingml/2006/main">
  <dgm:ptLst>
    <dgm:pt modelId="{4753DEE2-E432-41D0-A617-415120789667}" type="doc">
      <dgm:prSet loTypeId="urn:microsoft.com/office/officeart/2018/2/layout/IconVerticalSolidList" loCatId="icon" qsTypeId="urn:microsoft.com/office/officeart/2005/8/quickstyle/simple1" qsCatId="simple" csTypeId="urn:microsoft.com/office/officeart/2018/5/colors/Iconchunking_neutralbg_colorful1" csCatId="colorful" phldr="1"/>
      <dgm:spPr/>
      <dgm:t>
        <a:bodyPr/>
        <a:lstStyle/>
        <a:p>
          <a:endParaRPr lang="en-US"/>
        </a:p>
      </dgm:t>
    </dgm:pt>
    <dgm:pt modelId="{A0271EA5-9B05-4250-A588-D2CC23019692}">
      <dgm:prSet/>
      <dgm:spPr/>
      <dgm:t>
        <a:bodyPr/>
        <a:lstStyle/>
        <a:p>
          <a:pPr>
            <a:lnSpc>
              <a:spcPct val="100000"/>
            </a:lnSpc>
          </a:pPr>
          <a:r>
            <a:rPr lang="en-US"/>
            <a:t>Dynamics 365 User Group Blog Feed</a:t>
          </a:r>
        </a:p>
      </dgm:t>
    </dgm:pt>
    <dgm:pt modelId="{4B693031-D36B-4BB8-A94E-448A0C0223BB}" type="parTrans" cxnId="{9F101DC3-CD4A-42FB-96D7-8962E8326907}">
      <dgm:prSet/>
      <dgm:spPr/>
      <dgm:t>
        <a:bodyPr/>
        <a:lstStyle/>
        <a:p>
          <a:endParaRPr lang="en-US"/>
        </a:p>
      </dgm:t>
    </dgm:pt>
    <dgm:pt modelId="{95161B6B-49A7-406C-B58E-9B01864EB1CE}" type="sibTrans" cxnId="{9F101DC3-CD4A-42FB-96D7-8962E8326907}">
      <dgm:prSet/>
      <dgm:spPr/>
      <dgm:t>
        <a:bodyPr/>
        <a:lstStyle/>
        <a:p>
          <a:endParaRPr lang="en-US"/>
        </a:p>
      </dgm:t>
    </dgm:pt>
    <dgm:pt modelId="{FBCACF24-4683-4D2F-99BE-F1A9931D8DDA}">
      <dgm:prSet custT="1"/>
      <dgm:spPr/>
      <dgm:t>
        <a:bodyPr/>
        <a:lstStyle/>
        <a:p>
          <a:pPr>
            <a:lnSpc>
              <a:spcPct val="100000"/>
            </a:lnSpc>
          </a:pPr>
          <a:r>
            <a:rPr lang="en-US" sz="1000" dirty="0">
              <a:hlinkClick xmlns:r="http://schemas.openxmlformats.org/officeDocument/2006/relationships" r:id="rId1"/>
            </a:rPr>
            <a:t>www.crmug.com</a:t>
          </a:r>
          <a:endParaRPr lang="en-US" sz="1000" dirty="0"/>
        </a:p>
      </dgm:t>
    </dgm:pt>
    <dgm:pt modelId="{F28F87E7-1CC8-457D-B67B-679AE48F0156}" type="parTrans" cxnId="{D2FB8FD8-34AB-44BB-ADBF-CC4881ED9281}">
      <dgm:prSet/>
      <dgm:spPr/>
      <dgm:t>
        <a:bodyPr/>
        <a:lstStyle/>
        <a:p>
          <a:endParaRPr lang="en-US"/>
        </a:p>
      </dgm:t>
    </dgm:pt>
    <dgm:pt modelId="{29D85769-23DF-40F9-AC01-3E36BA9C7879}" type="sibTrans" cxnId="{D2FB8FD8-34AB-44BB-ADBF-CC4881ED9281}">
      <dgm:prSet/>
      <dgm:spPr/>
      <dgm:t>
        <a:bodyPr/>
        <a:lstStyle/>
        <a:p>
          <a:endParaRPr lang="en-US"/>
        </a:p>
      </dgm:t>
    </dgm:pt>
    <dgm:pt modelId="{A80252BC-BC77-4B0C-887D-B0A89EA00B6D}">
      <dgm:prSet/>
      <dgm:spPr/>
      <dgm:t>
        <a:bodyPr/>
        <a:lstStyle/>
        <a:p>
          <a:pPr>
            <a:lnSpc>
              <a:spcPct val="100000"/>
            </a:lnSpc>
          </a:pPr>
          <a:r>
            <a:rPr lang="en-US"/>
            <a:t>Microsoft Dynamics Communities</a:t>
          </a:r>
        </a:p>
      </dgm:t>
    </dgm:pt>
    <dgm:pt modelId="{1BEB9439-5D12-4BAA-A059-9CDE59F7B74A}" type="parTrans" cxnId="{AAF5C403-D505-440C-813E-4BC2E92D90A7}">
      <dgm:prSet/>
      <dgm:spPr/>
      <dgm:t>
        <a:bodyPr/>
        <a:lstStyle/>
        <a:p>
          <a:endParaRPr lang="en-US"/>
        </a:p>
      </dgm:t>
    </dgm:pt>
    <dgm:pt modelId="{02A403B6-1193-4D48-8C20-BF85DE8494F0}" type="sibTrans" cxnId="{AAF5C403-D505-440C-813E-4BC2E92D90A7}">
      <dgm:prSet/>
      <dgm:spPr/>
      <dgm:t>
        <a:bodyPr/>
        <a:lstStyle/>
        <a:p>
          <a:endParaRPr lang="en-US"/>
        </a:p>
      </dgm:t>
    </dgm:pt>
    <dgm:pt modelId="{3EBC4597-E35D-4B3D-BB2F-8440553934A0}">
      <dgm:prSet custT="1"/>
      <dgm:spPr/>
      <dgm:t>
        <a:bodyPr/>
        <a:lstStyle/>
        <a:p>
          <a:pPr>
            <a:lnSpc>
              <a:spcPct val="100000"/>
            </a:lnSpc>
          </a:pPr>
          <a:r>
            <a:rPr lang="en-US" sz="1000" dirty="0">
              <a:hlinkClick xmlns:r="http://schemas.openxmlformats.org/officeDocument/2006/relationships" r:id="rId2"/>
            </a:rPr>
            <a:t>community.dynamics.com</a:t>
          </a:r>
          <a:endParaRPr lang="en-US" sz="1000" dirty="0"/>
        </a:p>
      </dgm:t>
    </dgm:pt>
    <dgm:pt modelId="{372F8176-C44C-4A7C-8B15-06E1DFBC9C50}" type="parTrans" cxnId="{EBBC9101-C281-4C8A-B472-FEF35C5BD344}">
      <dgm:prSet/>
      <dgm:spPr/>
      <dgm:t>
        <a:bodyPr/>
        <a:lstStyle/>
        <a:p>
          <a:endParaRPr lang="en-US"/>
        </a:p>
      </dgm:t>
    </dgm:pt>
    <dgm:pt modelId="{66719626-6D93-41FF-B5F3-86B879D5A57E}" type="sibTrans" cxnId="{EBBC9101-C281-4C8A-B472-FEF35C5BD344}">
      <dgm:prSet/>
      <dgm:spPr/>
      <dgm:t>
        <a:bodyPr/>
        <a:lstStyle/>
        <a:p>
          <a:endParaRPr lang="en-US"/>
        </a:p>
      </dgm:t>
    </dgm:pt>
    <dgm:pt modelId="{8928F374-1C26-4677-B12F-5BCDFA4D305D}">
      <dgm:prSet/>
      <dgm:spPr/>
      <dgm:t>
        <a:bodyPr/>
        <a:lstStyle/>
        <a:p>
          <a:pPr>
            <a:lnSpc>
              <a:spcPct val="100000"/>
            </a:lnSpc>
          </a:pPr>
          <a:r>
            <a:rPr lang="en-US"/>
            <a:t>CRM Tip of the Day</a:t>
          </a:r>
        </a:p>
      </dgm:t>
    </dgm:pt>
    <dgm:pt modelId="{ADE4BDBA-D518-4DFD-B1D7-27A87C8685B2}" type="parTrans" cxnId="{A730A372-62E2-4894-A3B2-316387302994}">
      <dgm:prSet/>
      <dgm:spPr/>
      <dgm:t>
        <a:bodyPr/>
        <a:lstStyle/>
        <a:p>
          <a:endParaRPr lang="en-US"/>
        </a:p>
      </dgm:t>
    </dgm:pt>
    <dgm:pt modelId="{FD1B563D-B52E-4919-B33B-7703AF4AF4E5}" type="sibTrans" cxnId="{A730A372-62E2-4894-A3B2-316387302994}">
      <dgm:prSet/>
      <dgm:spPr/>
      <dgm:t>
        <a:bodyPr/>
        <a:lstStyle/>
        <a:p>
          <a:endParaRPr lang="en-US"/>
        </a:p>
      </dgm:t>
    </dgm:pt>
    <dgm:pt modelId="{05DCA02F-74D7-441C-AE52-ECC83F120AC3}">
      <dgm:prSet custT="1"/>
      <dgm:spPr/>
      <dgm:t>
        <a:bodyPr/>
        <a:lstStyle/>
        <a:p>
          <a:pPr>
            <a:lnSpc>
              <a:spcPct val="100000"/>
            </a:lnSpc>
          </a:pPr>
          <a:r>
            <a:rPr lang="en-US" sz="1000" dirty="0">
              <a:hlinkClick xmlns:r="http://schemas.openxmlformats.org/officeDocument/2006/relationships" r:id="rId3"/>
            </a:rPr>
            <a:t>crmtipoftheday.com</a:t>
          </a:r>
          <a:endParaRPr lang="en-US" sz="1000" dirty="0"/>
        </a:p>
      </dgm:t>
    </dgm:pt>
    <dgm:pt modelId="{32B7C643-D211-4B6B-BDEA-0C2FDA101B4A}" type="parTrans" cxnId="{35D3F961-52E4-434F-8DBA-AE555D3831E6}">
      <dgm:prSet/>
      <dgm:spPr/>
      <dgm:t>
        <a:bodyPr/>
        <a:lstStyle/>
        <a:p>
          <a:endParaRPr lang="en-US"/>
        </a:p>
      </dgm:t>
    </dgm:pt>
    <dgm:pt modelId="{1FCDDEF9-D5EF-4B38-85F0-45AB47A1C953}" type="sibTrans" cxnId="{35D3F961-52E4-434F-8DBA-AE555D3831E6}">
      <dgm:prSet/>
      <dgm:spPr/>
      <dgm:t>
        <a:bodyPr/>
        <a:lstStyle/>
        <a:p>
          <a:endParaRPr lang="en-US"/>
        </a:p>
      </dgm:t>
    </dgm:pt>
    <dgm:pt modelId="{14F8848F-CCF6-4907-8634-496D49260FB6}">
      <dgm:prSet custT="1"/>
      <dgm:spPr/>
      <dgm:t>
        <a:bodyPr/>
        <a:lstStyle/>
        <a:p>
          <a:pPr>
            <a:lnSpc>
              <a:spcPct val="100000"/>
            </a:lnSpc>
          </a:pPr>
          <a:r>
            <a:rPr lang="en-US" sz="1000" dirty="0">
              <a:hlinkClick xmlns:r="http://schemas.openxmlformats.org/officeDocument/2006/relationships" r:id="rId4"/>
            </a:rPr>
            <a:t>youtube.com/</a:t>
          </a:r>
          <a:r>
            <a:rPr lang="en-US" sz="1000" dirty="0" err="1">
              <a:hlinkClick xmlns:r="http://schemas.openxmlformats.org/officeDocument/2006/relationships" r:id="rId4"/>
            </a:rPr>
            <a:t>crmtipoftheday</a:t>
          </a:r>
          <a:endParaRPr lang="en-US" sz="1000" dirty="0"/>
        </a:p>
      </dgm:t>
    </dgm:pt>
    <dgm:pt modelId="{121D3DE7-BF85-4B8A-AB33-794785BFD50F}" type="parTrans" cxnId="{63F481E7-5D13-4761-B2F6-6EA288EF5BB4}">
      <dgm:prSet/>
      <dgm:spPr/>
      <dgm:t>
        <a:bodyPr/>
        <a:lstStyle/>
        <a:p>
          <a:endParaRPr lang="en-US"/>
        </a:p>
      </dgm:t>
    </dgm:pt>
    <dgm:pt modelId="{092E6C7D-F442-4C80-B46E-206EB27FEBDB}" type="sibTrans" cxnId="{63F481E7-5D13-4761-B2F6-6EA288EF5BB4}">
      <dgm:prSet/>
      <dgm:spPr/>
      <dgm:t>
        <a:bodyPr/>
        <a:lstStyle/>
        <a:p>
          <a:endParaRPr lang="en-US"/>
        </a:p>
      </dgm:t>
    </dgm:pt>
    <dgm:pt modelId="{BEEDF1B8-E350-4CD2-93DC-C737DAE9A0B4}" type="pres">
      <dgm:prSet presAssocID="{4753DEE2-E432-41D0-A617-415120789667}" presName="root" presStyleCnt="0">
        <dgm:presLayoutVars>
          <dgm:dir/>
          <dgm:resizeHandles val="exact"/>
        </dgm:presLayoutVars>
      </dgm:prSet>
      <dgm:spPr/>
    </dgm:pt>
    <dgm:pt modelId="{BA0547AA-8F96-4BC8-BBE5-8ED03FFDE222}" type="pres">
      <dgm:prSet presAssocID="{A0271EA5-9B05-4250-A588-D2CC23019692}" presName="compNode" presStyleCnt="0"/>
      <dgm:spPr/>
    </dgm:pt>
    <dgm:pt modelId="{ABA37974-5F6F-44D8-92F5-0C1598D2E3E8}" type="pres">
      <dgm:prSet presAssocID="{A0271EA5-9B05-4250-A588-D2CC23019692}" presName="bgRect" presStyleLbl="bgShp" presStyleIdx="0" presStyleCnt="3"/>
      <dgm:spPr/>
    </dgm:pt>
    <dgm:pt modelId="{E25C1A4F-6616-433B-A529-84D449BCDC6B}" type="pres">
      <dgm:prSet presAssocID="{A0271EA5-9B05-4250-A588-D2CC23019692}" presName="iconRect" presStyleLbl="node1" presStyleIdx="0" presStyleCnt="3"/>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a:noFill/>
        </a:ln>
      </dgm:spPr>
      <dgm:extLst>
        <a:ext uri="{E40237B7-FDA0-4F09-8148-C483321AD2D9}">
          <dgm14:cNvPr xmlns:dgm14="http://schemas.microsoft.com/office/drawing/2010/diagram" id="0" name="" descr="User"/>
        </a:ext>
      </dgm:extLst>
    </dgm:pt>
    <dgm:pt modelId="{31BF9C10-573C-4A62-9C99-B80BB1E3B7C4}" type="pres">
      <dgm:prSet presAssocID="{A0271EA5-9B05-4250-A588-D2CC23019692}" presName="spaceRect" presStyleCnt="0"/>
      <dgm:spPr/>
    </dgm:pt>
    <dgm:pt modelId="{0F93E41A-BD8A-4CC9-8E67-148A761A786B}" type="pres">
      <dgm:prSet presAssocID="{A0271EA5-9B05-4250-A588-D2CC23019692}" presName="parTx" presStyleLbl="revTx" presStyleIdx="0" presStyleCnt="6">
        <dgm:presLayoutVars>
          <dgm:chMax val="0"/>
          <dgm:chPref val="0"/>
        </dgm:presLayoutVars>
      </dgm:prSet>
      <dgm:spPr/>
    </dgm:pt>
    <dgm:pt modelId="{681F61D2-F8A1-4DE3-A593-0BE6E45F64D0}" type="pres">
      <dgm:prSet presAssocID="{A0271EA5-9B05-4250-A588-D2CC23019692}" presName="desTx" presStyleLbl="revTx" presStyleIdx="1" presStyleCnt="6">
        <dgm:presLayoutVars/>
      </dgm:prSet>
      <dgm:spPr/>
    </dgm:pt>
    <dgm:pt modelId="{F5A81E92-8023-4610-96D9-9E1C0CD19A37}" type="pres">
      <dgm:prSet presAssocID="{95161B6B-49A7-406C-B58E-9B01864EB1CE}" presName="sibTrans" presStyleCnt="0"/>
      <dgm:spPr/>
    </dgm:pt>
    <dgm:pt modelId="{F035CB80-91AB-4544-A211-95F989D16670}" type="pres">
      <dgm:prSet presAssocID="{A80252BC-BC77-4B0C-887D-B0A89EA00B6D}" presName="compNode" presStyleCnt="0"/>
      <dgm:spPr/>
    </dgm:pt>
    <dgm:pt modelId="{047988B8-3854-4E68-82D5-AC9ED8218CD0}" type="pres">
      <dgm:prSet presAssocID="{A80252BC-BC77-4B0C-887D-B0A89EA00B6D}" presName="bgRect" presStyleLbl="bgShp" presStyleIdx="1" presStyleCnt="3"/>
      <dgm:spPr/>
    </dgm:pt>
    <dgm:pt modelId="{82E21ED9-DE00-4263-ACBE-7F0A9FA7C9EE}" type="pres">
      <dgm:prSet presAssocID="{A80252BC-BC77-4B0C-887D-B0A89EA00B6D}" presName="iconRect" presStyleLbl="node1" presStyleIdx="1" presStyleCnt="3"/>
      <dgm:spPr>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a:noFill/>
        </a:ln>
      </dgm:spPr>
      <dgm:extLst>
        <a:ext uri="{E40237B7-FDA0-4F09-8148-C483321AD2D9}">
          <dgm14:cNvPr xmlns:dgm14="http://schemas.microsoft.com/office/drawing/2010/diagram" id="0" name="" descr="Marker"/>
        </a:ext>
      </dgm:extLst>
    </dgm:pt>
    <dgm:pt modelId="{70B022FF-E312-45BB-8C51-37BAC84A4F19}" type="pres">
      <dgm:prSet presAssocID="{A80252BC-BC77-4B0C-887D-B0A89EA00B6D}" presName="spaceRect" presStyleCnt="0"/>
      <dgm:spPr/>
    </dgm:pt>
    <dgm:pt modelId="{A784AD7C-1FBD-4E54-A7B1-96756C1B2239}" type="pres">
      <dgm:prSet presAssocID="{A80252BC-BC77-4B0C-887D-B0A89EA00B6D}" presName="parTx" presStyleLbl="revTx" presStyleIdx="2" presStyleCnt="6">
        <dgm:presLayoutVars>
          <dgm:chMax val="0"/>
          <dgm:chPref val="0"/>
        </dgm:presLayoutVars>
      </dgm:prSet>
      <dgm:spPr/>
    </dgm:pt>
    <dgm:pt modelId="{5058F1A8-9519-4EB2-B7DC-3927DDA5B952}" type="pres">
      <dgm:prSet presAssocID="{A80252BC-BC77-4B0C-887D-B0A89EA00B6D}" presName="desTx" presStyleLbl="revTx" presStyleIdx="3" presStyleCnt="6" custScaleX="149025">
        <dgm:presLayoutVars/>
      </dgm:prSet>
      <dgm:spPr/>
    </dgm:pt>
    <dgm:pt modelId="{A622AD83-C4F1-4B48-ACF1-D6C84C020E9F}" type="pres">
      <dgm:prSet presAssocID="{02A403B6-1193-4D48-8C20-BF85DE8494F0}" presName="sibTrans" presStyleCnt="0"/>
      <dgm:spPr/>
    </dgm:pt>
    <dgm:pt modelId="{E0CA509C-A4E9-4DCD-9C35-F0CD5959C115}" type="pres">
      <dgm:prSet presAssocID="{8928F374-1C26-4677-B12F-5BCDFA4D305D}" presName="compNode" presStyleCnt="0"/>
      <dgm:spPr/>
    </dgm:pt>
    <dgm:pt modelId="{51BE0624-752B-4317-933F-9C87CF106D7F}" type="pres">
      <dgm:prSet presAssocID="{8928F374-1C26-4677-B12F-5BCDFA4D305D}" presName="bgRect" presStyleLbl="bgShp" presStyleIdx="2" presStyleCnt="3" custLinFactNeighborX="-2049" custLinFactNeighborY="557"/>
      <dgm:spPr/>
    </dgm:pt>
    <dgm:pt modelId="{2FDCB9A9-D38F-412D-BFE0-D2FE55EF00A8}" type="pres">
      <dgm:prSet presAssocID="{8928F374-1C26-4677-B12F-5BCDFA4D305D}" presName="iconRect" presStyleLbl="node1" presStyleIdx="2" presStyleCnt="3"/>
      <dgm:spPr>
        <a:blipFill>
          <a:blip xmlns:r="http://schemas.openxmlformats.org/officeDocument/2006/relationships"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a:blipFill>
        <a:ln>
          <a:noFill/>
        </a:ln>
      </dgm:spPr>
      <dgm:extLst>
        <a:ext uri="{E40237B7-FDA0-4F09-8148-C483321AD2D9}">
          <dgm14:cNvPr xmlns:dgm14="http://schemas.microsoft.com/office/drawing/2010/diagram" id="0" name="" descr="Map with pin"/>
        </a:ext>
      </dgm:extLst>
    </dgm:pt>
    <dgm:pt modelId="{6000C267-75FF-4BB6-8A4D-EA2C1605D2E4}" type="pres">
      <dgm:prSet presAssocID="{8928F374-1C26-4677-B12F-5BCDFA4D305D}" presName="spaceRect" presStyleCnt="0"/>
      <dgm:spPr/>
    </dgm:pt>
    <dgm:pt modelId="{9F018EF6-1996-4B7B-917B-3F627B37B9C2}" type="pres">
      <dgm:prSet presAssocID="{8928F374-1C26-4677-B12F-5BCDFA4D305D}" presName="parTx" presStyleLbl="revTx" presStyleIdx="4" presStyleCnt="6">
        <dgm:presLayoutVars>
          <dgm:chMax val="0"/>
          <dgm:chPref val="0"/>
        </dgm:presLayoutVars>
      </dgm:prSet>
      <dgm:spPr/>
    </dgm:pt>
    <dgm:pt modelId="{192A7E0E-DA98-4A32-A216-D48D47F7D410}" type="pres">
      <dgm:prSet presAssocID="{8928F374-1C26-4677-B12F-5BCDFA4D305D}" presName="desTx" presStyleLbl="revTx" presStyleIdx="5" presStyleCnt="6" custScaleX="161581" custLinFactNeighborX="-7801" custLinFactNeighborY="557">
        <dgm:presLayoutVars/>
      </dgm:prSet>
      <dgm:spPr/>
    </dgm:pt>
  </dgm:ptLst>
  <dgm:cxnLst>
    <dgm:cxn modelId="{EBBC9101-C281-4C8A-B472-FEF35C5BD344}" srcId="{A80252BC-BC77-4B0C-887D-B0A89EA00B6D}" destId="{3EBC4597-E35D-4B3D-BB2F-8440553934A0}" srcOrd="0" destOrd="0" parTransId="{372F8176-C44C-4A7C-8B15-06E1DFBC9C50}" sibTransId="{66719626-6D93-41FF-B5F3-86B879D5A57E}"/>
    <dgm:cxn modelId="{AAF5C403-D505-440C-813E-4BC2E92D90A7}" srcId="{4753DEE2-E432-41D0-A617-415120789667}" destId="{A80252BC-BC77-4B0C-887D-B0A89EA00B6D}" srcOrd="1" destOrd="0" parTransId="{1BEB9439-5D12-4BAA-A059-9CDE59F7B74A}" sibTransId="{02A403B6-1193-4D48-8C20-BF85DE8494F0}"/>
    <dgm:cxn modelId="{5EA06F0E-1FC2-414B-BC85-4D3758E2E2C1}" type="presOf" srcId="{3EBC4597-E35D-4B3D-BB2F-8440553934A0}" destId="{5058F1A8-9519-4EB2-B7DC-3927DDA5B952}" srcOrd="0" destOrd="0" presId="urn:microsoft.com/office/officeart/2018/2/layout/IconVerticalSolidList"/>
    <dgm:cxn modelId="{22E31730-EB26-4F76-A9FE-10872B030B76}" type="presOf" srcId="{A80252BC-BC77-4B0C-887D-B0A89EA00B6D}" destId="{A784AD7C-1FBD-4E54-A7B1-96756C1B2239}" srcOrd="0" destOrd="0" presId="urn:microsoft.com/office/officeart/2018/2/layout/IconVerticalSolidList"/>
    <dgm:cxn modelId="{E00C383E-19C3-4308-8058-E58D57E94BD2}" type="presOf" srcId="{4753DEE2-E432-41D0-A617-415120789667}" destId="{BEEDF1B8-E350-4CD2-93DC-C737DAE9A0B4}" srcOrd="0" destOrd="0" presId="urn:microsoft.com/office/officeart/2018/2/layout/IconVerticalSolidList"/>
    <dgm:cxn modelId="{35D3F961-52E4-434F-8DBA-AE555D3831E6}" srcId="{8928F374-1C26-4677-B12F-5BCDFA4D305D}" destId="{05DCA02F-74D7-441C-AE52-ECC83F120AC3}" srcOrd="0" destOrd="0" parTransId="{32B7C643-D211-4B6B-BDEA-0C2FDA101B4A}" sibTransId="{1FCDDEF9-D5EF-4B38-85F0-45AB47A1C953}"/>
    <dgm:cxn modelId="{8CAE5A42-F349-4CF7-8222-96A6B1303025}" type="presOf" srcId="{8928F374-1C26-4677-B12F-5BCDFA4D305D}" destId="{9F018EF6-1996-4B7B-917B-3F627B37B9C2}" srcOrd="0" destOrd="0" presId="urn:microsoft.com/office/officeart/2018/2/layout/IconVerticalSolidList"/>
    <dgm:cxn modelId="{A730A372-62E2-4894-A3B2-316387302994}" srcId="{4753DEE2-E432-41D0-A617-415120789667}" destId="{8928F374-1C26-4677-B12F-5BCDFA4D305D}" srcOrd="2" destOrd="0" parTransId="{ADE4BDBA-D518-4DFD-B1D7-27A87C8685B2}" sibTransId="{FD1B563D-B52E-4919-B33B-7703AF4AF4E5}"/>
    <dgm:cxn modelId="{B529078B-5208-4B19-88E3-4E7DA993ED2C}" type="presOf" srcId="{05DCA02F-74D7-441C-AE52-ECC83F120AC3}" destId="{192A7E0E-DA98-4A32-A216-D48D47F7D410}" srcOrd="0" destOrd="0" presId="urn:microsoft.com/office/officeart/2018/2/layout/IconVerticalSolidList"/>
    <dgm:cxn modelId="{8D52D292-F0E2-413C-B64D-21CC0A4DE5AA}" type="presOf" srcId="{A0271EA5-9B05-4250-A588-D2CC23019692}" destId="{0F93E41A-BD8A-4CC9-8E67-148A761A786B}" srcOrd="0" destOrd="0" presId="urn:microsoft.com/office/officeart/2018/2/layout/IconVerticalSolidList"/>
    <dgm:cxn modelId="{37F529A7-15B8-4F92-BF93-0226A28BE058}" type="presOf" srcId="{FBCACF24-4683-4D2F-99BE-F1A9931D8DDA}" destId="{681F61D2-F8A1-4DE3-A593-0BE6E45F64D0}" srcOrd="0" destOrd="0" presId="urn:microsoft.com/office/officeart/2018/2/layout/IconVerticalSolidList"/>
    <dgm:cxn modelId="{27BA5DB8-CF5A-4DE6-A07F-AB50817E28F4}" type="presOf" srcId="{14F8848F-CCF6-4907-8634-496D49260FB6}" destId="{192A7E0E-DA98-4A32-A216-D48D47F7D410}" srcOrd="0" destOrd="1" presId="urn:microsoft.com/office/officeart/2018/2/layout/IconVerticalSolidList"/>
    <dgm:cxn modelId="{9F101DC3-CD4A-42FB-96D7-8962E8326907}" srcId="{4753DEE2-E432-41D0-A617-415120789667}" destId="{A0271EA5-9B05-4250-A588-D2CC23019692}" srcOrd="0" destOrd="0" parTransId="{4B693031-D36B-4BB8-A94E-448A0C0223BB}" sibTransId="{95161B6B-49A7-406C-B58E-9B01864EB1CE}"/>
    <dgm:cxn modelId="{D2FB8FD8-34AB-44BB-ADBF-CC4881ED9281}" srcId="{A0271EA5-9B05-4250-A588-D2CC23019692}" destId="{FBCACF24-4683-4D2F-99BE-F1A9931D8DDA}" srcOrd="0" destOrd="0" parTransId="{F28F87E7-1CC8-457D-B67B-679AE48F0156}" sibTransId="{29D85769-23DF-40F9-AC01-3E36BA9C7879}"/>
    <dgm:cxn modelId="{63F481E7-5D13-4761-B2F6-6EA288EF5BB4}" srcId="{8928F374-1C26-4677-B12F-5BCDFA4D305D}" destId="{14F8848F-CCF6-4907-8634-496D49260FB6}" srcOrd="1" destOrd="0" parTransId="{121D3DE7-BF85-4B8A-AB33-794785BFD50F}" sibTransId="{092E6C7D-F442-4C80-B46E-206EB27FEBDB}"/>
    <dgm:cxn modelId="{AD59A075-7107-4BDA-8962-6D77FA255F0B}" type="presParOf" srcId="{BEEDF1B8-E350-4CD2-93DC-C737DAE9A0B4}" destId="{BA0547AA-8F96-4BC8-BBE5-8ED03FFDE222}" srcOrd="0" destOrd="0" presId="urn:microsoft.com/office/officeart/2018/2/layout/IconVerticalSolidList"/>
    <dgm:cxn modelId="{4139919E-34B5-4474-BF23-4CCC6174F16A}" type="presParOf" srcId="{BA0547AA-8F96-4BC8-BBE5-8ED03FFDE222}" destId="{ABA37974-5F6F-44D8-92F5-0C1598D2E3E8}" srcOrd="0" destOrd="0" presId="urn:microsoft.com/office/officeart/2018/2/layout/IconVerticalSolidList"/>
    <dgm:cxn modelId="{59224A78-7420-438B-A44C-018026872024}" type="presParOf" srcId="{BA0547AA-8F96-4BC8-BBE5-8ED03FFDE222}" destId="{E25C1A4F-6616-433B-A529-84D449BCDC6B}" srcOrd="1" destOrd="0" presId="urn:microsoft.com/office/officeart/2018/2/layout/IconVerticalSolidList"/>
    <dgm:cxn modelId="{1344E4DB-29B5-4E21-BB92-F0723E65404A}" type="presParOf" srcId="{BA0547AA-8F96-4BC8-BBE5-8ED03FFDE222}" destId="{31BF9C10-573C-4A62-9C99-B80BB1E3B7C4}" srcOrd="2" destOrd="0" presId="urn:microsoft.com/office/officeart/2018/2/layout/IconVerticalSolidList"/>
    <dgm:cxn modelId="{F76EC7DF-99CB-4695-B325-60C357C52D83}" type="presParOf" srcId="{BA0547AA-8F96-4BC8-BBE5-8ED03FFDE222}" destId="{0F93E41A-BD8A-4CC9-8E67-148A761A786B}" srcOrd="3" destOrd="0" presId="urn:microsoft.com/office/officeart/2018/2/layout/IconVerticalSolidList"/>
    <dgm:cxn modelId="{72F86945-2CA4-4B42-80F1-EAE4D7AAC0D7}" type="presParOf" srcId="{BA0547AA-8F96-4BC8-BBE5-8ED03FFDE222}" destId="{681F61D2-F8A1-4DE3-A593-0BE6E45F64D0}" srcOrd="4" destOrd="0" presId="urn:microsoft.com/office/officeart/2018/2/layout/IconVerticalSolidList"/>
    <dgm:cxn modelId="{B766455D-6118-4D06-A930-2D55CB6B63F6}" type="presParOf" srcId="{BEEDF1B8-E350-4CD2-93DC-C737DAE9A0B4}" destId="{F5A81E92-8023-4610-96D9-9E1C0CD19A37}" srcOrd="1" destOrd="0" presId="urn:microsoft.com/office/officeart/2018/2/layout/IconVerticalSolidList"/>
    <dgm:cxn modelId="{4EE792FD-B042-46C0-9FCC-1B83C0C8FAFA}" type="presParOf" srcId="{BEEDF1B8-E350-4CD2-93DC-C737DAE9A0B4}" destId="{F035CB80-91AB-4544-A211-95F989D16670}" srcOrd="2" destOrd="0" presId="urn:microsoft.com/office/officeart/2018/2/layout/IconVerticalSolidList"/>
    <dgm:cxn modelId="{CF099095-4958-4566-A3AD-F71F96E6E279}" type="presParOf" srcId="{F035CB80-91AB-4544-A211-95F989D16670}" destId="{047988B8-3854-4E68-82D5-AC9ED8218CD0}" srcOrd="0" destOrd="0" presId="urn:microsoft.com/office/officeart/2018/2/layout/IconVerticalSolidList"/>
    <dgm:cxn modelId="{6B7B82FE-0D99-408E-8F74-BAF648156D96}" type="presParOf" srcId="{F035CB80-91AB-4544-A211-95F989D16670}" destId="{82E21ED9-DE00-4263-ACBE-7F0A9FA7C9EE}" srcOrd="1" destOrd="0" presId="urn:microsoft.com/office/officeart/2018/2/layout/IconVerticalSolidList"/>
    <dgm:cxn modelId="{E61F5975-88BD-41B1-99E8-B770116F44FB}" type="presParOf" srcId="{F035CB80-91AB-4544-A211-95F989D16670}" destId="{70B022FF-E312-45BB-8C51-37BAC84A4F19}" srcOrd="2" destOrd="0" presId="urn:microsoft.com/office/officeart/2018/2/layout/IconVerticalSolidList"/>
    <dgm:cxn modelId="{F28B3FDD-20A4-474B-A9A0-849F2C490169}" type="presParOf" srcId="{F035CB80-91AB-4544-A211-95F989D16670}" destId="{A784AD7C-1FBD-4E54-A7B1-96756C1B2239}" srcOrd="3" destOrd="0" presId="urn:microsoft.com/office/officeart/2018/2/layout/IconVerticalSolidList"/>
    <dgm:cxn modelId="{FA36AB32-0542-403C-9DAC-622B1EB9C7DC}" type="presParOf" srcId="{F035CB80-91AB-4544-A211-95F989D16670}" destId="{5058F1A8-9519-4EB2-B7DC-3927DDA5B952}" srcOrd="4" destOrd="0" presId="urn:microsoft.com/office/officeart/2018/2/layout/IconVerticalSolidList"/>
    <dgm:cxn modelId="{8AA43A3F-5789-4F29-9C51-DEE47B051316}" type="presParOf" srcId="{BEEDF1B8-E350-4CD2-93DC-C737DAE9A0B4}" destId="{A622AD83-C4F1-4B48-ACF1-D6C84C020E9F}" srcOrd="3" destOrd="0" presId="urn:microsoft.com/office/officeart/2018/2/layout/IconVerticalSolidList"/>
    <dgm:cxn modelId="{3734AACC-8447-4248-9275-3CF3D475DCD1}" type="presParOf" srcId="{BEEDF1B8-E350-4CD2-93DC-C737DAE9A0B4}" destId="{E0CA509C-A4E9-4DCD-9C35-F0CD5959C115}" srcOrd="4" destOrd="0" presId="urn:microsoft.com/office/officeart/2018/2/layout/IconVerticalSolidList"/>
    <dgm:cxn modelId="{80885B4B-C38B-465D-A6BE-C62EFDB805D6}" type="presParOf" srcId="{E0CA509C-A4E9-4DCD-9C35-F0CD5959C115}" destId="{51BE0624-752B-4317-933F-9C87CF106D7F}" srcOrd="0" destOrd="0" presId="urn:microsoft.com/office/officeart/2018/2/layout/IconVerticalSolidList"/>
    <dgm:cxn modelId="{41660DED-7471-46D9-AF89-9C5EC6579FF5}" type="presParOf" srcId="{E0CA509C-A4E9-4DCD-9C35-F0CD5959C115}" destId="{2FDCB9A9-D38F-412D-BFE0-D2FE55EF00A8}" srcOrd="1" destOrd="0" presId="urn:microsoft.com/office/officeart/2018/2/layout/IconVerticalSolidList"/>
    <dgm:cxn modelId="{B516CAF7-5016-4445-9527-96EA3CFBFE4B}" type="presParOf" srcId="{E0CA509C-A4E9-4DCD-9C35-F0CD5959C115}" destId="{6000C267-75FF-4BB6-8A4D-EA2C1605D2E4}" srcOrd="2" destOrd="0" presId="urn:microsoft.com/office/officeart/2018/2/layout/IconVerticalSolidList"/>
    <dgm:cxn modelId="{1DF9C63D-3E9E-49FE-8280-FD2B3F8A3344}" type="presParOf" srcId="{E0CA509C-A4E9-4DCD-9C35-F0CD5959C115}" destId="{9F018EF6-1996-4B7B-917B-3F627B37B9C2}" srcOrd="3" destOrd="0" presId="urn:microsoft.com/office/officeart/2018/2/layout/IconVerticalSolidList"/>
    <dgm:cxn modelId="{40CF4277-6803-4FB7-B4E5-562816FF125C}" type="presParOf" srcId="{E0CA509C-A4E9-4DCD-9C35-F0CD5959C115}" destId="{192A7E0E-DA98-4A32-A216-D48D47F7D410}" srcOrd="4" destOrd="0" presId="urn:microsoft.com/office/officeart/2018/2/layout/IconVerticalSolid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2.xml><?xml version="1.0" encoding="utf-8"?>
<dgm:dataModel xmlns:dgm="http://schemas.openxmlformats.org/drawingml/2006/diagram" xmlns:a="http://schemas.openxmlformats.org/drawingml/2006/main">
  <dgm:ptLst>
    <dgm:pt modelId="{C75C7FA9-825B-4785-9186-E589B9A4A524}" type="doc">
      <dgm:prSet loTypeId="urn:microsoft.com/office/officeart/2018/2/layout/IconVerticalSolidList" loCatId="icon" qsTypeId="urn:microsoft.com/office/officeart/2005/8/quickstyle/simple1" qsCatId="simple" csTypeId="urn:microsoft.com/office/officeart/2018/5/colors/Iconchunking_neutralbg_colorful2" csCatId="colorful" phldr="1"/>
      <dgm:spPr/>
      <dgm:t>
        <a:bodyPr/>
        <a:lstStyle/>
        <a:p>
          <a:endParaRPr lang="en-US"/>
        </a:p>
      </dgm:t>
    </dgm:pt>
    <dgm:pt modelId="{E829E274-7A73-4923-A101-D82B4A1340A7}">
      <dgm:prSet/>
      <dgm:spPr/>
      <dgm:t>
        <a:bodyPr/>
        <a:lstStyle/>
        <a:p>
          <a:pPr>
            <a:lnSpc>
              <a:spcPct val="100000"/>
            </a:lnSpc>
          </a:pPr>
          <a:r>
            <a:rPr lang="en-US"/>
            <a:t>Webinars</a:t>
          </a:r>
        </a:p>
      </dgm:t>
    </dgm:pt>
    <dgm:pt modelId="{49BC22A0-B680-4DC2-B55A-CB08580C0C94}" type="parTrans" cxnId="{E9A1CBF2-4B95-46FF-8C13-42C137AD73C2}">
      <dgm:prSet/>
      <dgm:spPr/>
      <dgm:t>
        <a:bodyPr/>
        <a:lstStyle/>
        <a:p>
          <a:endParaRPr lang="en-US"/>
        </a:p>
      </dgm:t>
    </dgm:pt>
    <dgm:pt modelId="{D4BAACEA-90D0-47BC-BE27-615D3A50192C}" type="sibTrans" cxnId="{E9A1CBF2-4B95-46FF-8C13-42C137AD73C2}">
      <dgm:prSet/>
      <dgm:spPr/>
      <dgm:t>
        <a:bodyPr/>
        <a:lstStyle/>
        <a:p>
          <a:endParaRPr lang="en-US"/>
        </a:p>
      </dgm:t>
    </dgm:pt>
    <dgm:pt modelId="{5138AB67-462A-4EF2-BF96-7EA50ECF953E}">
      <dgm:prSet/>
      <dgm:spPr/>
      <dgm:t>
        <a:bodyPr/>
        <a:lstStyle/>
        <a:p>
          <a:pPr>
            <a:lnSpc>
              <a:spcPct val="100000"/>
            </a:lnSpc>
          </a:pPr>
          <a:r>
            <a:rPr lang="en-US" dirty="0">
              <a:hlinkClick xmlns:r="http://schemas.openxmlformats.org/officeDocument/2006/relationships" r:id="rId1"/>
            </a:rPr>
            <a:t>/webinars</a:t>
          </a:r>
          <a:endParaRPr lang="en-US" dirty="0"/>
        </a:p>
      </dgm:t>
    </dgm:pt>
    <dgm:pt modelId="{49073CB1-A976-4C5C-B9D7-8A8A530D6E42}" type="parTrans" cxnId="{36EAB501-26A3-441E-A7FC-0484FC3475E5}">
      <dgm:prSet/>
      <dgm:spPr/>
      <dgm:t>
        <a:bodyPr/>
        <a:lstStyle/>
        <a:p>
          <a:endParaRPr lang="en-US"/>
        </a:p>
      </dgm:t>
    </dgm:pt>
    <dgm:pt modelId="{64AE2908-4EF3-45CF-8C7F-A4CF7292B8B8}" type="sibTrans" cxnId="{36EAB501-26A3-441E-A7FC-0484FC3475E5}">
      <dgm:prSet/>
      <dgm:spPr/>
      <dgm:t>
        <a:bodyPr/>
        <a:lstStyle/>
        <a:p>
          <a:endParaRPr lang="en-US"/>
        </a:p>
      </dgm:t>
    </dgm:pt>
    <dgm:pt modelId="{2CA4EFF8-DA67-4388-AA3F-96CCC109AEF6}">
      <dgm:prSet/>
      <dgm:spPr/>
      <dgm:t>
        <a:bodyPr/>
        <a:lstStyle/>
        <a:p>
          <a:pPr>
            <a:lnSpc>
              <a:spcPct val="100000"/>
            </a:lnSpc>
          </a:pPr>
          <a:r>
            <a:rPr lang="en-US"/>
            <a:t>KnowledgeBits</a:t>
          </a:r>
        </a:p>
      </dgm:t>
    </dgm:pt>
    <dgm:pt modelId="{F3DC9E18-3B05-4AEA-9796-F7A449AF216B}" type="parTrans" cxnId="{A03284AB-A9B8-4D6E-AD1C-63ECBA5C6CEE}">
      <dgm:prSet/>
      <dgm:spPr/>
      <dgm:t>
        <a:bodyPr/>
        <a:lstStyle/>
        <a:p>
          <a:endParaRPr lang="en-US"/>
        </a:p>
      </dgm:t>
    </dgm:pt>
    <dgm:pt modelId="{BD5BE3F8-91F6-40DB-A738-8CB876D74C6A}" type="sibTrans" cxnId="{A03284AB-A9B8-4D6E-AD1C-63ECBA5C6CEE}">
      <dgm:prSet/>
      <dgm:spPr/>
      <dgm:t>
        <a:bodyPr/>
        <a:lstStyle/>
        <a:p>
          <a:endParaRPr lang="en-US"/>
        </a:p>
      </dgm:t>
    </dgm:pt>
    <dgm:pt modelId="{A87109F5-B91F-4EDD-8C04-8C242CB7449B}">
      <dgm:prSet/>
      <dgm:spPr/>
      <dgm:t>
        <a:bodyPr/>
        <a:lstStyle/>
        <a:p>
          <a:pPr>
            <a:lnSpc>
              <a:spcPct val="100000"/>
            </a:lnSpc>
          </a:pPr>
          <a:r>
            <a:rPr lang="en-US" dirty="0">
              <a:hlinkClick xmlns:r="http://schemas.openxmlformats.org/officeDocument/2006/relationships" r:id="rId2"/>
            </a:rPr>
            <a:t>/knowledgebits</a:t>
          </a:r>
          <a:endParaRPr lang="en-US" dirty="0"/>
        </a:p>
      </dgm:t>
    </dgm:pt>
    <dgm:pt modelId="{83BFC818-CEBE-424B-A7FF-BDD00636D70D}" type="parTrans" cxnId="{B55D4E9F-509E-4BEB-B3E7-FEDC4EE8A26A}">
      <dgm:prSet/>
      <dgm:spPr/>
      <dgm:t>
        <a:bodyPr/>
        <a:lstStyle/>
        <a:p>
          <a:endParaRPr lang="en-US"/>
        </a:p>
      </dgm:t>
    </dgm:pt>
    <dgm:pt modelId="{B658DEA7-DF2E-4C99-BC69-DD70A840760F}" type="sibTrans" cxnId="{B55D4E9F-509E-4BEB-B3E7-FEDC4EE8A26A}">
      <dgm:prSet/>
      <dgm:spPr/>
      <dgm:t>
        <a:bodyPr/>
        <a:lstStyle/>
        <a:p>
          <a:endParaRPr lang="en-US"/>
        </a:p>
      </dgm:t>
    </dgm:pt>
    <dgm:pt modelId="{CC3FBD34-21EF-4F7A-91BA-041F66FF17EB}">
      <dgm:prSet/>
      <dgm:spPr/>
      <dgm:t>
        <a:bodyPr/>
        <a:lstStyle/>
        <a:p>
          <a:pPr>
            <a:lnSpc>
              <a:spcPct val="100000"/>
            </a:lnSpc>
          </a:pPr>
          <a:r>
            <a:rPr lang="en-US"/>
            <a:t>Learning Plans</a:t>
          </a:r>
        </a:p>
      </dgm:t>
    </dgm:pt>
    <dgm:pt modelId="{F6411662-A908-4A92-B36D-2D515F73BFAE}" type="parTrans" cxnId="{E7061510-8166-4CA8-BBAC-D356BE839919}">
      <dgm:prSet/>
      <dgm:spPr/>
      <dgm:t>
        <a:bodyPr/>
        <a:lstStyle/>
        <a:p>
          <a:endParaRPr lang="en-US"/>
        </a:p>
      </dgm:t>
    </dgm:pt>
    <dgm:pt modelId="{D4155792-097C-4322-A401-6F958BAAF120}" type="sibTrans" cxnId="{E7061510-8166-4CA8-BBAC-D356BE839919}">
      <dgm:prSet/>
      <dgm:spPr/>
      <dgm:t>
        <a:bodyPr/>
        <a:lstStyle/>
        <a:p>
          <a:endParaRPr lang="en-US"/>
        </a:p>
      </dgm:t>
    </dgm:pt>
    <dgm:pt modelId="{BC23A19B-AEAC-4375-884E-E5A1BB13CCC2}">
      <dgm:prSet/>
      <dgm:spPr/>
      <dgm:t>
        <a:bodyPr/>
        <a:lstStyle/>
        <a:p>
          <a:pPr>
            <a:lnSpc>
              <a:spcPct val="100000"/>
            </a:lnSpc>
          </a:pPr>
          <a:r>
            <a:rPr lang="en-US" dirty="0">
              <a:hlinkClick xmlns:r="http://schemas.openxmlformats.org/officeDocument/2006/relationships" r:id="rId3"/>
            </a:rPr>
            <a:t>/freestuff</a:t>
          </a:r>
          <a:endParaRPr lang="en-US" dirty="0"/>
        </a:p>
      </dgm:t>
    </dgm:pt>
    <dgm:pt modelId="{FFFB9497-F73B-455F-AFF8-8EB5CA985F26}" type="parTrans" cxnId="{0DDB2390-E364-49E7-8DD2-CF29F34AB8EC}">
      <dgm:prSet/>
      <dgm:spPr/>
      <dgm:t>
        <a:bodyPr/>
        <a:lstStyle/>
        <a:p>
          <a:endParaRPr lang="en-US"/>
        </a:p>
      </dgm:t>
    </dgm:pt>
    <dgm:pt modelId="{3EE7B8CF-BB57-4D98-A82C-2987C34D96A8}" type="sibTrans" cxnId="{0DDB2390-E364-49E7-8DD2-CF29F34AB8EC}">
      <dgm:prSet/>
      <dgm:spPr/>
      <dgm:t>
        <a:bodyPr/>
        <a:lstStyle/>
        <a:p>
          <a:endParaRPr lang="en-US"/>
        </a:p>
      </dgm:t>
    </dgm:pt>
    <dgm:pt modelId="{07F0B364-EC39-4C37-B591-B2805B1AABE0}">
      <dgm:prSet/>
      <dgm:spPr/>
      <dgm:t>
        <a:bodyPr/>
        <a:lstStyle/>
        <a:p>
          <a:pPr>
            <a:lnSpc>
              <a:spcPct val="100000"/>
            </a:lnSpc>
          </a:pPr>
          <a:r>
            <a:rPr lang="en-US"/>
            <a:t>YouTube Channel</a:t>
          </a:r>
        </a:p>
      </dgm:t>
    </dgm:pt>
    <dgm:pt modelId="{75AF3C38-1F45-45F0-8389-0161F5B8D6C4}" type="parTrans" cxnId="{3E4819EA-86D6-4CBE-8826-97686FC01DEC}">
      <dgm:prSet/>
      <dgm:spPr/>
      <dgm:t>
        <a:bodyPr/>
        <a:lstStyle/>
        <a:p>
          <a:endParaRPr lang="en-US"/>
        </a:p>
      </dgm:t>
    </dgm:pt>
    <dgm:pt modelId="{AF6AA237-78D9-4E99-B6D1-AD3AD7511642}" type="sibTrans" cxnId="{3E4819EA-86D6-4CBE-8826-97686FC01DEC}">
      <dgm:prSet/>
      <dgm:spPr/>
      <dgm:t>
        <a:bodyPr/>
        <a:lstStyle/>
        <a:p>
          <a:endParaRPr lang="en-US"/>
        </a:p>
      </dgm:t>
    </dgm:pt>
    <dgm:pt modelId="{1A889DAD-5ABD-4BB9-89F7-F6130696212B}">
      <dgm:prSet custT="1"/>
      <dgm:spPr/>
      <dgm:t>
        <a:bodyPr/>
        <a:lstStyle/>
        <a:p>
          <a:pPr>
            <a:lnSpc>
              <a:spcPct val="100000"/>
            </a:lnSpc>
          </a:pPr>
          <a:r>
            <a:rPr lang="en-US" sz="1050" dirty="0">
              <a:hlinkClick xmlns:r="http://schemas.openxmlformats.org/officeDocument/2006/relationships" r:id="rId4"/>
            </a:rPr>
            <a:t>youtube.com/xrmcoaches</a:t>
          </a:r>
          <a:endParaRPr lang="en-US" sz="1100" dirty="0"/>
        </a:p>
      </dgm:t>
    </dgm:pt>
    <dgm:pt modelId="{BCEA2936-F026-4730-8C44-8D86D1218F04}" type="parTrans" cxnId="{0330DFE3-F322-4D7D-A284-FBAEEC7DFA00}">
      <dgm:prSet/>
      <dgm:spPr/>
      <dgm:t>
        <a:bodyPr/>
        <a:lstStyle/>
        <a:p>
          <a:endParaRPr lang="en-US"/>
        </a:p>
      </dgm:t>
    </dgm:pt>
    <dgm:pt modelId="{2440E75F-18F4-451A-811C-F3C1A4BF517D}" type="sibTrans" cxnId="{0330DFE3-F322-4D7D-A284-FBAEEC7DFA00}">
      <dgm:prSet/>
      <dgm:spPr/>
      <dgm:t>
        <a:bodyPr/>
        <a:lstStyle/>
        <a:p>
          <a:endParaRPr lang="en-US"/>
        </a:p>
      </dgm:t>
    </dgm:pt>
    <dgm:pt modelId="{E025519D-98FF-45A9-8C00-C8DF5B4F5594}" type="pres">
      <dgm:prSet presAssocID="{C75C7FA9-825B-4785-9186-E589B9A4A524}" presName="root" presStyleCnt="0">
        <dgm:presLayoutVars>
          <dgm:dir/>
          <dgm:resizeHandles val="exact"/>
        </dgm:presLayoutVars>
      </dgm:prSet>
      <dgm:spPr/>
    </dgm:pt>
    <dgm:pt modelId="{C5E437DC-E9F8-47A6-8F0C-A93CEC07874C}" type="pres">
      <dgm:prSet presAssocID="{E829E274-7A73-4923-A101-D82B4A1340A7}" presName="compNode" presStyleCnt="0"/>
      <dgm:spPr/>
    </dgm:pt>
    <dgm:pt modelId="{22524250-5118-4686-A298-18A7C893136C}" type="pres">
      <dgm:prSet presAssocID="{E829E274-7A73-4923-A101-D82B4A1340A7}" presName="bgRect" presStyleLbl="bgShp" presStyleIdx="0" presStyleCnt="4"/>
      <dgm:spPr/>
    </dgm:pt>
    <dgm:pt modelId="{95818EA8-84F5-4F8B-A077-29255B7A9660}" type="pres">
      <dgm:prSet presAssocID="{E829E274-7A73-4923-A101-D82B4A1340A7}" presName="iconRect" presStyleLbl="node1" presStyleIdx="0" presStyleCnt="4"/>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a:noFill/>
        </a:ln>
      </dgm:spPr>
      <dgm:extLst>
        <a:ext uri="{E40237B7-FDA0-4F09-8148-C483321AD2D9}">
          <dgm14:cNvPr xmlns:dgm14="http://schemas.microsoft.com/office/drawing/2010/diagram" id="0" name="" descr="Marker"/>
        </a:ext>
      </dgm:extLst>
    </dgm:pt>
    <dgm:pt modelId="{0B5486FA-DBE9-42F2-A880-13C798CA099E}" type="pres">
      <dgm:prSet presAssocID="{E829E274-7A73-4923-A101-D82B4A1340A7}" presName="spaceRect" presStyleCnt="0"/>
      <dgm:spPr/>
    </dgm:pt>
    <dgm:pt modelId="{BA26A61C-0D83-480A-B697-750DAE1B6F6A}" type="pres">
      <dgm:prSet presAssocID="{E829E274-7A73-4923-A101-D82B4A1340A7}" presName="parTx" presStyleLbl="revTx" presStyleIdx="0" presStyleCnt="8">
        <dgm:presLayoutVars>
          <dgm:chMax val="0"/>
          <dgm:chPref val="0"/>
        </dgm:presLayoutVars>
      </dgm:prSet>
      <dgm:spPr/>
    </dgm:pt>
    <dgm:pt modelId="{04BA9129-8E0A-4057-817F-177F30CD757D}" type="pres">
      <dgm:prSet presAssocID="{E829E274-7A73-4923-A101-D82B4A1340A7}" presName="desTx" presStyleLbl="revTx" presStyleIdx="1" presStyleCnt="8">
        <dgm:presLayoutVars/>
      </dgm:prSet>
      <dgm:spPr/>
    </dgm:pt>
    <dgm:pt modelId="{A32BEE5D-65EF-41D3-B6FE-6559E64BC242}" type="pres">
      <dgm:prSet presAssocID="{D4BAACEA-90D0-47BC-BE27-615D3A50192C}" presName="sibTrans" presStyleCnt="0"/>
      <dgm:spPr/>
    </dgm:pt>
    <dgm:pt modelId="{6DC024F9-5A4E-4E48-B6A0-8F36F262223F}" type="pres">
      <dgm:prSet presAssocID="{2CA4EFF8-DA67-4388-AA3F-96CCC109AEF6}" presName="compNode" presStyleCnt="0"/>
      <dgm:spPr/>
    </dgm:pt>
    <dgm:pt modelId="{AB03A77A-D534-47C2-8654-56C865136BE8}" type="pres">
      <dgm:prSet presAssocID="{2CA4EFF8-DA67-4388-AA3F-96CCC109AEF6}" presName="bgRect" presStyleLbl="bgShp" presStyleIdx="1" presStyleCnt="4"/>
      <dgm:spPr/>
    </dgm:pt>
    <dgm:pt modelId="{C518AA04-CE47-43C0-ACB2-976424A9F061}" type="pres">
      <dgm:prSet presAssocID="{2CA4EFF8-DA67-4388-AA3F-96CCC109AEF6}" presName="iconRect" presStyleLbl="node1" presStyleIdx="1" presStyleCnt="4"/>
      <dgm:spPr>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a:noFill/>
        </a:ln>
      </dgm:spPr>
      <dgm:extLst>
        <a:ext uri="{E40237B7-FDA0-4F09-8148-C483321AD2D9}">
          <dgm14:cNvPr xmlns:dgm14="http://schemas.microsoft.com/office/drawing/2010/diagram" id="0" name="" descr="Circle with Left Arrow"/>
        </a:ext>
      </dgm:extLst>
    </dgm:pt>
    <dgm:pt modelId="{B702DDC6-47E5-4316-9952-EAA44C688681}" type="pres">
      <dgm:prSet presAssocID="{2CA4EFF8-DA67-4388-AA3F-96CCC109AEF6}" presName="spaceRect" presStyleCnt="0"/>
      <dgm:spPr/>
    </dgm:pt>
    <dgm:pt modelId="{6524671A-AF9E-4E2F-AB95-74588226AFEE}" type="pres">
      <dgm:prSet presAssocID="{2CA4EFF8-DA67-4388-AA3F-96CCC109AEF6}" presName="parTx" presStyleLbl="revTx" presStyleIdx="2" presStyleCnt="8">
        <dgm:presLayoutVars>
          <dgm:chMax val="0"/>
          <dgm:chPref val="0"/>
        </dgm:presLayoutVars>
      </dgm:prSet>
      <dgm:spPr/>
    </dgm:pt>
    <dgm:pt modelId="{A34C8503-3205-41F1-B829-AA6ACD257BE6}" type="pres">
      <dgm:prSet presAssocID="{2CA4EFF8-DA67-4388-AA3F-96CCC109AEF6}" presName="desTx" presStyleLbl="revTx" presStyleIdx="3" presStyleCnt="8">
        <dgm:presLayoutVars/>
      </dgm:prSet>
      <dgm:spPr/>
    </dgm:pt>
    <dgm:pt modelId="{E80EEBE3-789E-4AFF-86EA-8B52168ACF06}" type="pres">
      <dgm:prSet presAssocID="{BD5BE3F8-91F6-40DB-A738-8CB876D74C6A}" presName="sibTrans" presStyleCnt="0"/>
      <dgm:spPr/>
    </dgm:pt>
    <dgm:pt modelId="{20078D4A-9407-4B73-8600-5E5E2E45AF55}" type="pres">
      <dgm:prSet presAssocID="{CC3FBD34-21EF-4F7A-91BA-041F66FF17EB}" presName="compNode" presStyleCnt="0"/>
      <dgm:spPr/>
    </dgm:pt>
    <dgm:pt modelId="{79769D31-4D61-44F4-B8FC-40A69DA070DF}" type="pres">
      <dgm:prSet presAssocID="{CC3FBD34-21EF-4F7A-91BA-041F66FF17EB}" presName="bgRect" presStyleLbl="bgShp" presStyleIdx="2" presStyleCnt="4"/>
      <dgm:spPr/>
    </dgm:pt>
    <dgm:pt modelId="{D60422D3-F58A-49BB-A0BD-DE101CC22BD1}" type="pres">
      <dgm:prSet presAssocID="{CC3FBD34-21EF-4F7A-91BA-041F66FF17EB}" presName="iconRect" presStyleLbl="node1" presStyleIdx="2" presStyleCnt="4"/>
      <dgm:spPr>
        <a:blipFill>
          <a:blip xmlns:r="http://schemas.openxmlformats.org/officeDocument/2006/relationships"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a:blipFill>
        <a:ln>
          <a:noFill/>
        </a:ln>
      </dgm:spPr>
      <dgm:extLst>
        <a:ext uri="{E40237B7-FDA0-4F09-8148-C483321AD2D9}">
          <dgm14:cNvPr xmlns:dgm14="http://schemas.microsoft.com/office/drawing/2010/diagram" id="0" name="" descr="Map with pin"/>
        </a:ext>
      </dgm:extLst>
    </dgm:pt>
    <dgm:pt modelId="{C24567A5-3888-445A-967D-600DEA6578B5}" type="pres">
      <dgm:prSet presAssocID="{CC3FBD34-21EF-4F7A-91BA-041F66FF17EB}" presName="spaceRect" presStyleCnt="0"/>
      <dgm:spPr/>
    </dgm:pt>
    <dgm:pt modelId="{2A322C2C-ABE7-4497-9613-E171DC36D5F2}" type="pres">
      <dgm:prSet presAssocID="{CC3FBD34-21EF-4F7A-91BA-041F66FF17EB}" presName="parTx" presStyleLbl="revTx" presStyleIdx="4" presStyleCnt="8">
        <dgm:presLayoutVars>
          <dgm:chMax val="0"/>
          <dgm:chPref val="0"/>
        </dgm:presLayoutVars>
      </dgm:prSet>
      <dgm:spPr/>
    </dgm:pt>
    <dgm:pt modelId="{5F37A2C4-D4D7-401F-876B-C129DC3E36C3}" type="pres">
      <dgm:prSet presAssocID="{CC3FBD34-21EF-4F7A-91BA-041F66FF17EB}" presName="desTx" presStyleLbl="revTx" presStyleIdx="5" presStyleCnt="8">
        <dgm:presLayoutVars/>
      </dgm:prSet>
      <dgm:spPr/>
    </dgm:pt>
    <dgm:pt modelId="{62838662-CA7C-4180-891E-8FA9866E4C22}" type="pres">
      <dgm:prSet presAssocID="{D4155792-097C-4322-A401-6F958BAAF120}" presName="sibTrans" presStyleCnt="0"/>
      <dgm:spPr/>
    </dgm:pt>
    <dgm:pt modelId="{B38F7E4D-38F0-40DE-9234-E7004523C343}" type="pres">
      <dgm:prSet presAssocID="{07F0B364-EC39-4C37-B591-B2805B1AABE0}" presName="compNode" presStyleCnt="0"/>
      <dgm:spPr/>
    </dgm:pt>
    <dgm:pt modelId="{9433611F-82D4-40A7-93E4-DB20B1F0EE91}" type="pres">
      <dgm:prSet presAssocID="{07F0B364-EC39-4C37-B591-B2805B1AABE0}" presName="bgRect" presStyleLbl="bgShp" presStyleIdx="3" presStyleCnt="4"/>
      <dgm:spPr/>
    </dgm:pt>
    <dgm:pt modelId="{1CDBFE2D-F7AA-437F-B03A-DABE8F554B97}" type="pres">
      <dgm:prSet presAssocID="{07F0B364-EC39-4C37-B591-B2805B1AABE0}" presName="iconRect" presStyleLbl="node1" presStyleIdx="3" presStyleCnt="4"/>
      <dgm:spPr>
        <a:blipFill>
          <a:blip xmlns:r="http://schemas.openxmlformats.org/officeDocument/2006/relationships"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a:blipFill>
        <a:ln>
          <a:noFill/>
        </a:ln>
      </dgm:spPr>
      <dgm:extLst>
        <a:ext uri="{E40237B7-FDA0-4F09-8148-C483321AD2D9}">
          <dgm14:cNvPr xmlns:dgm14="http://schemas.microsoft.com/office/drawing/2010/diagram" id="0" name="" descr="Play"/>
        </a:ext>
      </dgm:extLst>
    </dgm:pt>
    <dgm:pt modelId="{3DE9BD0B-36EA-49A9-B758-547E6D21DBBA}" type="pres">
      <dgm:prSet presAssocID="{07F0B364-EC39-4C37-B591-B2805B1AABE0}" presName="spaceRect" presStyleCnt="0"/>
      <dgm:spPr/>
    </dgm:pt>
    <dgm:pt modelId="{DEAD3A43-742B-483B-A8BD-12FFE6ED364F}" type="pres">
      <dgm:prSet presAssocID="{07F0B364-EC39-4C37-B591-B2805B1AABE0}" presName="parTx" presStyleLbl="revTx" presStyleIdx="6" presStyleCnt="8">
        <dgm:presLayoutVars>
          <dgm:chMax val="0"/>
          <dgm:chPref val="0"/>
        </dgm:presLayoutVars>
      </dgm:prSet>
      <dgm:spPr/>
    </dgm:pt>
    <dgm:pt modelId="{C562D839-7546-4268-A618-F26D0036C818}" type="pres">
      <dgm:prSet presAssocID="{07F0B364-EC39-4C37-B591-B2805B1AABE0}" presName="desTx" presStyleLbl="revTx" presStyleIdx="7" presStyleCnt="8">
        <dgm:presLayoutVars/>
      </dgm:prSet>
      <dgm:spPr/>
    </dgm:pt>
  </dgm:ptLst>
  <dgm:cxnLst>
    <dgm:cxn modelId="{36EAB501-26A3-441E-A7FC-0484FC3475E5}" srcId="{E829E274-7A73-4923-A101-D82B4A1340A7}" destId="{5138AB67-462A-4EF2-BF96-7EA50ECF953E}" srcOrd="0" destOrd="0" parTransId="{49073CB1-A976-4C5C-B9D7-8A8A530D6E42}" sibTransId="{64AE2908-4EF3-45CF-8C7F-A4CF7292B8B8}"/>
    <dgm:cxn modelId="{F69B1A06-33EB-4BD4-8548-AB112F413814}" type="presOf" srcId="{5138AB67-462A-4EF2-BF96-7EA50ECF953E}" destId="{04BA9129-8E0A-4057-817F-177F30CD757D}" srcOrd="0" destOrd="0" presId="urn:microsoft.com/office/officeart/2018/2/layout/IconVerticalSolidList"/>
    <dgm:cxn modelId="{E7061510-8166-4CA8-BBAC-D356BE839919}" srcId="{C75C7FA9-825B-4785-9186-E589B9A4A524}" destId="{CC3FBD34-21EF-4F7A-91BA-041F66FF17EB}" srcOrd="2" destOrd="0" parTransId="{F6411662-A908-4A92-B36D-2D515F73BFAE}" sibTransId="{D4155792-097C-4322-A401-6F958BAAF120}"/>
    <dgm:cxn modelId="{46CD5B10-E078-4812-AFF6-018DC0F609BA}" type="presOf" srcId="{CC3FBD34-21EF-4F7A-91BA-041F66FF17EB}" destId="{2A322C2C-ABE7-4497-9613-E171DC36D5F2}" srcOrd="0" destOrd="0" presId="urn:microsoft.com/office/officeart/2018/2/layout/IconVerticalSolidList"/>
    <dgm:cxn modelId="{7152572A-5F83-4B48-B5F4-1E6AFFF4EDB5}" type="presOf" srcId="{A87109F5-B91F-4EDD-8C04-8C242CB7449B}" destId="{A34C8503-3205-41F1-B829-AA6ACD257BE6}" srcOrd="0" destOrd="0" presId="urn:microsoft.com/office/officeart/2018/2/layout/IconVerticalSolidList"/>
    <dgm:cxn modelId="{46C4A48C-BE95-4962-9F89-4F05C8F2413B}" type="presOf" srcId="{2CA4EFF8-DA67-4388-AA3F-96CCC109AEF6}" destId="{6524671A-AF9E-4E2F-AB95-74588226AFEE}" srcOrd="0" destOrd="0" presId="urn:microsoft.com/office/officeart/2018/2/layout/IconVerticalSolidList"/>
    <dgm:cxn modelId="{0DDB2390-E364-49E7-8DD2-CF29F34AB8EC}" srcId="{CC3FBD34-21EF-4F7A-91BA-041F66FF17EB}" destId="{BC23A19B-AEAC-4375-884E-E5A1BB13CCC2}" srcOrd="0" destOrd="0" parTransId="{FFFB9497-F73B-455F-AFF8-8EB5CA985F26}" sibTransId="{3EE7B8CF-BB57-4D98-A82C-2987C34D96A8}"/>
    <dgm:cxn modelId="{67E26A9C-B810-4641-82AA-D998381E3CDF}" type="presOf" srcId="{C75C7FA9-825B-4785-9186-E589B9A4A524}" destId="{E025519D-98FF-45A9-8C00-C8DF5B4F5594}" srcOrd="0" destOrd="0" presId="urn:microsoft.com/office/officeart/2018/2/layout/IconVerticalSolidList"/>
    <dgm:cxn modelId="{B55D4E9F-509E-4BEB-B3E7-FEDC4EE8A26A}" srcId="{2CA4EFF8-DA67-4388-AA3F-96CCC109AEF6}" destId="{A87109F5-B91F-4EDD-8C04-8C242CB7449B}" srcOrd="0" destOrd="0" parTransId="{83BFC818-CEBE-424B-A7FF-BDD00636D70D}" sibTransId="{B658DEA7-DF2E-4C99-BC69-DD70A840760F}"/>
    <dgm:cxn modelId="{A03284AB-A9B8-4D6E-AD1C-63ECBA5C6CEE}" srcId="{C75C7FA9-825B-4785-9186-E589B9A4A524}" destId="{2CA4EFF8-DA67-4388-AA3F-96CCC109AEF6}" srcOrd="1" destOrd="0" parTransId="{F3DC9E18-3B05-4AEA-9796-F7A449AF216B}" sibTransId="{BD5BE3F8-91F6-40DB-A738-8CB876D74C6A}"/>
    <dgm:cxn modelId="{94C03FB2-7D61-4DD2-9902-D73AAA6B9885}" type="presOf" srcId="{07F0B364-EC39-4C37-B591-B2805B1AABE0}" destId="{DEAD3A43-742B-483B-A8BD-12FFE6ED364F}" srcOrd="0" destOrd="0" presId="urn:microsoft.com/office/officeart/2018/2/layout/IconVerticalSolidList"/>
    <dgm:cxn modelId="{71D614BC-D3D4-4CF4-8DE2-11CAF632D5F4}" type="presOf" srcId="{BC23A19B-AEAC-4375-884E-E5A1BB13CCC2}" destId="{5F37A2C4-D4D7-401F-876B-C129DC3E36C3}" srcOrd="0" destOrd="0" presId="urn:microsoft.com/office/officeart/2018/2/layout/IconVerticalSolidList"/>
    <dgm:cxn modelId="{F88601DC-E444-4297-9862-5C9644BF2BFD}" type="presOf" srcId="{E829E274-7A73-4923-A101-D82B4A1340A7}" destId="{BA26A61C-0D83-480A-B697-750DAE1B6F6A}" srcOrd="0" destOrd="0" presId="urn:microsoft.com/office/officeart/2018/2/layout/IconVerticalSolidList"/>
    <dgm:cxn modelId="{0330DFE3-F322-4D7D-A284-FBAEEC7DFA00}" srcId="{07F0B364-EC39-4C37-B591-B2805B1AABE0}" destId="{1A889DAD-5ABD-4BB9-89F7-F6130696212B}" srcOrd="0" destOrd="0" parTransId="{BCEA2936-F026-4730-8C44-8D86D1218F04}" sibTransId="{2440E75F-18F4-451A-811C-F3C1A4BF517D}"/>
    <dgm:cxn modelId="{3E4819EA-86D6-4CBE-8826-97686FC01DEC}" srcId="{C75C7FA9-825B-4785-9186-E589B9A4A524}" destId="{07F0B364-EC39-4C37-B591-B2805B1AABE0}" srcOrd="3" destOrd="0" parTransId="{75AF3C38-1F45-45F0-8389-0161F5B8D6C4}" sibTransId="{AF6AA237-78D9-4E99-B6D1-AD3AD7511642}"/>
    <dgm:cxn modelId="{E9A1CBF2-4B95-46FF-8C13-42C137AD73C2}" srcId="{C75C7FA9-825B-4785-9186-E589B9A4A524}" destId="{E829E274-7A73-4923-A101-D82B4A1340A7}" srcOrd="0" destOrd="0" parTransId="{49BC22A0-B680-4DC2-B55A-CB08580C0C94}" sibTransId="{D4BAACEA-90D0-47BC-BE27-615D3A50192C}"/>
    <dgm:cxn modelId="{6BBF4CFC-E4B9-4F87-9138-AB3107D0413E}" type="presOf" srcId="{1A889DAD-5ABD-4BB9-89F7-F6130696212B}" destId="{C562D839-7546-4268-A618-F26D0036C818}" srcOrd="0" destOrd="0" presId="urn:microsoft.com/office/officeart/2018/2/layout/IconVerticalSolidList"/>
    <dgm:cxn modelId="{EB4A9BDD-6C0D-49C4-9183-AF248980DE08}" type="presParOf" srcId="{E025519D-98FF-45A9-8C00-C8DF5B4F5594}" destId="{C5E437DC-E9F8-47A6-8F0C-A93CEC07874C}" srcOrd="0" destOrd="0" presId="urn:microsoft.com/office/officeart/2018/2/layout/IconVerticalSolidList"/>
    <dgm:cxn modelId="{A32F2EED-2DA5-4AF6-8353-67323BA0AD8D}" type="presParOf" srcId="{C5E437DC-E9F8-47A6-8F0C-A93CEC07874C}" destId="{22524250-5118-4686-A298-18A7C893136C}" srcOrd="0" destOrd="0" presId="urn:microsoft.com/office/officeart/2018/2/layout/IconVerticalSolidList"/>
    <dgm:cxn modelId="{A0BC2091-6E03-45E8-9282-C6A706DE2301}" type="presParOf" srcId="{C5E437DC-E9F8-47A6-8F0C-A93CEC07874C}" destId="{95818EA8-84F5-4F8B-A077-29255B7A9660}" srcOrd="1" destOrd="0" presId="urn:microsoft.com/office/officeart/2018/2/layout/IconVerticalSolidList"/>
    <dgm:cxn modelId="{A3727DD3-F544-45D1-BCB7-80ED710690E7}" type="presParOf" srcId="{C5E437DC-E9F8-47A6-8F0C-A93CEC07874C}" destId="{0B5486FA-DBE9-42F2-A880-13C798CA099E}" srcOrd="2" destOrd="0" presId="urn:microsoft.com/office/officeart/2018/2/layout/IconVerticalSolidList"/>
    <dgm:cxn modelId="{0A9789BA-280B-4BCD-A2BB-35BBA0266A3E}" type="presParOf" srcId="{C5E437DC-E9F8-47A6-8F0C-A93CEC07874C}" destId="{BA26A61C-0D83-480A-B697-750DAE1B6F6A}" srcOrd="3" destOrd="0" presId="urn:microsoft.com/office/officeart/2018/2/layout/IconVerticalSolidList"/>
    <dgm:cxn modelId="{05D8DDBE-86D4-4C0E-B821-31A5AD09ED5D}" type="presParOf" srcId="{C5E437DC-E9F8-47A6-8F0C-A93CEC07874C}" destId="{04BA9129-8E0A-4057-817F-177F30CD757D}" srcOrd="4" destOrd="0" presId="urn:microsoft.com/office/officeart/2018/2/layout/IconVerticalSolidList"/>
    <dgm:cxn modelId="{8EFF41F3-1D67-487F-98B3-8CB45752A5BE}" type="presParOf" srcId="{E025519D-98FF-45A9-8C00-C8DF5B4F5594}" destId="{A32BEE5D-65EF-41D3-B6FE-6559E64BC242}" srcOrd="1" destOrd="0" presId="urn:microsoft.com/office/officeart/2018/2/layout/IconVerticalSolidList"/>
    <dgm:cxn modelId="{25A22304-8CA4-4415-BC55-0FB7BEAC89ED}" type="presParOf" srcId="{E025519D-98FF-45A9-8C00-C8DF5B4F5594}" destId="{6DC024F9-5A4E-4E48-B6A0-8F36F262223F}" srcOrd="2" destOrd="0" presId="urn:microsoft.com/office/officeart/2018/2/layout/IconVerticalSolidList"/>
    <dgm:cxn modelId="{F253BD0D-CCA6-4E2F-A1E2-4F3F5D517D47}" type="presParOf" srcId="{6DC024F9-5A4E-4E48-B6A0-8F36F262223F}" destId="{AB03A77A-D534-47C2-8654-56C865136BE8}" srcOrd="0" destOrd="0" presId="urn:microsoft.com/office/officeart/2018/2/layout/IconVerticalSolidList"/>
    <dgm:cxn modelId="{804C4B6E-6870-42DF-9080-A4355D90A005}" type="presParOf" srcId="{6DC024F9-5A4E-4E48-B6A0-8F36F262223F}" destId="{C518AA04-CE47-43C0-ACB2-976424A9F061}" srcOrd="1" destOrd="0" presId="urn:microsoft.com/office/officeart/2018/2/layout/IconVerticalSolidList"/>
    <dgm:cxn modelId="{D6944405-1417-4C2B-A103-581FD236E009}" type="presParOf" srcId="{6DC024F9-5A4E-4E48-B6A0-8F36F262223F}" destId="{B702DDC6-47E5-4316-9952-EAA44C688681}" srcOrd="2" destOrd="0" presId="urn:microsoft.com/office/officeart/2018/2/layout/IconVerticalSolidList"/>
    <dgm:cxn modelId="{32CBE9F1-5CDA-4549-91F8-7CE2B10E4C95}" type="presParOf" srcId="{6DC024F9-5A4E-4E48-B6A0-8F36F262223F}" destId="{6524671A-AF9E-4E2F-AB95-74588226AFEE}" srcOrd="3" destOrd="0" presId="urn:microsoft.com/office/officeart/2018/2/layout/IconVerticalSolidList"/>
    <dgm:cxn modelId="{2B430065-307A-4620-A84D-3CC124BB8276}" type="presParOf" srcId="{6DC024F9-5A4E-4E48-B6A0-8F36F262223F}" destId="{A34C8503-3205-41F1-B829-AA6ACD257BE6}" srcOrd="4" destOrd="0" presId="urn:microsoft.com/office/officeart/2018/2/layout/IconVerticalSolidList"/>
    <dgm:cxn modelId="{59329C92-4485-4124-85C2-FB96ECB09676}" type="presParOf" srcId="{E025519D-98FF-45A9-8C00-C8DF5B4F5594}" destId="{E80EEBE3-789E-4AFF-86EA-8B52168ACF06}" srcOrd="3" destOrd="0" presId="urn:microsoft.com/office/officeart/2018/2/layout/IconVerticalSolidList"/>
    <dgm:cxn modelId="{93B41840-3064-4523-A5B6-A4B5DCD4615F}" type="presParOf" srcId="{E025519D-98FF-45A9-8C00-C8DF5B4F5594}" destId="{20078D4A-9407-4B73-8600-5E5E2E45AF55}" srcOrd="4" destOrd="0" presId="urn:microsoft.com/office/officeart/2018/2/layout/IconVerticalSolidList"/>
    <dgm:cxn modelId="{A0C0741B-B0A3-4E8D-B37B-D83C9D738FEA}" type="presParOf" srcId="{20078D4A-9407-4B73-8600-5E5E2E45AF55}" destId="{79769D31-4D61-44F4-B8FC-40A69DA070DF}" srcOrd="0" destOrd="0" presId="urn:microsoft.com/office/officeart/2018/2/layout/IconVerticalSolidList"/>
    <dgm:cxn modelId="{F1B1DA11-19B8-483D-8379-71EDA3EA0AB5}" type="presParOf" srcId="{20078D4A-9407-4B73-8600-5E5E2E45AF55}" destId="{D60422D3-F58A-49BB-A0BD-DE101CC22BD1}" srcOrd="1" destOrd="0" presId="urn:microsoft.com/office/officeart/2018/2/layout/IconVerticalSolidList"/>
    <dgm:cxn modelId="{65400ABB-3705-48C6-AE08-1E356F9171D6}" type="presParOf" srcId="{20078D4A-9407-4B73-8600-5E5E2E45AF55}" destId="{C24567A5-3888-445A-967D-600DEA6578B5}" srcOrd="2" destOrd="0" presId="urn:microsoft.com/office/officeart/2018/2/layout/IconVerticalSolidList"/>
    <dgm:cxn modelId="{6F305CF2-A3D5-4648-9E16-A330DB378273}" type="presParOf" srcId="{20078D4A-9407-4B73-8600-5E5E2E45AF55}" destId="{2A322C2C-ABE7-4497-9613-E171DC36D5F2}" srcOrd="3" destOrd="0" presId="urn:microsoft.com/office/officeart/2018/2/layout/IconVerticalSolidList"/>
    <dgm:cxn modelId="{534F4B65-9072-488D-9E3D-000F0E14278E}" type="presParOf" srcId="{20078D4A-9407-4B73-8600-5E5E2E45AF55}" destId="{5F37A2C4-D4D7-401F-876B-C129DC3E36C3}" srcOrd="4" destOrd="0" presId="urn:microsoft.com/office/officeart/2018/2/layout/IconVerticalSolidList"/>
    <dgm:cxn modelId="{23437111-4EA0-4FC7-B83D-77B6794235DF}" type="presParOf" srcId="{E025519D-98FF-45A9-8C00-C8DF5B4F5594}" destId="{62838662-CA7C-4180-891E-8FA9866E4C22}" srcOrd="5" destOrd="0" presId="urn:microsoft.com/office/officeart/2018/2/layout/IconVerticalSolidList"/>
    <dgm:cxn modelId="{5E0EC86C-3BD3-4D50-8405-4737B0DC80E4}" type="presParOf" srcId="{E025519D-98FF-45A9-8C00-C8DF5B4F5594}" destId="{B38F7E4D-38F0-40DE-9234-E7004523C343}" srcOrd="6" destOrd="0" presId="urn:microsoft.com/office/officeart/2018/2/layout/IconVerticalSolidList"/>
    <dgm:cxn modelId="{3FA10DC4-7309-4360-8930-7E698CA08AE1}" type="presParOf" srcId="{B38F7E4D-38F0-40DE-9234-E7004523C343}" destId="{9433611F-82D4-40A7-93E4-DB20B1F0EE91}" srcOrd="0" destOrd="0" presId="urn:microsoft.com/office/officeart/2018/2/layout/IconVerticalSolidList"/>
    <dgm:cxn modelId="{A27B569F-5B6C-49EE-AAFB-274FB023B3AA}" type="presParOf" srcId="{B38F7E4D-38F0-40DE-9234-E7004523C343}" destId="{1CDBFE2D-F7AA-437F-B03A-DABE8F554B97}" srcOrd="1" destOrd="0" presId="urn:microsoft.com/office/officeart/2018/2/layout/IconVerticalSolidList"/>
    <dgm:cxn modelId="{B432B9DD-D71D-4178-AA78-0B957D767F42}" type="presParOf" srcId="{B38F7E4D-38F0-40DE-9234-E7004523C343}" destId="{3DE9BD0B-36EA-49A9-B758-547E6D21DBBA}" srcOrd="2" destOrd="0" presId="urn:microsoft.com/office/officeart/2018/2/layout/IconVerticalSolidList"/>
    <dgm:cxn modelId="{2D4B58DD-D144-4071-93E3-02EA9896ADA9}" type="presParOf" srcId="{B38F7E4D-38F0-40DE-9234-E7004523C343}" destId="{DEAD3A43-742B-483B-A8BD-12FFE6ED364F}" srcOrd="3" destOrd="0" presId="urn:microsoft.com/office/officeart/2018/2/layout/IconVerticalSolidList"/>
    <dgm:cxn modelId="{DA6BD06B-AB72-4128-BFF9-6AFE77512F72}" type="presParOf" srcId="{B38F7E4D-38F0-40DE-9234-E7004523C343}" destId="{C562D839-7546-4268-A618-F26D0036C818}" srcOrd="4" destOrd="0" presId="urn:microsoft.com/office/officeart/2018/2/layout/IconVerticalSolid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3.xml><?xml version="1.0" encoding="utf-8"?>
<dgm:dataModel xmlns:dgm="http://schemas.openxmlformats.org/drawingml/2006/diagram" xmlns:a="http://schemas.openxmlformats.org/drawingml/2006/main">
  <dgm:ptLst>
    <dgm:pt modelId="{833BCB81-3559-4E74-9A5D-FF7C979EE513}" type="doc">
      <dgm:prSet loTypeId="urn:microsoft.com/office/officeart/2018/2/layout/IconVerticalSolidList" loCatId="icon" qsTypeId="urn:microsoft.com/office/officeart/2005/8/quickstyle/simple1" qsCatId="simple" csTypeId="urn:microsoft.com/office/officeart/2018/5/colors/Iconchunking_neutralbg_colorful1" csCatId="colorful" phldr="1"/>
      <dgm:spPr/>
      <dgm:t>
        <a:bodyPr/>
        <a:lstStyle/>
        <a:p>
          <a:endParaRPr lang="en-US"/>
        </a:p>
      </dgm:t>
    </dgm:pt>
    <dgm:pt modelId="{381A67E6-42D7-4FDB-8D06-9787F7D93919}">
      <dgm:prSet/>
      <dgm:spPr/>
      <dgm:t>
        <a:bodyPr/>
        <a:lstStyle/>
        <a:p>
          <a:pPr>
            <a:lnSpc>
              <a:spcPct val="100000"/>
            </a:lnSpc>
          </a:pPr>
          <a:r>
            <a:rPr lang="en-US"/>
            <a:t>Certification</a:t>
          </a:r>
        </a:p>
      </dgm:t>
    </dgm:pt>
    <dgm:pt modelId="{FE22CA31-195D-4253-AE57-92BCA47D4709}" type="parTrans" cxnId="{7AFE804D-426A-4486-B305-4CC7EE4A6B28}">
      <dgm:prSet/>
      <dgm:spPr/>
      <dgm:t>
        <a:bodyPr/>
        <a:lstStyle/>
        <a:p>
          <a:endParaRPr lang="en-US"/>
        </a:p>
      </dgm:t>
    </dgm:pt>
    <dgm:pt modelId="{F7CC4B30-8FC4-4E7A-B2C9-EF1248D1E357}" type="sibTrans" cxnId="{7AFE804D-426A-4486-B305-4CC7EE4A6B28}">
      <dgm:prSet/>
      <dgm:spPr/>
      <dgm:t>
        <a:bodyPr/>
        <a:lstStyle/>
        <a:p>
          <a:endParaRPr lang="en-US"/>
        </a:p>
      </dgm:t>
    </dgm:pt>
    <dgm:pt modelId="{EE7AD244-2E64-4C2E-91A7-7235034D3DD0}">
      <dgm:prSet/>
      <dgm:spPr/>
      <dgm:t>
        <a:bodyPr/>
        <a:lstStyle/>
        <a:p>
          <a:pPr>
            <a:lnSpc>
              <a:spcPct val="100000"/>
            </a:lnSpc>
          </a:pPr>
          <a:r>
            <a:rPr lang="en-US"/>
            <a:t>Product knowledge</a:t>
          </a:r>
        </a:p>
      </dgm:t>
    </dgm:pt>
    <dgm:pt modelId="{CF0E6F9D-BBD0-4DBD-B25B-D780784FDEF7}" type="parTrans" cxnId="{854AD81B-8432-425B-88F9-86EA5340992D}">
      <dgm:prSet/>
      <dgm:spPr/>
      <dgm:t>
        <a:bodyPr/>
        <a:lstStyle/>
        <a:p>
          <a:endParaRPr lang="en-US"/>
        </a:p>
      </dgm:t>
    </dgm:pt>
    <dgm:pt modelId="{B456618B-24CC-44A6-8313-B873284E7305}" type="sibTrans" cxnId="{854AD81B-8432-425B-88F9-86EA5340992D}">
      <dgm:prSet/>
      <dgm:spPr/>
      <dgm:t>
        <a:bodyPr/>
        <a:lstStyle/>
        <a:p>
          <a:endParaRPr lang="en-US"/>
        </a:p>
      </dgm:t>
    </dgm:pt>
    <dgm:pt modelId="{5FB64D08-D458-4D8D-B14D-38C202F342B4}">
      <dgm:prSet/>
      <dgm:spPr/>
      <dgm:t>
        <a:bodyPr/>
        <a:lstStyle/>
        <a:p>
          <a:pPr>
            <a:lnSpc>
              <a:spcPct val="100000"/>
            </a:lnSpc>
          </a:pPr>
          <a:r>
            <a:rPr lang="en-US"/>
            <a:t>New job or career</a:t>
          </a:r>
        </a:p>
      </dgm:t>
    </dgm:pt>
    <dgm:pt modelId="{42731751-C32E-4BFC-8F95-217178EE4E5C}" type="parTrans" cxnId="{87A63342-72B9-4AE6-9877-8909D76A8F4E}">
      <dgm:prSet/>
      <dgm:spPr/>
      <dgm:t>
        <a:bodyPr/>
        <a:lstStyle/>
        <a:p>
          <a:endParaRPr lang="en-US"/>
        </a:p>
      </dgm:t>
    </dgm:pt>
    <dgm:pt modelId="{5500524E-5131-4970-A582-39CACA113438}" type="sibTrans" cxnId="{87A63342-72B9-4AE6-9877-8909D76A8F4E}">
      <dgm:prSet/>
      <dgm:spPr/>
      <dgm:t>
        <a:bodyPr/>
        <a:lstStyle/>
        <a:p>
          <a:endParaRPr lang="en-US"/>
        </a:p>
      </dgm:t>
    </dgm:pt>
    <dgm:pt modelId="{9775AEBB-CB68-4A14-8C93-881B631C0EC5}">
      <dgm:prSet/>
      <dgm:spPr/>
      <dgm:t>
        <a:bodyPr/>
        <a:lstStyle/>
        <a:p>
          <a:pPr>
            <a:lnSpc>
              <a:spcPct val="100000"/>
            </a:lnSpc>
          </a:pPr>
          <a:r>
            <a:rPr lang="en-US" dirty="0"/>
            <a:t>You just like being the smartest kid on the block</a:t>
          </a:r>
        </a:p>
      </dgm:t>
    </dgm:pt>
    <dgm:pt modelId="{C485F58F-D931-4DA5-9905-F52326B3F383}" type="parTrans" cxnId="{9C4F2D65-9656-46C0-B6DB-658A7B7D7DF0}">
      <dgm:prSet/>
      <dgm:spPr/>
      <dgm:t>
        <a:bodyPr/>
        <a:lstStyle/>
        <a:p>
          <a:endParaRPr lang="en-US"/>
        </a:p>
      </dgm:t>
    </dgm:pt>
    <dgm:pt modelId="{CC95E3AF-A6F8-487A-A375-2425FC44DF3A}" type="sibTrans" cxnId="{9C4F2D65-9656-46C0-B6DB-658A7B7D7DF0}">
      <dgm:prSet/>
      <dgm:spPr/>
      <dgm:t>
        <a:bodyPr/>
        <a:lstStyle/>
        <a:p>
          <a:endParaRPr lang="en-US"/>
        </a:p>
      </dgm:t>
    </dgm:pt>
    <dgm:pt modelId="{9DDAAD5D-5885-41DF-B9AA-48C723D2E3E3}" type="pres">
      <dgm:prSet presAssocID="{833BCB81-3559-4E74-9A5D-FF7C979EE513}" presName="root" presStyleCnt="0">
        <dgm:presLayoutVars>
          <dgm:dir/>
          <dgm:resizeHandles val="exact"/>
        </dgm:presLayoutVars>
      </dgm:prSet>
      <dgm:spPr/>
    </dgm:pt>
    <dgm:pt modelId="{9CD2DB57-3AA2-45D6-AE70-FCF444DD5275}" type="pres">
      <dgm:prSet presAssocID="{381A67E6-42D7-4FDB-8D06-9787F7D93919}" presName="compNode" presStyleCnt="0"/>
      <dgm:spPr/>
    </dgm:pt>
    <dgm:pt modelId="{6C9FB915-728A-4D40-B0A9-896F1317208D}" type="pres">
      <dgm:prSet presAssocID="{381A67E6-42D7-4FDB-8D06-9787F7D93919}" presName="bgRect" presStyleLbl="bgShp" presStyleIdx="0" presStyleCnt="4"/>
      <dgm:spPr/>
    </dgm:pt>
    <dgm:pt modelId="{8CC9B8D1-0666-4A6F-8158-99F657F5539C}" type="pres">
      <dgm:prSet presAssocID="{381A67E6-42D7-4FDB-8D06-9787F7D93919}" presName="iconRect" presStyleLbl="node1" presStyleIdx="0" presStyleCnt="4"/>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a:noFill/>
        </a:ln>
      </dgm:spPr>
      <dgm:extLst>
        <a:ext uri="{E40237B7-FDA0-4F09-8148-C483321AD2D9}">
          <dgm14:cNvPr xmlns:dgm14="http://schemas.microsoft.com/office/drawing/2010/diagram" id="0" name="" descr="Diploma"/>
        </a:ext>
      </dgm:extLst>
    </dgm:pt>
    <dgm:pt modelId="{61605044-29B9-42AE-A679-1B077596F638}" type="pres">
      <dgm:prSet presAssocID="{381A67E6-42D7-4FDB-8D06-9787F7D93919}" presName="spaceRect" presStyleCnt="0"/>
      <dgm:spPr/>
    </dgm:pt>
    <dgm:pt modelId="{D9F95DA0-3EB9-4CF7-BB48-0B2713F237C6}" type="pres">
      <dgm:prSet presAssocID="{381A67E6-42D7-4FDB-8D06-9787F7D93919}" presName="parTx" presStyleLbl="revTx" presStyleIdx="0" presStyleCnt="4">
        <dgm:presLayoutVars>
          <dgm:chMax val="0"/>
          <dgm:chPref val="0"/>
        </dgm:presLayoutVars>
      </dgm:prSet>
      <dgm:spPr/>
    </dgm:pt>
    <dgm:pt modelId="{7C40C97D-1B55-4B6B-8CA2-94327A0621B9}" type="pres">
      <dgm:prSet presAssocID="{F7CC4B30-8FC4-4E7A-B2C9-EF1248D1E357}" presName="sibTrans" presStyleCnt="0"/>
      <dgm:spPr/>
    </dgm:pt>
    <dgm:pt modelId="{4DBD946A-9C13-408F-B8D8-73631113F13B}" type="pres">
      <dgm:prSet presAssocID="{EE7AD244-2E64-4C2E-91A7-7235034D3DD0}" presName="compNode" presStyleCnt="0"/>
      <dgm:spPr/>
    </dgm:pt>
    <dgm:pt modelId="{BCE35A02-70A2-479F-BAFF-CCDBA6E4D1E4}" type="pres">
      <dgm:prSet presAssocID="{EE7AD244-2E64-4C2E-91A7-7235034D3DD0}" presName="bgRect" presStyleLbl="bgShp" presStyleIdx="1" presStyleCnt="4"/>
      <dgm:spPr/>
    </dgm:pt>
    <dgm:pt modelId="{57C5D00F-7BA5-4171-89F9-907792A67477}" type="pres">
      <dgm:prSet presAssocID="{EE7AD244-2E64-4C2E-91A7-7235034D3DD0}" presName="iconRect" presStyleLbl="node1" presStyleIdx="1" presStyleCnt="4"/>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dgm:spPr>
      <dgm:extLst>
        <a:ext uri="{E40237B7-FDA0-4F09-8148-C483321AD2D9}">
          <dgm14:cNvPr xmlns:dgm14="http://schemas.microsoft.com/office/drawing/2010/diagram" id="0" name="" descr="Head with Gears"/>
        </a:ext>
      </dgm:extLst>
    </dgm:pt>
    <dgm:pt modelId="{5DA887D2-9D4B-488F-A1C4-D7E7D673F352}" type="pres">
      <dgm:prSet presAssocID="{EE7AD244-2E64-4C2E-91A7-7235034D3DD0}" presName="spaceRect" presStyleCnt="0"/>
      <dgm:spPr/>
    </dgm:pt>
    <dgm:pt modelId="{D830E054-3F11-4452-9458-FFCA7D687FAD}" type="pres">
      <dgm:prSet presAssocID="{EE7AD244-2E64-4C2E-91A7-7235034D3DD0}" presName="parTx" presStyleLbl="revTx" presStyleIdx="1" presStyleCnt="4">
        <dgm:presLayoutVars>
          <dgm:chMax val="0"/>
          <dgm:chPref val="0"/>
        </dgm:presLayoutVars>
      </dgm:prSet>
      <dgm:spPr/>
    </dgm:pt>
    <dgm:pt modelId="{960262DA-2B7A-4D10-A957-432727CD1673}" type="pres">
      <dgm:prSet presAssocID="{B456618B-24CC-44A6-8313-B873284E7305}" presName="sibTrans" presStyleCnt="0"/>
      <dgm:spPr/>
    </dgm:pt>
    <dgm:pt modelId="{1361F368-FFB2-4C2F-B072-944C4D756625}" type="pres">
      <dgm:prSet presAssocID="{5FB64D08-D458-4D8D-B14D-38C202F342B4}" presName="compNode" presStyleCnt="0"/>
      <dgm:spPr/>
    </dgm:pt>
    <dgm:pt modelId="{6C005DA2-1BCA-43E4-82ED-CF6F6458F4F0}" type="pres">
      <dgm:prSet presAssocID="{5FB64D08-D458-4D8D-B14D-38C202F342B4}" presName="bgRect" presStyleLbl="bgShp" presStyleIdx="2" presStyleCnt="4"/>
      <dgm:spPr/>
    </dgm:pt>
    <dgm:pt modelId="{1C121CEE-FD29-49CF-B7B6-BE73A5C32661}" type="pres">
      <dgm:prSet presAssocID="{5FB64D08-D458-4D8D-B14D-38C202F342B4}" presName="iconRect" presStyleLbl="node1" presStyleIdx="2" presStyleCnt="4"/>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a:noFill/>
        </a:ln>
      </dgm:spPr>
      <dgm:extLst>
        <a:ext uri="{E40237B7-FDA0-4F09-8148-C483321AD2D9}">
          <dgm14:cNvPr xmlns:dgm14="http://schemas.microsoft.com/office/drawing/2010/diagram" id="0" name="" descr="Briefcase"/>
        </a:ext>
      </dgm:extLst>
    </dgm:pt>
    <dgm:pt modelId="{88100FF4-C395-4DB4-8CCA-FC3F003F35F5}" type="pres">
      <dgm:prSet presAssocID="{5FB64D08-D458-4D8D-B14D-38C202F342B4}" presName="spaceRect" presStyleCnt="0"/>
      <dgm:spPr/>
    </dgm:pt>
    <dgm:pt modelId="{0C867770-332E-478A-A3DA-5CC4AF68954D}" type="pres">
      <dgm:prSet presAssocID="{5FB64D08-D458-4D8D-B14D-38C202F342B4}" presName="parTx" presStyleLbl="revTx" presStyleIdx="2" presStyleCnt="4">
        <dgm:presLayoutVars>
          <dgm:chMax val="0"/>
          <dgm:chPref val="0"/>
        </dgm:presLayoutVars>
      </dgm:prSet>
      <dgm:spPr/>
    </dgm:pt>
    <dgm:pt modelId="{004817E3-E902-4083-8E4C-9250EAA9FFD9}" type="pres">
      <dgm:prSet presAssocID="{5500524E-5131-4970-A582-39CACA113438}" presName="sibTrans" presStyleCnt="0"/>
      <dgm:spPr/>
    </dgm:pt>
    <dgm:pt modelId="{AFA5523F-A2F6-41D6-8170-7B79D8C9B2E0}" type="pres">
      <dgm:prSet presAssocID="{9775AEBB-CB68-4A14-8C93-881B631C0EC5}" presName="compNode" presStyleCnt="0"/>
      <dgm:spPr/>
    </dgm:pt>
    <dgm:pt modelId="{866B7CBF-78CF-47AB-B126-25D3BC03C7B8}" type="pres">
      <dgm:prSet presAssocID="{9775AEBB-CB68-4A14-8C93-881B631C0EC5}" presName="bgRect" presStyleLbl="bgShp" presStyleIdx="3" presStyleCnt="4"/>
      <dgm:spPr/>
    </dgm:pt>
    <dgm:pt modelId="{C7A9010C-3276-4D1F-B624-2CF1622CA395}" type="pres">
      <dgm:prSet presAssocID="{9775AEBB-CB68-4A14-8C93-881B631C0EC5}" presName="iconRect" presStyleLbl="node1" presStyleIdx="3" presStyleCnt="4"/>
      <dgm:spPr>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a:noFill/>
        </a:ln>
      </dgm:spPr>
      <dgm:extLst>
        <a:ext uri="{E40237B7-FDA0-4F09-8148-C483321AD2D9}">
          <dgm14:cNvPr xmlns:dgm14="http://schemas.microsoft.com/office/drawing/2010/diagram" id="0" name="" descr="Parent and Child"/>
        </a:ext>
      </dgm:extLst>
    </dgm:pt>
    <dgm:pt modelId="{7D5F1BAB-7D75-44DF-807C-7CE9E37EA44D}" type="pres">
      <dgm:prSet presAssocID="{9775AEBB-CB68-4A14-8C93-881B631C0EC5}" presName="spaceRect" presStyleCnt="0"/>
      <dgm:spPr/>
    </dgm:pt>
    <dgm:pt modelId="{CF82A997-C83C-466D-80CE-D6788BC936C1}" type="pres">
      <dgm:prSet presAssocID="{9775AEBB-CB68-4A14-8C93-881B631C0EC5}" presName="parTx" presStyleLbl="revTx" presStyleIdx="3" presStyleCnt="4">
        <dgm:presLayoutVars>
          <dgm:chMax val="0"/>
          <dgm:chPref val="0"/>
        </dgm:presLayoutVars>
      </dgm:prSet>
      <dgm:spPr/>
    </dgm:pt>
  </dgm:ptLst>
  <dgm:cxnLst>
    <dgm:cxn modelId="{854AD81B-8432-425B-88F9-86EA5340992D}" srcId="{833BCB81-3559-4E74-9A5D-FF7C979EE513}" destId="{EE7AD244-2E64-4C2E-91A7-7235034D3DD0}" srcOrd="1" destOrd="0" parTransId="{CF0E6F9D-BBD0-4DBD-B25B-D780784FDEF7}" sibTransId="{B456618B-24CC-44A6-8313-B873284E7305}"/>
    <dgm:cxn modelId="{D575F22C-9A2A-4814-8B70-C94969EF2721}" type="presOf" srcId="{9775AEBB-CB68-4A14-8C93-881B631C0EC5}" destId="{CF82A997-C83C-466D-80CE-D6788BC936C1}" srcOrd="0" destOrd="0" presId="urn:microsoft.com/office/officeart/2018/2/layout/IconVerticalSolidList"/>
    <dgm:cxn modelId="{3CE7912D-9588-41DB-A49F-22E74CD75E64}" type="presOf" srcId="{EE7AD244-2E64-4C2E-91A7-7235034D3DD0}" destId="{D830E054-3F11-4452-9458-FFCA7D687FAD}" srcOrd="0" destOrd="0" presId="urn:microsoft.com/office/officeart/2018/2/layout/IconVerticalSolidList"/>
    <dgm:cxn modelId="{8250BE31-16E1-4ECD-B0AE-4A6F4AA07B7B}" type="presOf" srcId="{381A67E6-42D7-4FDB-8D06-9787F7D93919}" destId="{D9F95DA0-3EB9-4CF7-BB48-0B2713F237C6}" srcOrd="0" destOrd="0" presId="urn:microsoft.com/office/officeart/2018/2/layout/IconVerticalSolidList"/>
    <dgm:cxn modelId="{87A63342-72B9-4AE6-9877-8909D76A8F4E}" srcId="{833BCB81-3559-4E74-9A5D-FF7C979EE513}" destId="{5FB64D08-D458-4D8D-B14D-38C202F342B4}" srcOrd="2" destOrd="0" parTransId="{42731751-C32E-4BFC-8F95-217178EE4E5C}" sibTransId="{5500524E-5131-4970-A582-39CACA113438}"/>
    <dgm:cxn modelId="{9C4F2D65-9656-46C0-B6DB-658A7B7D7DF0}" srcId="{833BCB81-3559-4E74-9A5D-FF7C979EE513}" destId="{9775AEBB-CB68-4A14-8C93-881B631C0EC5}" srcOrd="3" destOrd="0" parTransId="{C485F58F-D931-4DA5-9905-F52326B3F383}" sibTransId="{CC95E3AF-A6F8-487A-A375-2425FC44DF3A}"/>
    <dgm:cxn modelId="{7AFE804D-426A-4486-B305-4CC7EE4A6B28}" srcId="{833BCB81-3559-4E74-9A5D-FF7C979EE513}" destId="{381A67E6-42D7-4FDB-8D06-9787F7D93919}" srcOrd="0" destOrd="0" parTransId="{FE22CA31-195D-4253-AE57-92BCA47D4709}" sibTransId="{F7CC4B30-8FC4-4E7A-B2C9-EF1248D1E357}"/>
    <dgm:cxn modelId="{2552CDB5-B96F-4863-B498-64CC1ABD5F37}" type="presOf" srcId="{833BCB81-3559-4E74-9A5D-FF7C979EE513}" destId="{9DDAAD5D-5885-41DF-B9AA-48C723D2E3E3}" srcOrd="0" destOrd="0" presId="urn:microsoft.com/office/officeart/2018/2/layout/IconVerticalSolidList"/>
    <dgm:cxn modelId="{8838E2F9-69AB-4F7B-9333-62E0FC9B0D00}" type="presOf" srcId="{5FB64D08-D458-4D8D-B14D-38C202F342B4}" destId="{0C867770-332E-478A-A3DA-5CC4AF68954D}" srcOrd="0" destOrd="0" presId="urn:microsoft.com/office/officeart/2018/2/layout/IconVerticalSolidList"/>
    <dgm:cxn modelId="{531F555A-B054-42F1-B0B3-46BE22CD2008}" type="presParOf" srcId="{9DDAAD5D-5885-41DF-B9AA-48C723D2E3E3}" destId="{9CD2DB57-3AA2-45D6-AE70-FCF444DD5275}" srcOrd="0" destOrd="0" presId="urn:microsoft.com/office/officeart/2018/2/layout/IconVerticalSolidList"/>
    <dgm:cxn modelId="{BE0908BB-E0EC-40BD-8885-8762CEDA2A3E}" type="presParOf" srcId="{9CD2DB57-3AA2-45D6-AE70-FCF444DD5275}" destId="{6C9FB915-728A-4D40-B0A9-896F1317208D}" srcOrd="0" destOrd="0" presId="urn:microsoft.com/office/officeart/2018/2/layout/IconVerticalSolidList"/>
    <dgm:cxn modelId="{90E1722D-517E-4866-8FCF-47E610A77425}" type="presParOf" srcId="{9CD2DB57-3AA2-45D6-AE70-FCF444DD5275}" destId="{8CC9B8D1-0666-4A6F-8158-99F657F5539C}" srcOrd="1" destOrd="0" presId="urn:microsoft.com/office/officeart/2018/2/layout/IconVerticalSolidList"/>
    <dgm:cxn modelId="{54CEF33D-2791-4D2C-882E-0218BD4F529E}" type="presParOf" srcId="{9CD2DB57-3AA2-45D6-AE70-FCF444DD5275}" destId="{61605044-29B9-42AE-A679-1B077596F638}" srcOrd="2" destOrd="0" presId="urn:microsoft.com/office/officeart/2018/2/layout/IconVerticalSolidList"/>
    <dgm:cxn modelId="{F93F622A-7B64-4EA4-93C5-3C94D9A77835}" type="presParOf" srcId="{9CD2DB57-3AA2-45D6-AE70-FCF444DD5275}" destId="{D9F95DA0-3EB9-4CF7-BB48-0B2713F237C6}" srcOrd="3" destOrd="0" presId="urn:microsoft.com/office/officeart/2018/2/layout/IconVerticalSolidList"/>
    <dgm:cxn modelId="{65272FDA-D450-4FC3-92AF-2B409AE47818}" type="presParOf" srcId="{9DDAAD5D-5885-41DF-B9AA-48C723D2E3E3}" destId="{7C40C97D-1B55-4B6B-8CA2-94327A0621B9}" srcOrd="1" destOrd="0" presId="urn:microsoft.com/office/officeart/2018/2/layout/IconVerticalSolidList"/>
    <dgm:cxn modelId="{F919CC06-7289-41DC-BA1D-44763D1A2C0B}" type="presParOf" srcId="{9DDAAD5D-5885-41DF-B9AA-48C723D2E3E3}" destId="{4DBD946A-9C13-408F-B8D8-73631113F13B}" srcOrd="2" destOrd="0" presId="urn:microsoft.com/office/officeart/2018/2/layout/IconVerticalSolidList"/>
    <dgm:cxn modelId="{8F38658C-8209-4AE4-AFAC-D59B53F35399}" type="presParOf" srcId="{4DBD946A-9C13-408F-B8D8-73631113F13B}" destId="{BCE35A02-70A2-479F-BAFF-CCDBA6E4D1E4}" srcOrd="0" destOrd="0" presId="urn:microsoft.com/office/officeart/2018/2/layout/IconVerticalSolidList"/>
    <dgm:cxn modelId="{2588EDD0-A2F8-4BF2-9150-164F3549D941}" type="presParOf" srcId="{4DBD946A-9C13-408F-B8D8-73631113F13B}" destId="{57C5D00F-7BA5-4171-89F9-907792A67477}" srcOrd="1" destOrd="0" presId="urn:microsoft.com/office/officeart/2018/2/layout/IconVerticalSolidList"/>
    <dgm:cxn modelId="{629BE568-C099-4A5E-BE2A-E24AC997ED3D}" type="presParOf" srcId="{4DBD946A-9C13-408F-B8D8-73631113F13B}" destId="{5DA887D2-9D4B-488F-A1C4-D7E7D673F352}" srcOrd="2" destOrd="0" presId="urn:microsoft.com/office/officeart/2018/2/layout/IconVerticalSolidList"/>
    <dgm:cxn modelId="{1BACFB99-FF8A-4877-9318-AB3C932370BE}" type="presParOf" srcId="{4DBD946A-9C13-408F-B8D8-73631113F13B}" destId="{D830E054-3F11-4452-9458-FFCA7D687FAD}" srcOrd="3" destOrd="0" presId="urn:microsoft.com/office/officeart/2018/2/layout/IconVerticalSolidList"/>
    <dgm:cxn modelId="{E16741AD-1B81-47AF-93A2-0532E3F508D5}" type="presParOf" srcId="{9DDAAD5D-5885-41DF-B9AA-48C723D2E3E3}" destId="{960262DA-2B7A-4D10-A957-432727CD1673}" srcOrd="3" destOrd="0" presId="urn:microsoft.com/office/officeart/2018/2/layout/IconVerticalSolidList"/>
    <dgm:cxn modelId="{DB4378FA-42FE-4535-9CC1-DFBE378AB6B1}" type="presParOf" srcId="{9DDAAD5D-5885-41DF-B9AA-48C723D2E3E3}" destId="{1361F368-FFB2-4C2F-B072-944C4D756625}" srcOrd="4" destOrd="0" presId="urn:microsoft.com/office/officeart/2018/2/layout/IconVerticalSolidList"/>
    <dgm:cxn modelId="{80C08331-BB1C-4A4D-A26A-9CC965E629C0}" type="presParOf" srcId="{1361F368-FFB2-4C2F-B072-944C4D756625}" destId="{6C005DA2-1BCA-43E4-82ED-CF6F6458F4F0}" srcOrd="0" destOrd="0" presId="urn:microsoft.com/office/officeart/2018/2/layout/IconVerticalSolidList"/>
    <dgm:cxn modelId="{997BDEF1-D1A8-4D10-8794-92BBC0B944EF}" type="presParOf" srcId="{1361F368-FFB2-4C2F-B072-944C4D756625}" destId="{1C121CEE-FD29-49CF-B7B6-BE73A5C32661}" srcOrd="1" destOrd="0" presId="urn:microsoft.com/office/officeart/2018/2/layout/IconVerticalSolidList"/>
    <dgm:cxn modelId="{21E22521-000C-4E0A-B70C-D99537389A9E}" type="presParOf" srcId="{1361F368-FFB2-4C2F-B072-944C4D756625}" destId="{88100FF4-C395-4DB4-8CCA-FC3F003F35F5}" srcOrd="2" destOrd="0" presId="urn:microsoft.com/office/officeart/2018/2/layout/IconVerticalSolidList"/>
    <dgm:cxn modelId="{E1AB8827-3980-428E-920C-0A97EBC500D9}" type="presParOf" srcId="{1361F368-FFB2-4C2F-B072-944C4D756625}" destId="{0C867770-332E-478A-A3DA-5CC4AF68954D}" srcOrd="3" destOrd="0" presId="urn:microsoft.com/office/officeart/2018/2/layout/IconVerticalSolidList"/>
    <dgm:cxn modelId="{CB9A1D0E-46CA-46B2-AD18-D469D7DE1C05}" type="presParOf" srcId="{9DDAAD5D-5885-41DF-B9AA-48C723D2E3E3}" destId="{004817E3-E902-4083-8E4C-9250EAA9FFD9}" srcOrd="5" destOrd="0" presId="urn:microsoft.com/office/officeart/2018/2/layout/IconVerticalSolidList"/>
    <dgm:cxn modelId="{B1985228-F0FC-438F-ABD4-CDD8F0F4D46F}" type="presParOf" srcId="{9DDAAD5D-5885-41DF-B9AA-48C723D2E3E3}" destId="{AFA5523F-A2F6-41D6-8170-7B79D8C9B2E0}" srcOrd="6" destOrd="0" presId="urn:microsoft.com/office/officeart/2018/2/layout/IconVerticalSolidList"/>
    <dgm:cxn modelId="{D91274C2-A850-4AD9-AC53-780C5251CF88}" type="presParOf" srcId="{AFA5523F-A2F6-41D6-8170-7B79D8C9B2E0}" destId="{866B7CBF-78CF-47AB-B126-25D3BC03C7B8}" srcOrd="0" destOrd="0" presId="urn:microsoft.com/office/officeart/2018/2/layout/IconVerticalSolidList"/>
    <dgm:cxn modelId="{4060B050-AA0D-4453-8C14-5BBB0C6B705D}" type="presParOf" srcId="{AFA5523F-A2F6-41D6-8170-7B79D8C9B2E0}" destId="{C7A9010C-3276-4D1F-B624-2CF1622CA395}" srcOrd="1" destOrd="0" presId="urn:microsoft.com/office/officeart/2018/2/layout/IconVerticalSolidList"/>
    <dgm:cxn modelId="{18C8B81E-B4E7-4D26-9F93-DC725F125DF9}" type="presParOf" srcId="{AFA5523F-A2F6-41D6-8170-7B79D8C9B2E0}" destId="{7D5F1BAB-7D75-44DF-807C-7CE9E37EA44D}" srcOrd="2" destOrd="0" presId="urn:microsoft.com/office/officeart/2018/2/layout/IconVerticalSolidList"/>
    <dgm:cxn modelId="{2F6726B8-74A2-44C0-B2D1-CD65F9F9254E}" type="presParOf" srcId="{AFA5523F-A2F6-41D6-8170-7B79D8C9B2E0}" destId="{CF82A997-C83C-466D-80CE-D6788BC936C1}" srcOrd="3" destOrd="0" presId="urn:microsoft.com/office/officeart/2018/2/layout/IconVerticalSolid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4.xml><?xml version="1.0" encoding="utf-8"?>
<dgm:dataModel xmlns:dgm="http://schemas.openxmlformats.org/drawingml/2006/diagram" xmlns:a="http://schemas.openxmlformats.org/drawingml/2006/main">
  <dgm:ptLst>
    <dgm:pt modelId="{06B5240D-6DE7-4A6F-B14F-CCB3F312D339}" type="doc">
      <dgm:prSet loTypeId="urn:microsoft.com/office/officeart/2005/8/layout/venn2" loCatId="relationship" qsTypeId="urn:microsoft.com/office/officeart/2005/8/quickstyle/simple1" qsCatId="simple" csTypeId="urn:microsoft.com/office/officeart/2005/8/colors/accent0_3" csCatId="mainScheme" phldr="1"/>
      <dgm:spPr/>
      <dgm:t>
        <a:bodyPr/>
        <a:lstStyle/>
        <a:p>
          <a:endParaRPr lang="en-US"/>
        </a:p>
      </dgm:t>
    </dgm:pt>
    <dgm:pt modelId="{87B956D7-DBA9-401E-A0DE-61A11FCDC037}">
      <dgm:prSet/>
      <dgm:spPr/>
      <dgm:t>
        <a:bodyPr/>
        <a:lstStyle/>
        <a:p>
          <a:r>
            <a:rPr lang="en-US" dirty="0"/>
            <a:t>Task</a:t>
          </a:r>
        </a:p>
      </dgm:t>
    </dgm:pt>
    <dgm:pt modelId="{C625C0BB-9CC5-464C-9411-C7D773003B2D}" type="parTrans" cxnId="{6FA4B874-F9A6-4139-B687-6E0600C32AEF}">
      <dgm:prSet/>
      <dgm:spPr/>
      <dgm:t>
        <a:bodyPr/>
        <a:lstStyle/>
        <a:p>
          <a:endParaRPr lang="en-US"/>
        </a:p>
      </dgm:t>
    </dgm:pt>
    <dgm:pt modelId="{44197E31-C9FD-4B82-82BD-B72B8AD47E2E}" type="sibTrans" cxnId="{6FA4B874-F9A6-4139-B687-6E0600C32AEF}">
      <dgm:prSet/>
      <dgm:spPr/>
      <dgm:t>
        <a:bodyPr/>
        <a:lstStyle/>
        <a:p>
          <a:endParaRPr lang="en-US"/>
        </a:p>
      </dgm:t>
    </dgm:pt>
    <dgm:pt modelId="{EFB94FEC-0B08-494B-8BBB-4DD5F6AF84A4}">
      <dgm:prSet/>
      <dgm:spPr/>
      <dgm:t>
        <a:bodyPr/>
        <a:lstStyle/>
        <a:p>
          <a:r>
            <a:rPr lang="en-US" dirty="0"/>
            <a:t>Application</a:t>
          </a:r>
        </a:p>
      </dgm:t>
    </dgm:pt>
    <dgm:pt modelId="{DDEFD4BD-D58B-4930-B111-084C53C14027}" type="parTrans" cxnId="{12FA347D-409B-46F8-9DF5-E591C30F090E}">
      <dgm:prSet/>
      <dgm:spPr/>
      <dgm:t>
        <a:bodyPr/>
        <a:lstStyle/>
        <a:p>
          <a:endParaRPr lang="en-US"/>
        </a:p>
      </dgm:t>
    </dgm:pt>
    <dgm:pt modelId="{6A9FBA41-503E-4936-9D68-5CC756DB2A88}" type="sibTrans" cxnId="{12FA347D-409B-46F8-9DF5-E591C30F090E}">
      <dgm:prSet/>
      <dgm:spPr/>
      <dgm:t>
        <a:bodyPr/>
        <a:lstStyle/>
        <a:p>
          <a:endParaRPr lang="en-US"/>
        </a:p>
      </dgm:t>
    </dgm:pt>
    <dgm:pt modelId="{A983828C-A67B-44ED-890A-BD85389B9CCA}">
      <dgm:prSet/>
      <dgm:spPr/>
      <dgm:t>
        <a:bodyPr/>
        <a:lstStyle/>
        <a:p>
          <a:r>
            <a:rPr lang="en-US" dirty="0"/>
            <a:t>Function</a:t>
          </a:r>
        </a:p>
      </dgm:t>
    </dgm:pt>
    <dgm:pt modelId="{9E037EE6-431E-4F2B-AB22-A7CFDFF8565F}" type="parTrans" cxnId="{FBA3E81A-67B8-43AD-A614-EFACE5B36F7D}">
      <dgm:prSet/>
      <dgm:spPr/>
      <dgm:t>
        <a:bodyPr/>
        <a:lstStyle/>
        <a:p>
          <a:endParaRPr lang="en-US"/>
        </a:p>
      </dgm:t>
    </dgm:pt>
    <dgm:pt modelId="{175CA53C-13C9-4FC0-973F-A7932C90AB08}" type="sibTrans" cxnId="{FBA3E81A-67B8-43AD-A614-EFACE5B36F7D}">
      <dgm:prSet/>
      <dgm:spPr/>
      <dgm:t>
        <a:bodyPr/>
        <a:lstStyle/>
        <a:p>
          <a:endParaRPr lang="en-US"/>
        </a:p>
      </dgm:t>
    </dgm:pt>
    <dgm:pt modelId="{56698D2F-6437-438E-9D71-2E84B0C79692}" type="pres">
      <dgm:prSet presAssocID="{06B5240D-6DE7-4A6F-B14F-CCB3F312D339}" presName="Name0" presStyleCnt="0">
        <dgm:presLayoutVars>
          <dgm:chMax val="7"/>
          <dgm:resizeHandles val="exact"/>
        </dgm:presLayoutVars>
      </dgm:prSet>
      <dgm:spPr/>
    </dgm:pt>
    <dgm:pt modelId="{DB61AB5A-5AD4-4769-A48D-D690EBF4FECA}" type="pres">
      <dgm:prSet presAssocID="{06B5240D-6DE7-4A6F-B14F-CCB3F312D339}" presName="comp1" presStyleCnt="0"/>
      <dgm:spPr/>
    </dgm:pt>
    <dgm:pt modelId="{8A3E1F5A-1D00-494C-8FF9-E0C9985E8D56}" type="pres">
      <dgm:prSet presAssocID="{06B5240D-6DE7-4A6F-B14F-CCB3F312D339}" presName="circle1" presStyleLbl="node1" presStyleIdx="0" presStyleCnt="3"/>
      <dgm:spPr/>
    </dgm:pt>
    <dgm:pt modelId="{AFE32735-9528-4196-8EEF-BF5C2C559A3E}" type="pres">
      <dgm:prSet presAssocID="{06B5240D-6DE7-4A6F-B14F-CCB3F312D339}" presName="c1text" presStyleLbl="node1" presStyleIdx="0" presStyleCnt="3">
        <dgm:presLayoutVars>
          <dgm:bulletEnabled val="1"/>
        </dgm:presLayoutVars>
      </dgm:prSet>
      <dgm:spPr/>
    </dgm:pt>
    <dgm:pt modelId="{C058AB90-D528-4972-97D6-890F45890C70}" type="pres">
      <dgm:prSet presAssocID="{06B5240D-6DE7-4A6F-B14F-CCB3F312D339}" presName="comp2" presStyleCnt="0"/>
      <dgm:spPr/>
    </dgm:pt>
    <dgm:pt modelId="{780AB081-7C28-4EB4-AC03-9A6D4AF5B51F}" type="pres">
      <dgm:prSet presAssocID="{06B5240D-6DE7-4A6F-B14F-CCB3F312D339}" presName="circle2" presStyleLbl="node1" presStyleIdx="1" presStyleCnt="3"/>
      <dgm:spPr/>
    </dgm:pt>
    <dgm:pt modelId="{D64BD4E5-C541-4AB8-AE65-B3EB14227ECE}" type="pres">
      <dgm:prSet presAssocID="{06B5240D-6DE7-4A6F-B14F-CCB3F312D339}" presName="c2text" presStyleLbl="node1" presStyleIdx="1" presStyleCnt="3">
        <dgm:presLayoutVars>
          <dgm:bulletEnabled val="1"/>
        </dgm:presLayoutVars>
      </dgm:prSet>
      <dgm:spPr/>
    </dgm:pt>
    <dgm:pt modelId="{5EE62FAA-66A5-4E7E-9290-715DFF7CDB6D}" type="pres">
      <dgm:prSet presAssocID="{06B5240D-6DE7-4A6F-B14F-CCB3F312D339}" presName="comp3" presStyleCnt="0"/>
      <dgm:spPr/>
    </dgm:pt>
    <dgm:pt modelId="{F5B81FDE-1DF6-4FD5-8681-D791071DEBFB}" type="pres">
      <dgm:prSet presAssocID="{06B5240D-6DE7-4A6F-B14F-CCB3F312D339}" presName="circle3" presStyleLbl="node1" presStyleIdx="2" presStyleCnt="3"/>
      <dgm:spPr/>
    </dgm:pt>
    <dgm:pt modelId="{A2E8EF69-C788-40F1-97A5-735CACB21071}" type="pres">
      <dgm:prSet presAssocID="{06B5240D-6DE7-4A6F-B14F-CCB3F312D339}" presName="c3text" presStyleLbl="node1" presStyleIdx="2" presStyleCnt="3">
        <dgm:presLayoutVars>
          <dgm:bulletEnabled val="1"/>
        </dgm:presLayoutVars>
      </dgm:prSet>
      <dgm:spPr/>
    </dgm:pt>
  </dgm:ptLst>
  <dgm:cxnLst>
    <dgm:cxn modelId="{FBA3E81A-67B8-43AD-A614-EFACE5B36F7D}" srcId="{06B5240D-6DE7-4A6F-B14F-CCB3F312D339}" destId="{A983828C-A67B-44ED-890A-BD85389B9CCA}" srcOrd="1" destOrd="0" parTransId="{9E037EE6-431E-4F2B-AB22-A7CFDFF8565F}" sibTransId="{175CA53C-13C9-4FC0-973F-A7932C90AB08}"/>
    <dgm:cxn modelId="{66285F5E-94CA-4D1B-998E-09AB4739EE30}" type="presOf" srcId="{EFB94FEC-0B08-494B-8BBB-4DD5F6AF84A4}" destId="{AFE32735-9528-4196-8EEF-BF5C2C559A3E}" srcOrd="1" destOrd="0" presId="urn:microsoft.com/office/officeart/2005/8/layout/venn2"/>
    <dgm:cxn modelId="{B894D572-8A07-4446-BBA2-21683B450A2A}" type="presOf" srcId="{A983828C-A67B-44ED-890A-BD85389B9CCA}" destId="{780AB081-7C28-4EB4-AC03-9A6D4AF5B51F}" srcOrd="0" destOrd="0" presId="urn:microsoft.com/office/officeart/2005/8/layout/venn2"/>
    <dgm:cxn modelId="{6FA4B874-F9A6-4139-B687-6E0600C32AEF}" srcId="{06B5240D-6DE7-4A6F-B14F-CCB3F312D339}" destId="{87B956D7-DBA9-401E-A0DE-61A11FCDC037}" srcOrd="2" destOrd="0" parTransId="{C625C0BB-9CC5-464C-9411-C7D773003B2D}" sibTransId="{44197E31-C9FD-4B82-82BD-B72B8AD47E2E}"/>
    <dgm:cxn modelId="{3B4A1C7D-0BC9-46F7-9125-2B91A684687E}" type="presOf" srcId="{EFB94FEC-0B08-494B-8BBB-4DD5F6AF84A4}" destId="{8A3E1F5A-1D00-494C-8FF9-E0C9985E8D56}" srcOrd="0" destOrd="0" presId="urn:microsoft.com/office/officeart/2005/8/layout/venn2"/>
    <dgm:cxn modelId="{12FA347D-409B-46F8-9DF5-E591C30F090E}" srcId="{06B5240D-6DE7-4A6F-B14F-CCB3F312D339}" destId="{EFB94FEC-0B08-494B-8BBB-4DD5F6AF84A4}" srcOrd="0" destOrd="0" parTransId="{DDEFD4BD-D58B-4930-B111-084C53C14027}" sibTransId="{6A9FBA41-503E-4936-9D68-5CC756DB2A88}"/>
    <dgm:cxn modelId="{D089EEB9-AAE8-481B-9934-C398AC775060}" type="presOf" srcId="{87B956D7-DBA9-401E-A0DE-61A11FCDC037}" destId="{A2E8EF69-C788-40F1-97A5-735CACB21071}" srcOrd="1" destOrd="0" presId="urn:microsoft.com/office/officeart/2005/8/layout/venn2"/>
    <dgm:cxn modelId="{D44B1BC4-E40E-4EA5-B392-C6C79AC2A793}" type="presOf" srcId="{A983828C-A67B-44ED-890A-BD85389B9CCA}" destId="{D64BD4E5-C541-4AB8-AE65-B3EB14227ECE}" srcOrd="1" destOrd="0" presId="urn:microsoft.com/office/officeart/2005/8/layout/venn2"/>
    <dgm:cxn modelId="{4E8F35D4-8EFC-40D7-BC5F-AF343F1F23C8}" type="presOf" srcId="{87B956D7-DBA9-401E-A0DE-61A11FCDC037}" destId="{F5B81FDE-1DF6-4FD5-8681-D791071DEBFB}" srcOrd="0" destOrd="0" presId="urn:microsoft.com/office/officeart/2005/8/layout/venn2"/>
    <dgm:cxn modelId="{491A80FF-71FA-4440-AAB9-499B606044C1}" type="presOf" srcId="{06B5240D-6DE7-4A6F-B14F-CCB3F312D339}" destId="{56698D2F-6437-438E-9D71-2E84B0C79692}" srcOrd="0" destOrd="0" presId="urn:microsoft.com/office/officeart/2005/8/layout/venn2"/>
    <dgm:cxn modelId="{6F45E5E3-07DE-450D-BF4A-2A16DE398F62}" type="presParOf" srcId="{56698D2F-6437-438E-9D71-2E84B0C79692}" destId="{DB61AB5A-5AD4-4769-A48D-D690EBF4FECA}" srcOrd="0" destOrd="0" presId="urn:microsoft.com/office/officeart/2005/8/layout/venn2"/>
    <dgm:cxn modelId="{54B957C3-3DA6-47B1-986A-327FD22A19AC}" type="presParOf" srcId="{DB61AB5A-5AD4-4769-A48D-D690EBF4FECA}" destId="{8A3E1F5A-1D00-494C-8FF9-E0C9985E8D56}" srcOrd="0" destOrd="0" presId="urn:microsoft.com/office/officeart/2005/8/layout/venn2"/>
    <dgm:cxn modelId="{022D3D8E-B083-4496-B7BD-899EE8A9E430}" type="presParOf" srcId="{DB61AB5A-5AD4-4769-A48D-D690EBF4FECA}" destId="{AFE32735-9528-4196-8EEF-BF5C2C559A3E}" srcOrd="1" destOrd="0" presId="urn:microsoft.com/office/officeart/2005/8/layout/venn2"/>
    <dgm:cxn modelId="{F331E703-B9A4-4A79-A67C-02EFC6A3083A}" type="presParOf" srcId="{56698D2F-6437-438E-9D71-2E84B0C79692}" destId="{C058AB90-D528-4972-97D6-890F45890C70}" srcOrd="1" destOrd="0" presId="urn:microsoft.com/office/officeart/2005/8/layout/venn2"/>
    <dgm:cxn modelId="{5A1E775C-F942-4678-BEE4-378A0A72DFE1}" type="presParOf" srcId="{C058AB90-D528-4972-97D6-890F45890C70}" destId="{780AB081-7C28-4EB4-AC03-9A6D4AF5B51F}" srcOrd="0" destOrd="0" presId="urn:microsoft.com/office/officeart/2005/8/layout/venn2"/>
    <dgm:cxn modelId="{2F4C5AF3-4A34-4600-A222-C1070FC90742}" type="presParOf" srcId="{C058AB90-D528-4972-97D6-890F45890C70}" destId="{D64BD4E5-C541-4AB8-AE65-B3EB14227ECE}" srcOrd="1" destOrd="0" presId="urn:microsoft.com/office/officeart/2005/8/layout/venn2"/>
    <dgm:cxn modelId="{FB3463BE-32CB-4196-9FEA-E8893C194BCE}" type="presParOf" srcId="{56698D2F-6437-438E-9D71-2E84B0C79692}" destId="{5EE62FAA-66A5-4E7E-9290-715DFF7CDB6D}" srcOrd="2" destOrd="0" presId="urn:microsoft.com/office/officeart/2005/8/layout/venn2"/>
    <dgm:cxn modelId="{FC9DD068-18BA-4273-ABDF-F163FE90BB42}" type="presParOf" srcId="{5EE62FAA-66A5-4E7E-9290-715DFF7CDB6D}" destId="{F5B81FDE-1DF6-4FD5-8681-D791071DEBFB}" srcOrd="0" destOrd="0" presId="urn:microsoft.com/office/officeart/2005/8/layout/venn2"/>
    <dgm:cxn modelId="{1B5FD49E-0492-4859-BF23-0DC28C4E5DDA}" type="presParOf" srcId="{5EE62FAA-66A5-4E7E-9290-715DFF7CDB6D}" destId="{A2E8EF69-C788-40F1-97A5-735CACB21071}" srcOrd="1" destOrd="0" presId="urn:microsoft.com/office/officeart/2005/8/layout/venn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5.xml><?xml version="1.0" encoding="utf-8"?>
<dgm:dataModel xmlns:dgm="http://schemas.openxmlformats.org/drawingml/2006/diagram" xmlns:a="http://schemas.openxmlformats.org/drawingml/2006/main">
  <dgm:ptLst>
    <dgm:pt modelId="{A2782589-489A-4FBB-B5EF-A21321424219}" type="doc">
      <dgm:prSet loTypeId="urn:microsoft.com/office/officeart/2018/2/layout/IconVerticalSolidList" loCatId="icon" qsTypeId="urn:microsoft.com/office/officeart/2005/8/quickstyle/simple1" qsCatId="simple" csTypeId="urn:microsoft.com/office/officeart/2018/5/colors/Iconchunking_neutralbg_colorful2" csCatId="colorful" phldr="1"/>
      <dgm:spPr/>
      <dgm:t>
        <a:bodyPr/>
        <a:lstStyle/>
        <a:p>
          <a:endParaRPr lang="en-US"/>
        </a:p>
      </dgm:t>
    </dgm:pt>
    <dgm:pt modelId="{34A7E546-10FA-4C0D-84F1-32A009F9B6F4}">
      <dgm:prSet/>
      <dgm:spPr/>
      <dgm:t>
        <a:bodyPr/>
        <a:lstStyle/>
        <a:p>
          <a:pPr>
            <a:lnSpc>
              <a:spcPct val="100000"/>
            </a:lnSpc>
          </a:pPr>
          <a:r>
            <a:rPr lang="en-US"/>
            <a:t>Track and review your progress frequently</a:t>
          </a:r>
        </a:p>
      </dgm:t>
    </dgm:pt>
    <dgm:pt modelId="{7A0EE5B2-853D-4A6B-9BE1-DEDCC54241B8}" type="parTrans" cxnId="{E669BB69-22C2-4E72-81DB-4C251EB47EBA}">
      <dgm:prSet/>
      <dgm:spPr/>
      <dgm:t>
        <a:bodyPr/>
        <a:lstStyle/>
        <a:p>
          <a:endParaRPr lang="en-US"/>
        </a:p>
      </dgm:t>
    </dgm:pt>
    <dgm:pt modelId="{3F93F624-DFB5-4414-B701-77CA6EADAEFA}" type="sibTrans" cxnId="{E669BB69-22C2-4E72-81DB-4C251EB47EBA}">
      <dgm:prSet/>
      <dgm:spPr/>
      <dgm:t>
        <a:bodyPr/>
        <a:lstStyle/>
        <a:p>
          <a:endParaRPr lang="en-US"/>
        </a:p>
      </dgm:t>
    </dgm:pt>
    <dgm:pt modelId="{EDB165F1-8770-4B75-A8DD-8AC86DA6E77C}">
      <dgm:prSet/>
      <dgm:spPr/>
      <dgm:t>
        <a:bodyPr/>
        <a:lstStyle/>
        <a:p>
          <a:pPr>
            <a:lnSpc>
              <a:spcPct val="100000"/>
            </a:lnSpc>
          </a:pPr>
          <a:r>
            <a:rPr lang="en-US"/>
            <a:t>Start with functional areas you already know</a:t>
          </a:r>
        </a:p>
      </dgm:t>
    </dgm:pt>
    <dgm:pt modelId="{17FD730D-0A0D-49D6-9026-452F957A408B}" type="parTrans" cxnId="{71512FDF-1B4F-437E-A8EF-0CD527150938}">
      <dgm:prSet/>
      <dgm:spPr/>
      <dgm:t>
        <a:bodyPr/>
        <a:lstStyle/>
        <a:p>
          <a:endParaRPr lang="en-US"/>
        </a:p>
      </dgm:t>
    </dgm:pt>
    <dgm:pt modelId="{C45F1B1E-4964-441D-9AE0-82DE0DEB2300}" type="sibTrans" cxnId="{71512FDF-1B4F-437E-A8EF-0CD527150938}">
      <dgm:prSet/>
      <dgm:spPr/>
      <dgm:t>
        <a:bodyPr/>
        <a:lstStyle/>
        <a:p>
          <a:endParaRPr lang="en-US"/>
        </a:p>
      </dgm:t>
    </dgm:pt>
    <dgm:pt modelId="{B78DAFF1-8A79-4649-A5A6-F851804E2E2A}">
      <dgm:prSet/>
      <dgm:spPr/>
      <dgm:t>
        <a:bodyPr/>
        <a:lstStyle/>
        <a:p>
          <a:pPr>
            <a:lnSpc>
              <a:spcPct val="100000"/>
            </a:lnSpc>
          </a:pPr>
          <a:r>
            <a:rPr lang="en-US" dirty="0"/>
            <a:t>Be consistent</a:t>
          </a:r>
          <a:br>
            <a:rPr lang="en-US" dirty="0"/>
          </a:br>
          <a:r>
            <a:rPr lang="en-US" dirty="0"/>
            <a:t>(block out time on your calendar)</a:t>
          </a:r>
        </a:p>
      </dgm:t>
    </dgm:pt>
    <dgm:pt modelId="{54AD5BC1-A020-4131-B137-F22414CF8EEE}" type="parTrans" cxnId="{8438FFC5-6D67-4563-B04D-BE4A5843F8D4}">
      <dgm:prSet/>
      <dgm:spPr/>
      <dgm:t>
        <a:bodyPr/>
        <a:lstStyle/>
        <a:p>
          <a:endParaRPr lang="en-US"/>
        </a:p>
      </dgm:t>
    </dgm:pt>
    <dgm:pt modelId="{72FA77DE-5B84-411F-9CA6-29E01496D7E8}" type="sibTrans" cxnId="{8438FFC5-6D67-4563-B04D-BE4A5843F8D4}">
      <dgm:prSet/>
      <dgm:spPr/>
      <dgm:t>
        <a:bodyPr/>
        <a:lstStyle/>
        <a:p>
          <a:endParaRPr lang="en-US"/>
        </a:p>
      </dgm:t>
    </dgm:pt>
    <dgm:pt modelId="{8C8041CF-7E45-4A24-82BF-D8422DC6FAC1}">
      <dgm:prSet/>
      <dgm:spPr/>
      <dgm:t>
        <a:bodyPr/>
        <a:lstStyle/>
        <a:p>
          <a:pPr>
            <a:lnSpc>
              <a:spcPct val="100000"/>
            </a:lnSpc>
          </a:pPr>
          <a:r>
            <a:rPr lang="en-US"/>
            <a:t>Certification exams are a great way to test your knowledge (with a side-effect of getting a certification)</a:t>
          </a:r>
        </a:p>
      </dgm:t>
    </dgm:pt>
    <dgm:pt modelId="{1652E216-F0CA-49F9-A64D-D694EE2CF4CF}" type="parTrans" cxnId="{C72AF58D-1533-4C7E-B0FF-FF6BDA3F10DC}">
      <dgm:prSet/>
      <dgm:spPr/>
      <dgm:t>
        <a:bodyPr/>
        <a:lstStyle/>
        <a:p>
          <a:endParaRPr lang="en-US"/>
        </a:p>
      </dgm:t>
    </dgm:pt>
    <dgm:pt modelId="{FAA53BD0-B867-4D7D-B409-4436A04A4A09}" type="sibTrans" cxnId="{C72AF58D-1533-4C7E-B0FF-FF6BDA3F10DC}">
      <dgm:prSet/>
      <dgm:spPr/>
      <dgm:t>
        <a:bodyPr/>
        <a:lstStyle/>
        <a:p>
          <a:endParaRPr lang="en-US"/>
        </a:p>
      </dgm:t>
    </dgm:pt>
    <dgm:pt modelId="{3DAACA2A-9929-4EF3-9203-C4BE923395FD}" type="pres">
      <dgm:prSet presAssocID="{A2782589-489A-4FBB-B5EF-A21321424219}" presName="root" presStyleCnt="0">
        <dgm:presLayoutVars>
          <dgm:dir/>
          <dgm:resizeHandles val="exact"/>
        </dgm:presLayoutVars>
      </dgm:prSet>
      <dgm:spPr/>
    </dgm:pt>
    <dgm:pt modelId="{A2D9B979-3486-42E0-85FD-4DA6E532864B}" type="pres">
      <dgm:prSet presAssocID="{34A7E546-10FA-4C0D-84F1-32A009F9B6F4}" presName="compNode" presStyleCnt="0"/>
      <dgm:spPr/>
    </dgm:pt>
    <dgm:pt modelId="{F0B81736-8AF7-4521-B580-AA0752690E83}" type="pres">
      <dgm:prSet presAssocID="{34A7E546-10FA-4C0D-84F1-32A009F9B6F4}" presName="bgRect" presStyleLbl="bgShp" presStyleIdx="0" presStyleCnt="4"/>
      <dgm:spPr/>
    </dgm:pt>
    <dgm:pt modelId="{B784ECE6-32E1-4A8D-A32B-106785B98D9F}" type="pres">
      <dgm:prSet presAssocID="{34A7E546-10FA-4C0D-84F1-32A009F9B6F4}" presName="iconRect" presStyleLbl="node1" presStyleIdx="0" presStyleCnt="4"/>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a:noFill/>
        </a:ln>
      </dgm:spPr>
      <dgm:extLst>
        <a:ext uri="{E40237B7-FDA0-4F09-8148-C483321AD2D9}">
          <dgm14:cNvPr xmlns:dgm14="http://schemas.microsoft.com/office/drawing/2010/diagram" id="0" name="" descr="Check List"/>
        </a:ext>
      </dgm:extLst>
    </dgm:pt>
    <dgm:pt modelId="{D0AB4EE6-C350-47C6-968D-E4FA8FB63131}" type="pres">
      <dgm:prSet presAssocID="{34A7E546-10FA-4C0D-84F1-32A009F9B6F4}" presName="spaceRect" presStyleCnt="0"/>
      <dgm:spPr/>
    </dgm:pt>
    <dgm:pt modelId="{BC22E1DC-968F-4F38-865F-63CA8E20581F}" type="pres">
      <dgm:prSet presAssocID="{34A7E546-10FA-4C0D-84F1-32A009F9B6F4}" presName="parTx" presStyleLbl="revTx" presStyleIdx="0" presStyleCnt="4">
        <dgm:presLayoutVars>
          <dgm:chMax val="0"/>
          <dgm:chPref val="0"/>
        </dgm:presLayoutVars>
      </dgm:prSet>
      <dgm:spPr/>
    </dgm:pt>
    <dgm:pt modelId="{18CB5D91-B13E-4A65-AEA7-E7E3A684DA9B}" type="pres">
      <dgm:prSet presAssocID="{3F93F624-DFB5-4414-B701-77CA6EADAEFA}" presName="sibTrans" presStyleCnt="0"/>
      <dgm:spPr/>
    </dgm:pt>
    <dgm:pt modelId="{119B93DD-A668-4F72-A7CA-BC298153EF43}" type="pres">
      <dgm:prSet presAssocID="{EDB165F1-8770-4B75-A8DD-8AC86DA6E77C}" presName="compNode" presStyleCnt="0"/>
      <dgm:spPr/>
    </dgm:pt>
    <dgm:pt modelId="{9AAC3FA3-28EE-45AD-A06D-73337721F2DF}" type="pres">
      <dgm:prSet presAssocID="{EDB165F1-8770-4B75-A8DD-8AC86DA6E77C}" presName="bgRect" presStyleLbl="bgShp" presStyleIdx="1" presStyleCnt="4"/>
      <dgm:spPr/>
    </dgm:pt>
    <dgm:pt modelId="{1602D1F2-5906-46ED-B1B2-69A9B4369E6F}" type="pres">
      <dgm:prSet presAssocID="{EDB165F1-8770-4B75-A8DD-8AC86DA6E77C}" presName="iconRect" presStyleLbl="node1" presStyleIdx="1" presStyleCnt="4"/>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dgm:spPr>
      <dgm:extLst>
        <a:ext uri="{E40237B7-FDA0-4F09-8148-C483321AD2D9}">
          <dgm14:cNvPr xmlns:dgm14="http://schemas.microsoft.com/office/drawing/2010/diagram" id="0" name="" descr="Head with Gears"/>
        </a:ext>
      </dgm:extLst>
    </dgm:pt>
    <dgm:pt modelId="{B2A25424-3F03-4AF4-899E-85CBB697931C}" type="pres">
      <dgm:prSet presAssocID="{EDB165F1-8770-4B75-A8DD-8AC86DA6E77C}" presName="spaceRect" presStyleCnt="0"/>
      <dgm:spPr/>
    </dgm:pt>
    <dgm:pt modelId="{2A0777FC-F7C1-489C-B169-A794D7B407D3}" type="pres">
      <dgm:prSet presAssocID="{EDB165F1-8770-4B75-A8DD-8AC86DA6E77C}" presName="parTx" presStyleLbl="revTx" presStyleIdx="1" presStyleCnt="4">
        <dgm:presLayoutVars>
          <dgm:chMax val="0"/>
          <dgm:chPref val="0"/>
        </dgm:presLayoutVars>
      </dgm:prSet>
      <dgm:spPr/>
    </dgm:pt>
    <dgm:pt modelId="{F4556F27-96F4-4AAD-89F0-EAD68F9E5FF2}" type="pres">
      <dgm:prSet presAssocID="{C45F1B1E-4964-441D-9AE0-82DE0DEB2300}" presName="sibTrans" presStyleCnt="0"/>
      <dgm:spPr/>
    </dgm:pt>
    <dgm:pt modelId="{D0CA2AFA-C26D-4271-ADC4-C59AFE2D88D0}" type="pres">
      <dgm:prSet presAssocID="{B78DAFF1-8A79-4649-A5A6-F851804E2E2A}" presName="compNode" presStyleCnt="0"/>
      <dgm:spPr/>
    </dgm:pt>
    <dgm:pt modelId="{64378AE9-168E-4610-8E17-3121A47E7705}" type="pres">
      <dgm:prSet presAssocID="{B78DAFF1-8A79-4649-A5A6-F851804E2E2A}" presName="bgRect" presStyleLbl="bgShp" presStyleIdx="2" presStyleCnt="4"/>
      <dgm:spPr/>
    </dgm:pt>
    <dgm:pt modelId="{0AD9A22F-086C-477E-A999-D4CB7DACB363}" type="pres">
      <dgm:prSet presAssocID="{B78DAFF1-8A79-4649-A5A6-F851804E2E2A}" presName="iconRect" presStyleLbl="node1" presStyleIdx="2" presStyleCnt="4"/>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a:noFill/>
        </a:ln>
      </dgm:spPr>
      <dgm:extLst>
        <a:ext uri="{E40237B7-FDA0-4F09-8148-C483321AD2D9}">
          <dgm14:cNvPr xmlns:dgm14="http://schemas.microsoft.com/office/drawing/2010/diagram" id="0" name="" descr="Monthly calendar"/>
        </a:ext>
      </dgm:extLst>
    </dgm:pt>
    <dgm:pt modelId="{D2707DDD-8C52-4821-8E54-5B2789F44409}" type="pres">
      <dgm:prSet presAssocID="{B78DAFF1-8A79-4649-A5A6-F851804E2E2A}" presName="spaceRect" presStyleCnt="0"/>
      <dgm:spPr/>
    </dgm:pt>
    <dgm:pt modelId="{2F40BAA6-AD54-42D7-95E4-82C2D557E4E5}" type="pres">
      <dgm:prSet presAssocID="{B78DAFF1-8A79-4649-A5A6-F851804E2E2A}" presName="parTx" presStyleLbl="revTx" presStyleIdx="2" presStyleCnt="4">
        <dgm:presLayoutVars>
          <dgm:chMax val="0"/>
          <dgm:chPref val="0"/>
        </dgm:presLayoutVars>
      </dgm:prSet>
      <dgm:spPr/>
    </dgm:pt>
    <dgm:pt modelId="{0A796A98-BC43-438E-9F14-F060C82DAC91}" type="pres">
      <dgm:prSet presAssocID="{72FA77DE-5B84-411F-9CA6-29E01496D7E8}" presName="sibTrans" presStyleCnt="0"/>
      <dgm:spPr/>
    </dgm:pt>
    <dgm:pt modelId="{3B7C8953-E516-4AF9-909B-717E41B54B02}" type="pres">
      <dgm:prSet presAssocID="{8C8041CF-7E45-4A24-82BF-D8422DC6FAC1}" presName="compNode" presStyleCnt="0"/>
      <dgm:spPr/>
    </dgm:pt>
    <dgm:pt modelId="{588553BF-300D-480A-BC8B-F4D4C9EC507E}" type="pres">
      <dgm:prSet presAssocID="{8C8041CF-7E45-4A24-82BF-D8422DC6FAC1}" presName="bgRect" presStyleLbl="bgShp" presStyleIdx="3" presStyleCnt="4"/>
      <dgm:spPr/>
    </dgm:pt>
    <dgm:pt modelId="{9E5EA43F-5741-40F1-BB40-E63B75B16572}" type="pres">
      <dgm:prSet presAssocID="{8C8041CF-7E45-4A24-82BF-D8422DC6FAC1}" presName="iconRect" presStyleLbl="node1" presStyleIdx="3" presStyleCnt="4"/>
      <dgm:spPr>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a:noFill/>
        </a:ln>
      </dgm:spPr>
      <dgm:extLst>
        <a:ext uri="{E40237B7-FDA0-4F09-8148-C483321AD2D9}">
          <dgm14:cNvPr xmlns:dgm14="http://schemas.microsoft.com/office/drawing/2010/diagram" id="0" name="" descr="Diploma Roll"/>
        </a:ext>
      </dgm:extLst>
    </dgm:pt>
    <dgm:pt modelId="{1F181B60-018D-4D81-A6E6-58F41BE37D49}" type="pres">
      <dgm:prSet presAssocID="{8C8041CF-7E45-4A24-82BF-D8422DC6FAC1}" presName="spaceRect" presStyleCnt="0"/>
      <dgm:spPr/>
    </dgm:pt>
    <dgm:pt modelId="{9ECE27A6-6BBF-4D9C-A9FF-C5AE44B5D195}" type="pres">
      <dgm:prSet presAssocID="{8C8041CF-7E45-4A24-82BF-D8422DC6FAC1}" presName="parTx" presStyleLbl="revTx" presStyleIdx="3" presStyleCnt="4">
        <dgm:presLayoutVars>
          <dgm:chMax val="0"/>
          <dgm:chPref val="0"/>
        </dgm:presLayoutVars>
      </dgm:prSet>
      <dgm:spPr/>
    </dgm:pt>
  </dgm:ptLst>
  <dgm:cxnLst>
    <dgm:cxn modelId="{C5A5860D-A883-4A5A-97D2-35B2A9438595}" type="presOf" srcId="{EDB165F1-8770-4B75-A8DD-8AC86DA6E77C}" destId="{2A0777FC-F7C1-489C-B169-A794D7B407D3}" srcOrd="0" destOrd="0" presId="urn:microsoft.com/office/officeart/2018/2/layout/IconVerticalSolidList"/>
    <dgm:cxn modelId="{61BC5F25-1936-4A27-B1E1-A78989BE3113}" type="presOf" srcId="{34A7E546-10FA-4C0D-84F1-32A009F9B6F4}" destId="{BC22E1DC-968F-4F38-865F-63CA8E20581F}" srcOrd="0" destOrd="0" presId="urn:microsoft.com/office/officeart/2018/2/layout/IconVerticalSolidList"/>
    <dgm:cxn modelId="{76EFEA2D-08FC-46A0-8CEA-F3169E2DD557}" type="presOf" srcId="{B78DAFF1-8A79-4649-A5A6-F851804E2E2A}" destId="{2F40BAA6-AD54-42D7-95E4-82C2D557E4E5}" srcOrd="0" destOrd="0" presId="urn:microsoft.com/office/officeart/2018/2/layout/IconVerticalSolidList"/>
    <dgm:cxn modelId="{1438EA3B-C590-495C-A93D-EA26BC257701}" type="presOf" srcId="{8C8041CF-7E45-4A24-82BF-D8422DC6FAC1}" destId="{9ECE27A6-6BBF-4D9C-A9FF-C5AE44B5D195}" srcOrd="0" destOrd="0" presId="urn:microsoft.com/office/officeart/2018/2/layout/IconVerticalSolidList"/>
    <dgm:cxn modelId="{E669BB69-22C2-4E72-81DB-4C251EB47EBA}" srcId="{A2782589-489A-4FBB-B5EF-A21321424219}" destId="{34A7E546-10FA-4C0D-84F1-32A009F9B6F4}" srcOrd="0" destOrd="0" parTransId="{7A0EE5B2-853D-4A6B-9BE1-DEDCC54241B8}" sibTransId="{3F93F624-DFB5-4414-B701-77CA6EADAEFA}"/>
    <dgm:cxn modelId="{774C6155-90D4-46D0-BB64-07B952B5D896}" type="presOf" srcId="{A2782589-489A-4FBB-B5EF-A21321424219}" destId="{3DAACA2A-9929-4EF3-9203-C4BE923395FD}" srcOrd="0" destOrd="0" presId="urn:microsoft.com/office/officeart/2018/2/layout/IconVerticalSolidList"/>
    <dgm:cxn modelId="{C72AF58D-1533-4C7E-B0FF-FF6BDA3F10DC}" srcId="{A2782589-489A-4FBB-B5EF-A21321424219}" destId="{8C8041CF-7E45-4A24-82BF-D8422DC6FAC1}" srcOrd="3" destOrd="0" parTransId="{1652E216-F0CA-49F9-A64D-D694EE2CF4CF}" sibTransId="{FAA53BD0-B867-4D7D-B409-4436A04A4A09}"/>
    <dgm:cxn modelId="{8438FFC5-6D67-4563-B04D-BE4A5843F8D4}" srcId="{A2782589-489A-4FBB-B5EF-A21321424219}" destId="{B78DAFF1-8A79-4649-A5A6-F851804E2E2A}" srcOrd="2" destOrd="0" parTransId="{54AD5BC1-A020-4131-B137-F22414CF8EEE}" sibTransId="{72FA77DE-5B84-411F-9CA6-29E01496D7E8}"/>
    <dgm:cxn modelId="{71512FDF-1B4F-437E-A8EF-0CD527150938}" srcId="{A2782589-489A-4FBB-B5EF-A21321424219}" destId="{EDB165F1-8770-4B75-A8DD-8AC86DA6E77C}" srcOrd="1" destOrd="0" parTransId="{17FD730D-0A0D-49D6-9026-452F957A408B}" sibTransId="{C45F1B1E-4964-441D-9AE0-82DE0DEB2300}"/>
    <dgm:cxn modelId="{2812CCB9-4AA4-4896-AB4D-F246286B5C02}" type="presParOf" srcId="{3DAACA2A-9929-4EF3-9203-C4BE923395FD}" destId="{A2D9B979-3486-42E0-85FD-4DA6E532864B}" srcOrd="0" destOrd="0" presId="urn:microsoft.com/office/officeart/2018/2/layout/IconVerticalSolidList"/>
    <dgm:cxn modelId="{6AED0132-039E-41BF-9CA7-3A82B0847185}" type="presParOf" srcId="{A2D9B979-3486-42E0-85FD-4DA6E532864B}" destId="{F0B81736-8AF7-4521-B580-AA0752690E83}" srcOrd="0" destOrd="0" presId="urn:microsoft.com/office/officeart/2018/2/layout/IconVerticalSolidList"/>
    <dgm:cxn modelId="{A6C913B4-E80A-4F18-9D54-5589D7F6D904}" type="presParOf" srcId="{A2D9B979-3486-42E0-85FD-4DA6E532864B}" destId="{B784ECE6-32E1-4A8D-A32B-106785B98D9F}" srcOrd="1" destOrd="0" presId="urn:microsoft.com/office/officeart/2018/2/layout/IconVerticalSolidList"/>
    <dgm:cxn modelId="{B001BD92-5FFC-4F76-B53B-54242B8D5411}" type="presParOf" srcId="{A2D9B979-3486-42E0-85FD-4DA6E532864B}" destId="{D0AB4EE6-C350-47C6-968D-E4FA8FB63131}" srcOrd="2" destOrd="0" presId="urn:microsoft.com/office/officeart/2018/2/layout/IconVerticalSolidList"/>
    <dgm:cxn modelId="{11CCD23E-6998-4DEA-800C-75A4121CD0F7}" type="presParOf" srcId="{A2D9B979-3486-42E0-85FD-4DA6E532864B}" destId="{BC22E1DC-968F-4F38-865F-63CA8E20581F}" srcOrd="3" destOrd="0" presId="urn:microsoft.com/office/officeart/2018/2/layout/IconVerticalSolidList"/>
    <dgm:cxn modelId="{6426DA30-70C6-4FE3-A1CA-E430D5F7499B}" type="presParOf" srcId="{3DAACA2A-9929-4EF3-9203-C4BE923395FD}" destId="{18CB5D91-B13E-4A65-AEA7-E7E3A684DA9B}" srcOrd="1" destOrd="0" presId="urn:microsoft.com/office/officeart/2018/2/layout/IconVerticalSolidList"/>
    <dgm:cxn modelId="{8819FF3F-E94D-4CFC-9819-2AA744D12661}" type="presParOf" srcId="{3DAACA2A-9929-4EF3-9203-C4BE923395FD}" destId="{119B93DD-A668-4F72-A7CA-BC298153EF43}" srcOrd="2" destOrd="0" presId="urn:microsoft.com/office/officeart/2018/2/layout/IconVerticalSolidList"/>
    <dgm:cxn modelId="{2749DE36-F5B2-4AAB-B4E4-7B971CE1F4FE}" type="presParOf" srcId="{119B93DD-A668-4F72-A7CA-BC298153EF43}" destId="{9AAC3FA3-28EE-45AD-A06D-73337721F2DF}" srcOrd="0" destOrd="0" presId="urn:microsoft.com/office/officeart/2018/2/layout/IconVerticalSolidList"/>
    <dgm:cxn modelId="{B3174102-602F-4B76-A4A5-5728368F0B10}" type="presParOf" srcId="{119B93DD-A668-4F72-A7CA-BC298153EF43}" destId="{1602D1F2-5906-46ED-B1B2-69A9B4369E6F}" srcOrd="1" destOrd="0" presId="urn:microsoft.com/office/officeart/2018/2/layout/IconVerticalSolidList"/>
    <dgm:cxn modelId="{D8CC2C22-BF90-45EB-9E95-801EE4C465A6}" type="presParOf" srcId="{119B93DD-A668-4F72-A7CA-BC298153EF43}" destId="{B2A25424-3F03-4AF4-899E-85CBB697931C}" srcOrd="2" destOrd="0" presId="urn:microsoft.com/office/officeart/2018/2/layout/IconVerticalSolidList"/>
    <dgm:cxn modelId="{39F57AFD-4DC5-4C9F-88C2-89546742CE64}" type="presParOf" srcId="{119B93DD-A668-4F72-A7CA-BC298153EF43}" destId="{2A0777FC-F7C1-489C-B169-A794D7B407D3}" srcOrd="3" destOrd="0" presId="urn:microsoft.com/office/officeart/2018/2/layout/IconVerticalSolidList"/>
    <dgm:cxn modelId="{5F552042-6681-462E-8364-950FCE127FDC}" type="presParOf" srcId="{3DAACA2A-9929-4EF3-9203-C4BE923395FD}" destId="{F4556F27-96F4-4AAD-89F0-EAD68F9E5FF2}" srcOrd="3" destOrd="0" presId="urn:microsoft.com/office/officeart/2018/2/layout/IconVerticalSolidList"/>
    <dgm:cxn modelId="{F4827878-0B5E-4FC9-99C4-D0A242A08708}" type="presParOf" srcId="{3DAACA2A-9929-4EF3-9203-C4BE923395FD}" destId="{D0CA2AFA-C26D-4271-ADC4-C59AFE2D88D0}" srcOrd="4" destOrd="0" presId="urn:microsoft.com/office/officeart/2018/2/layout/IconVerticalSolidList"/>
    <dgm:cxn modelId="{979B0CD6-07A7-4BC0-A5D7-ADBFB18E372B}" type="presParOf" srcId="{D0CA2AFA-C26D-4271-ADC4-C59AFE2D88D0}" destId="{64378AE9-168E-4610-8E17-3121A47E7705}" srcOrd="0" destOrd="0" presId="urn:microsoft.com/office/officeart/2018/2/layout/IconVerticalSolidList"/>
    <dgm:cxn modelId="{A0B19A22-FDB3-43A6-9273-8E1CF11B7D63}" type="presParOf" srcId="{D0CA2AFA-C26D-4271-ADC4-C59AFE2D88D0}" destId="{0AD9A22F-086C-477E-A999-D4CB7DACB363}" srcOrd="1" destOrd="0" presId="urn:microsoft.com/office/officeart/2018/2/layout/IconVerticalSolidList"/>
    <dgm:cxn modelId="{48109009-9543-4279-BE37-52E10BE04605}" type="presParOf" srcId="{D0CA2AFA-C26D-4271-ADC4-C59AFE2D88D0}" destId="{D2707DDD-8C52-4821-8E54-5B2789F44409}" srcOrd="2" destOrd="0" presId="urn:microsoft.com/office/officeart/2018/2/layout/IconVerticalSolidList"/>
    <dgm:cxn modelId="{D558020D-A6FA-4C95-BBFC-39A4F9730547}" type="presParOf" srcId="{D0CA2AFA-C26D-4271-ADC4-C59AFE2D88D0}" destId="{2F40BAA6-AD54-42D7-95E4-82C2D557E4E5}" srcOrd="3" destOrd="0" presId="urn:microsoft.com/office/officeart/2018/2/layout/IconVerticalSolidList"/>
    <dgm:cxn modelId="{5C4B933E-9218-402F-837C-6AD1443A5C0B}" type="presParOf" srcId="{3DAACA2A-9929-4EF3-9203-C4BE923395FD}" destId="{0A796A98-BC43-438E-9F14-F060C82DAC91}" srcOrd="5" destOrd="0" presId="urn:microsoft.com/office/officeart/2018/2/layout/IconVerticalSolidList"/>
    <dgm:cxn modelId="{DBFBB1B8-6756-4EDF-9084-9013E80BF48F}" type="presParOf" srcId="{3DAACA2A-9929-4EF3-9203-C4BE923395FD}" destId="{3B7C8953-E516-4AF9-909B-717E41B54B02}" srcOrd="6" destOrd="0" presId="urn:microsoft.com/office/officeart/2018/2/layout/IconVerticalSolidList"/>
    <dgm:cxn modelId="{9B930EFA-D0F5-429E-8507-96F645CCE2CE}" type="presParOf" srcId="{3B7C8953-E516-4AF9-909B-717E41B54B02}" destId="{588553BF-300D-480A-BC8B-F4D4C9EC507E}" srcOrd="0" destOrd="0" presId="urn:microsoft.com/office/officeart/2018/2/layout/IconVerticalSolidList"/>
    <dgm:cxn modelId="{8FDA2F6B-2E86-4C3D-AA81-1772EF2949B9}" type="presParOf" srcId="{3B7C8953-E516-4AF9-909B-717E41B54B02}" destId="{9E5EA43F-5741-40F1-BB40-E63B75B16572}" srcOrd="1" destOrd="0" presId="urn:microsoft.com/office/officeart/2018/2/layout/IconVerticalSolidList"/>
    <dgm:cxn modelId="{5D89F607-7538-4EA3-9ED3-33DF3E9D3FC3}" type="presParOf" srcId="{3B7C8953-E516-4AF9-909B-717E41B54B02}" destId="{1F181B60-018D-4D81-A6E6-58F41BE37D49}" srcOrd="2" destOrd="0" presId="urn:microsoft.com/office/officeart/2018/2/layout/IconVerticalSolidList"/>
    <dgm:cxn modelId="{1C9A874E-A49A-4306-A14D-E46E73E6645E}" type="presParOf" srcId="{3B7C8953-E516-4AF9-909B-717E41B54B02}" destId="{9ECE27A6-6BBF-4D9C-A9FF-C5AE44B5D195}" srcOrd="3" destOrd="0" presId="urn:microsoft.com/office/officeart/2018/2/layout/IconVerticalSolid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6.xml><?xml version="1.0" encoding="utf-8"?>
<dgm:dataModel xmlns:dgm="http://schemas.openxmlformats.org/drawingml/2006/diagram" xmlns:a="http://schemas.openxmlformats.org/drawingml/2006/main">
  <dgm:ptLst>
    <dgm:pt modelId="{613121F0-854C-4278-A9FF-8DA656F321B1}" type="doc">
      <dgm:prSet loTypeId="urn:microsoft.com/office/officeart/2018/2/layout/IconVerticalSolidList" loCatId="icon" qsTypeId="urn:microsoft.com/office/officeart/2005/8/quickstyle/simple1" qsCatId="simple" csTypeId="urn:microsoft.com/office/officeart/2018/5/colors/Iconchunking_neutralbg_colorful1" csCatId="colorful" phldr="1"/>
      <dgm:spPr/>
      <dgm:t>
        <a:bodyPr/>
        <a:lstStyle/>
        <a:p>
          <a:endParaRPr lang="en-US"/>
        </a:p>
      </dgm:t>
    </dgm:pt>
    <dgm:pt modelId="{19E39293-536C-4018-96BB-A8B48B127B06}">
      <dgm:prSet/>
      <dgm:spPr/>
      <dgm:t>
        <a:bodyPr/>
        <a:lstStyle/>
        <a:p>
          <a:pPr>
            <a:lnSpc>
              <a:spcPct val="100000"/>
            </a:lnSpc>
          </a:pPr>
          <a:r>
            <a:rPr lang="en-US"/>
            <a:t>Know</a:t>
          </a:r>
        </a:p>
      </dgm:t>
    </dgm:pt>
    <dgm:pt modelId="{9EB057F3-8B4A-4520-BE37-C2026DE9551A}" type="parTrans" cxnId="{E5DA4569-7072-4CD6-8752-A601A0285981}">
      <dgm:prSet/>
      <dgm:spPr/>
      <dgm:t>
        <a:bodyPr/>
        <a:lstStyle/>
        <a:p>
          <a:endParaRPr lang="en-US"/>
        </a:p>
      </dgm:t>
    </dgm:pt>
    <dgm:pt modelId="{685D2B02-4746-47C8-B8D1-4690DBD9A3E6}" type="sibTrans" cxnId="{E5DA4569-7072-4CD6-8752-A601A0285981}">
      <dgm:prSet/>
      <dgm:spPr/>
      <dgm:t>
        <a:bodyPr/>
        <a:lstStyle/>
        <a:p>
          <a:endParaRPr lang="en-US"/>
        </a:p>
      </dgm:t>
    </dgm:pt>
    <dgm:pt modelId="{3CF1FCFE-97A3-444F-9DE9-E59301F30D47}">
      <dgm:prSet/>
      <dgm:spPr/>
      <dgm:t>
        <a:bodyPr/>
        <a:lstStyle/>
        <a:p>
          <a:pPr>
            <a:lnSpc>
              <a:spcPct val="100000"/>
            </a:lnSpc>
          </a:pPr>
          <a:r>
            <a:rPr lang="en-US" dirty="0"/>
            <a:t>Comprehend</a:t>
          </a:r>
        </a:p>
      </dgm:t>
    </dgm:pt>
    <dgm:pt modelId="{8589A876-3BE6-4DBC-9921-96653B6D4885}" type="parTrans" cxnId="{9E9884C8-5116-420D-8103-451FBD3E3BBF}">
      <dgm:prSet/>
      <dgm:spPr/>
      <dgm:t>
        <a:bodyPr/>
        <a:lstStyle/>
        <a:p>
          <a:endParaRPr lang="en-US"/>
        </a:p>
      </dgm:t>
    </dgm:pt>
    <dgm:pt modelId="{B1817478-289E-4E96-AE39-65C51AEABF7B}" type="sibTrans" cxnId="{9E9884C8-5116-420D-8103-451FBD3E3BBF}">
      <dgm:prSet/>
      <dgm:spPr/>
      <dgm:t>
        <a:bodyPr/>
        <a:lstStyle/>
        <a:p>
          <a:endParaRPr lang="en-US"/>
        </a:p>
      </dgm:t>
    </dgm:pt>
    <dgm:pt modelId="{3FC64E37-F2E0-4A40-B434-60BD722133E7}">
      <dgm:prSet/>
      <dgm:spPr/>
      <dgm:t>
        <a:bodyPr/>
        <a:lstStyle/>
        <a:p>
          <a:pPr>
            <a:lnSpc>
              <a:spcPct val="100000"/>
            </a:lnSpc>
          </a:pPr>
          <a:r>
            <a:rPr lang="en-US" dirty="0"/>
            <a:t>Understand</a:t>
          </a:r>
        </a:p>
      </dgm:t>
    </dgm:pt>
    <dgm:pt modelId="{5377D60A-601F-43B1-88DF-1829D9D109D6}" type="parTrans" cxnId="{D0F74292-23F7-4B3C-A7AE-277325D8A173}">
      <dgm:prSet/>
      <dgm:spPr/>
      <dgm:t>
        <a:bodyPr/>
        <a:lstStyle/>
        <a:p>
          <a:endParaRPr lang="en-US"/>
        </a:p>
      </dgm:t>
    </dgm:pt>
    <dgm:pt modelId="{8512E567-E287-4D74-8AEF-B63DDEF0FE8F}" type="sibTrans" cxnId="{D0F74292-23F7-4B3C-A7AE-277325D8A173}">
      <dgm:prSet/>
      <dgm:spPr/>
      <dgm:t>
        <a:bodyPr/>
        <a:lstStyle/>
        <a:p>
          <a:endParaRPr lang="en-US"/>
        </a:p>
      </dgm:t>
    </dgm:pt>
    <dgm:pt modelId="{AA7AEDA4-514D-448F-9A72-0A00B7C5968E}">
      <dgm:prSet/>
      <dgm:spPr/>
      <dgm:t>
        <a:bodyPr/>
        <a:lstStyle/>
        <a:p>
          <a:pPr>
            <a:lnSpc>
              <a:spcPct val="100000"/>
            </a:lnSpc>
          </a:pPr>
          <a:r>
            <a:rPr lang="en-US" dirty="0"/>
            <a:t>Teach</a:t>
          </a:r>
        </a:p>
      </dgm:t>
    </dgm:pt>
    <dgm:pt modelId="{1329610F-DCB9-47AD-9F96-2FAC94151E63}" type="parTrans" cxnId="{326FDA29-EBC4-4360-807B-631D7A297D06}">
      <dgm:prSet/>
      <dgm:spPr/>
      <dgm:t>
        <a:bodyPr/>
        <a:lstStyle/>
        <a:p>
          <a:endParaRPr lang="en-US"/>
        </a:p>
      </dgm:t>
    </dgm:pt>
    <dgm:pt modelId="{DE1D4B57-EC04-46F2-B0FD-EA178F73E2E2}" type="sibTrans" cxnId="{326FDA29-EBC4-4360-807B-631D7A297D06}">
      <dgm:prSet/>
      <dgm:spPr/>
      <dgm:t>
        <a:bodyPr/>
        <a:lstStyle/>
        <a:p>
          <a:endParaRPr lang="en-US"/>
        </a:p>
      </dgm:t>
    </dgm:pt>
    <dgm:pt modelId="{8735C3F5-8672-4FA7-B6A7-B0C48C278698}" type="pres">
      <dgm:prSet presAssocID="{613121F0-854C-4278-A9FF-8DA656F321B1}" presName="root" presStyleCnt="0">
        <dgm:presLayoutVars>
          <dgm:dir/>
          <dgm:resizeHandles val="exact"/>
        </dgm:presLayoutVars>
      </dgm:prSet>
      <dgm:spPr/>
    </dgm:pt>
    <dgm:pt modelId="{AA054514-B792-4620-8DAC-8F500C9967D5}" type="pres">
      <dgm:prSet presAssocID="{19E39293-536C-4018-96BB-A8B48B127B06}" presName="compNode" presStyleCnt="0"/>
      <dgm:spPr/>
    </dgm:pt>
    <dgm:pt modelId="{289E0077-A29D-45BB-8FCE-7441AD9013C2}" type="pres">
      <dgm:prSet presAssocID="{19E39293-536C-4018-96BB-A8B48B127B06}" presName="bgRect" presStyleLbl="bgShp" presStyleIdx="0" presStyleCnt="4"/>
      <dgm:spPr/>
    </dgm:pt>
    <dgm:pt modelId="{3F97801B-6D8D-42AD-A0FB-F72C200AB027}" type="pres">
      <dgm:prSet presAssocID="{19E39293-536C-4018-96BB-A8B48B127B06}" presName="iconRect" presStyleLbl="node1" presStyleIdx="0" presStyleCnt="4"/>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a:noFill/>
        </a:ln>
      </dgm:spPr>
      <dgm:extLst>
        <a:ext uri="{E40237B7-FDA0-4F09-8148-C483321AD2D9}">
          <dgm14:cNvPr xmlns:dgm14="http://schemas.microsoft.com/office/drawing/2010/diagram" id="0" name="" descr="Help"/>
        </a:ext>
      </dgm:extLst>
    </dgm:pt>
    <dgm:pt modelId="{FEC3B0C3-EA62-4207-BF87-602C30DE70D3}" type="pres">
      <dgm:prSet presAssocID="{19E39293-536C-4018-96BB-A8B48B127B06}" presName="spaceRect" presStyleCnt="0"/>
      <dgm:spPr/>
    </dgm:pt>
    <dgm:pt modelId="{C0DD5173-A1ED-4698-9022-366AD2AB76A7}" type="pres">
      <dgm:prSet presAssocID="{19E39293-536C-4018-96BB-A8B48B127B06}" presName="parTx" presStyleLbl="revTx" presStyleIdx="0" presStyleCnt="4">
        <dgm:presLayoutVars>
          <dgm:chMax val="0"/>
          <dgm:chPref val="0"/>
        </dgm:presLayoutVars>
      </dgm:prSet>
      <dgm:spPr/>
    </dgm:pt>
    <dgm:pt modelId="{0067202C-DFF2-4A9F-BF72-5353A898A602}" type="pres">
      <dgm:prSet presAssocID="{685D2B02-4746-47C8-B8D1-4690DBD9A3E6}" presName="sibTrans" presStyleCnt="0"/>
      <dgm:spPr/>
    </dgm:pt>
    <dgm:pt modelId="{051282B1-89A4-45D1-A405-979CB2CB6231}" type="pres">
      <dgm:prSet presAssocID="{3CF1FCFE-97A3-444F-9DE9-E59301F30D47}" presName="compNode" presStyleCnt="0"/>
      <dgm:spPr/>
    </dgm:pt>
    <dgm:pt modelId="{999FAF62-676D-40BC-8D7D-29924360E948}" type="pres">
      <dgm:prSet presAssocID="{3CF1FCFE-97A3-444F-9DE9-E59301F30D47}" presName="bgRect" presStyleLbl="bgShp" presStyleIdx="1" presStyleCnt="4"/>
      <dgm:spPr/>
    </dgm:pt>
    <dgm:pt modelId="{B22E0F55-6C61-4AC0-B64D-73940B8B4115}" type="pres">
      <dgm:prSet presAssocID="{3CF1FCFE-97A3-444F-9DE9-E59301F30D47}" presName="iconRect" presStyleLbl="node1" presStyleIdx="1" presStyleCnt="4"/>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dgm:spPr>
      <dgm:extLst>
        <a:ext uri="{E40237B7-FDA0-4F09-8148-C483321AD2D9}">
          <dgm14:cNvPr xmlns:dgm14="http://schemas.microsoft.com/office/drawing/2010/diagram" id="0" name="" descr="Head with Gears"/>
        </a:ext>
      </dgm:extLst>
    </dgm:pt>
    <dgm:pt modelId="{14DBA193-4790-4E8F-AA55-039B24E3EA9C}" type="pres">
      <dgm:prSet presAssocID="{3CF1FCFE-97A3-444F-9DE9-E59301F30D47}" presName="spaceRect" presStyleCnt="0"/>
      <dgm:spPr/>
    </dgm:pt>
    <dgm:pt modelId="{EBCB2261-33FC-4986-988A-9A1FE98545B9}" type="pres">
      <dgm:prSet presAssocID="{3CF1FCFE-97A3-444F-9DE9-E59301F30D47}" presName="parTx" presStyleLbl="revTx" presStyleIdx="1" presStyleCnt="4">
        <dgm:presLayoutVars>
          <dgm:chMax val="0"/>
          <dgm:chPref val="0"/>
        </dgm:presLayoutVars>
      </dgm:prSet>
      <dgm:spPr/>
    </dgm:pt>
    <dgm:pt modelId="{928CCEEE-903D-442A-A1B8-D170EB0FDB2D}" type="pres">
      <dgm:prSet presAssocID="{B1817478-289E-4E96-AE39-65C51AEABF7B}" presName="sibTrans" presStyleCnt="0"/>
      <dgm:spPr/>
    </dgm:pt>
    <dgm:pt modelId="{5ADDB41A-CFEB-40EF-B392-5C23DCEC1C3E}" type="pres">
      <dgm:prSet presAssocID="{3FC64E37-F2E0-4A40-B434-60BD722133E7}" presName="compNode" presStyleCnt="0"/>
      <dgm:spPr/>
    </dgm:pt>
    <dgm:pt modelId="{161A473E-FD38-43A3-A295-C189BE002EC0}" type="pres">
      <dgm:prSet presAssocID="{3FC64E37-F2E0-4A40-B434-60BD722133E7}" presName="bgRect" presStyleLbl="bgShp" presStyleIdx="2" presStyleCnt="4"/>
      <dgm:spPr/>
    </dgm:pt>
    <dgm:pt modelId="{D1DE4919-68F8-4D71-99F8-A5CFD35D31A8}" type="pres">
      <dgm:prSet presAssocID="{3FC64E37-F2E0-4A40-B434-60BD722133E7}" presName="iconRect" presStyleLbl="node1" presStyleIdx="2" presStyleCnt="4"/>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a:noFill/>
        </a:ln>
      </dgm:spPr>
      <dgm:extLst>
        <a:ext uri="{E40237B7-FDA0-4F09-8148-C483321AD2D9}">
          <dgm14:cNvPr xmlns:dgm14="http://schemas.microsoft.com/office/drawing/2010/diagram" id="0" name="" descr="Bullseye"/>
        </a:ext>
      </dgm:extLst>
    </dgm:pt>
    <dgm:pt modelId="{48007CB2-2B2A-4E20-AFFA-2BE61D6872A5}" type="pres">
      <dgm:prSet presAssocID="{3FC64E37-F2E0-4A40-B434-60BD722133E7}" presName="spaceRect" presStyleCnt="0"/>
      <dgm:spPr/>
    </dgm:pt>
    <dgm:pt modelId="{41234052-E9F0-4E29-94DD-5AB1B4BF3554}" type="pres">
      <dgm:prSet presAssocID="{3FC64E37-F2E0-4A40-B434-60BD722133E7}" presName="parTx" presStyleLbl="revTx" presStyleIdx="2" presStyleCnt="4">
        <dgm:presLayoutVars>
          <dgm:chMax val="0"/>
          <dgm:chPref val="0"/>
        </dgm:presLayoutVars>
      </dgm:prSet>
      <dgm:spPr/>
    </dgm:pt>
    <dgm:pt modelId="{93B7E64D-E0DF-4585-8A2D-F387749A1A93}" type="pres">
      <dgm:prSet presAssocID="{8512E567-E287-4D74-8AEF-B63DDEF0FE8F}" presName="sibTrans" presStyleCnt="0"/>
      <dgm:spPr/>
    </dgm:pt>
    <dgm:pt modelId="{10B9C8C8-7C98-4E05-BCC9-E6B3653C3910}" type="pres">
      <dgm:prSet presAssocID="{AA7AEDA4-514D-448F-9A72-0A00B7C5968E}" presName="compNode" presStyleCnt="0"/>
      <dgm:spPr/>
    </dgm:pt>
    <dgm:pt modelId="{23DFF09F-DDD7-4871-B944-3FCE38CA9E08}" type="pres">
      <dgm:prSet presAssocID="{AA7AEDA4-514D-448F-9A72-0A00B7C5968E}" presName="bgRect" presStyleLbl="bgShp" presStyleIdx="3" presStyleCnt="4"/>
      <dgm:spPr/>
    </dgm:pt>
    <dgm:pt modelId="{1749E365-7B06-4650-BDEA-20F359C4DBBB}" type="pres">
      <dgm:prSet presAssocID="{AA7AEDA4-514D-448F-9A72-0A00B7C5968E}" presName="iconRect" presStyleLbl="node1" presStyleIdx="3" presStyleCnt="4"/>
      <dgm:spPr>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a:noFill/>
        </a:ln>
      </dgm:spPr>
      <dgm:extLst>
        <a:ext uri="{E40237B7-FDA0-4F09-8148-C483321AD2D9}">
          <dgm14:cNvPr xmlns:dgm14="http://schemas.microsoft.com/office/drawing/2010/diagram" id="0" name="" descr="Teacher"/>
        </a:ext>
      </dgm:extLst>
    </dgm:pt>
    <dgm:pt modelId="{6DB8D0E0-FB36-47FE-AF40-F34CCC19AB89}" type="pres">
      <dgm:prSet presAssocID="{AA7AEDA4-514D-448F-9A72-0A00B7C5968E}" presName="spaceRect" presStyleCnt="0"/>
      <dgm:spPr/>
    </dgm:pt>
    <dgm:pt modelId="{507E0309-152E-4C18-B73C-19C83F41ECC3}" type="pres">
      <dgm:prSet presAssocID="{AA7AEDA4-514D-448F-9A72-0A00B7C5968E}" presName="parTx" presStyleLbl="revTx" presStyleIdx="3" presStyleCnt="4">
        <dgm:presLayoutVars>
          <dgm:chMax val="0"/>
          <dgm:chPref val="0"/>
        </dgm:presLayoutVars>
      </dgm:prSet>
      <dgm:spPr/>
    </dgm:pt>
  </dgm:ptLst>
  <dgm:cxnLst>
    <dgm:cxn modelId="{6FC34E04-68A4-4673-89C5-D1E3642D9BC6}" type="presOf" srcId="{AA7AEDA4-514D-448F-9A72-0A00B7C5968E}" destId="{507E0309-152E-4C18-B73C-19C83F41ECC3}" srcOrd="0" destOrd="0" presId="urn:microsoft.com/office/officeart/2018/2/layout/IconVerticalSolidList"/>
    <dgm:cxn modelId="{432B6D11-C3F7-4B3D-9AC0-EE1F7886F652}" type="presOf" srcId="{613121F0-854C-4278-A9FF-8DA656F321B1}" destId="{8735C3F5-8672-4FA7-B6A7-B0C48C278698}" srcOrd="0" destOrd="0" presId="urn:microsoft.com/office/officeart/2018/2/layout/IconVerticalSolidList"/>
    <dgm:cxn modelId="{326FDA29-EBC4-4360-807B-631D7A297D06}" srcId="{613121F0-854C-4278-A9FF-8DA656F321B1}" destId="{AA7AEDA4-514D-448F-9A72-0A00B7C5968E}" srcOrd="3" destOrd="0" parTransId="{1329610F-DCB9-47AD-9F96-2FAC94151E63}" sibTransId="{DE1D4B57-EC04-46F2-B0FD-EA178F73E2E2}"/>
    <dgm:cxn modelId="{E5DA4569-7072-4CD6-8752-A601A0285981}" srcId="{613121F0-854C-4278-A9FF-8DA656F321B1}" destId="{19E39293-536C-4018-96BB-A8B48B127B06}" srcOrd="0" destOrd="0" parTransId="{9EB057F3-8B4A-4520-BE37-C2026DE9551A}" sibTransId="{685D2B02-4746-47C8-B8D1-4690DBD9A3E6}"/>
    <dgm:cxn modelId="{D3063389-6FCB-4D21-92A6-DD4B0AADB058}" type="presOf" srcId="{3FC64E37-F2E0-4A40-B434-60BD722133E7}" destId="{41234052-E9F0-4E29-94DD-5AB1B4BF3554}" srcOrd="0" destOrd="0" presId="urn:microsoft.com/office/officeart/2018/2/layout/IconVerticalSolidList"/>
    <dgm:cxn modelId="{D0F74292-23F7-4B3C-A7AE-277325D8A173}" srcId="{613121F0-854C-4278-A9FF-8DA656F321B1}" destId="{3FC64E37-F2E0-4A40-B434-60BD722133E7}" srcOrd="2" destOrd="0" parTransId="{5377D60A-601F-43B1-88DF-1829D9D109D6}" sibTransId="{8512E567-E287-4D74-8AEF-B63DDEF0FE8F}"/>
    <dgm:cxn modelId="{C1BE2893-D336-499F-89EB-14847F527564}" type="presOf" srcId="{3CF1FCFE-97A3-444F-9DE9-E59301F30D47}" destId="{EBCB2261-33FC-4986-988A-9A1FE98545B9}" srcOrd="0" destOrd="0" presId="urn:microsoft.com/office/officeart/2018/2/layout/IconVerticalSolidList"/>
    <dgm:cxn modelId="{E3FA80BD-15CE-4F4B-A522-9C0B1DF48089}" type="presOf" srcId="{19E39293-536C-4018-96BB-A8B48B127B06}" destId="{C0DD5173-A1ED-4698-9022-366AD2AB76A7}" srcOrd="0" destOrd="0" presId="urn:microsoft.com/office/officeart/2018/2/layout/IconVerticalSolidList"/>
    <dgm:cxn modelId="{9E9884C8-5116-420D-8103-451FBD3E3BBF}" srcId="{613121F0-854C-4278-A9FF-8DA656F321B1}" destId="{3CF1FCFE-97A3-444F-9DE9-E59301F30D47}" srcOrd="1" destOrd="0" parTransId="{8589A876-3BE6-4DBC-9921-96653B6D4885}" sibTransId="{B1817478-289E-4E96-AE39-65C51AEABF7B}"/>
    <dgm:cxn modelId="{FDC3C7DD-BFE9-47D3-A405-BAF4CB33BBE3}" type="presParOf" srcId="{8735C3F5-8672-4FA7-B6A7-B0C48C278698}" destId="{AA054514-B792-4620-8DAC-8F500C9967D5}" srcOrd="0" destOrd="0" presId="urn:microsoft.com/office/officeart/2018/2/layout/IconVerticalSolidList"/>
    <dgm:cxn modelId="{7CCCF14E-C24A-4CC0-8DB8-908AC70C9268}" type="presParOf" srcId="{AA054514-B792-4620-8DAC-8F500C9967D5}" destId="{289E0077-A29D-45BB-8FCE-7441AD9013C2}" srcOrd="0" destOrd="0" presId="urn:microsoft.com/office/officeart/2018/2/layout/IconVerticalSolidList"/>
    <dgm:cxn modelId="{691BE34A-E000-4C10-BDB3-00BC3104BB78}" type="presParOf" srcId="{AA054514-B792-4620-8DAC-8F500C9967D5}" destId="{3F97801B-6D8D-42AD-A0FB-F72C200AB027}" srcOrd="1" destOrd="0" presId="urn:microsoft.com/office/officeart/2018/2/layout/IconVerticalSolidList"/>
    <dgm:cxn modelId="{B001294F-A48D-4E3F-AE7C-CAFC28D30F7B}" type="presParOf" srcId="{AA054514-B792-4620-8DAC-8F500C9967D5}" destId="{FEC3B0C3-EA62-4207-BF87-602C30DE70D3}" srcOrd="2" destOrd="0" presId="urn:microsoft.com/office/officeart/2018/2/layout/IconVerticalSolidList"/>
    <dgm:cxn modelId="{AD9CD1BA-D76E-4698-9A27-65C9E7B6FB39}" type="presParOf" srcId="{AA054514-B792-4620-8DAC-8F500C9967D5}" destId="{C0DD5173-A1ED-4698-9022-366AD2AB76A7}" srcOrd="3" destOrd="0" presId="urn:microsoft.com/office/officeart/2018/2/layout/IconVerticalSolidList"/>
    <dgm:cxn modelId="{2B8B2EC3-9BD8-4315-ADB6-2C41E55506D7}" type="presParOf" srcId="{8735C3F5-8672-4FA7-B6A7-B0C48C278698}" destId="{0067202C-DFF2-4A9F-BF72-5353A898A602}" srcOrd="1" destOrd="0" presId="urn:microsoft.com/office/officeart/2018/2/layout/IconVerticalSolidList"/>
    <dgm:cxn modelId="{5DB1F88A-9CCB-4285-B40A-23FBAD6F22C1}" type="presParOf" srcId="{8735C3F5-8672-4FA7-B6A7-B0C48C278698}" destId="{051282B1-89A4-45D1-A405-979CB2CB6231}" srcOrd="2" destOrd="0" presId="urn:microsoft.com/office/officeart/2018/2/layout/IconVerticalSolidList"/>
    <dgm:cxn modelId="{62ECE5F9-C55A-4483-9F76-3A44196262CB}" type="presParOf" srcId="{051282B1-89A4-45D1-A405-979CB2CB6231}" destId="{999FAF62-676D-40BC-8D7D-29924360E948}" srcOrd="0" destOrd="0" presId="urn:microsoft.com/office/officeart/2018/2/layout/IconVerticalSolidList"/>
    <dgm:cxn modelId="{28BADF1E-9E85-4B3F-97EA-D2BD8AA97786}" type="presParOf" srcId="{051282B1-89A4-45D1-A405-979CB2CB6231}" destId="{B22E0F55-6C61-4AC0-B64D-73940B8B4115}" srcOrd="1" destOrd="0" presId="urn:microsoft.com/office/officeart/2018/2/layout/IconVerticalSolidList"/>
    <dgm:cxn modelId="{718755BC-15FA-4F33-8617-89D2F830F0CC}" type="presParOf" srcId="{051282B1-89A4-45D1-A405-979CB2CB6231}" destId="{14DBA193-4790-4E8F-AA55-039B24E3EA9C}" srcOrd="2" destOrd="0" presId="urn:microsoft.com/office/officeart/2018/2/layout/IconVerticalSolidList"/>
    <dgm:cxn modelId="{3EEA9AF0-6424-4410-98A7-A9CD34A9A577}" type="presParOf" srcId="{051282B1-89A4-45D1-A405-979CB2CB6231}" destId="{EBCB2261-33FC-4986-988A-9A1FE98545B9}" srcOrd="3" destOrd="0" presId="urn:microsoft.com/office/officeart/2018/2/layout/IconVerticalSolidList"/>
    <dgm:cxn modelId="{7A182BA0-F215-41F3-92E4-A458EF39CCD0}" type="presParOf" srcId="{8735C3F5-8672-4FA7-B6A7-B0C48C278698}" destId="{928CCEEE-903D-442A-A1B8-D170EB0FDB2D}" srcOrd="3" destOrd="0" presId="urn:microsoft.com/office/officeart/2018/2/layout/IconVerticalSolidList"/>
    <dgm:cxn modelId="{C3A132E5-E1A6-47EF-B794-D394F25AAC99}" type="presParOf" srcId="{8735C3F5-8672-4FA7-B6A7-B0C48C278698}" destId="{5ADDB41A-CFEB-40EF-B392-5C23DCEC1C3E}" srcOrd="4" destOrd="0" presId="urn:microsoft.com/office/officeart/2018/2/layout/IconVerticalSolidList"/>
    <dgm:cxn modelId="{6F5C67BB-CB26-48B0-9721-50F513D7529C}" type="presParOf" srcId="{5ADDB41A-CFEB-40EF-B392-5C23DCEC1C3E}" destId="{161A473E-FD38-43A3-A295-C189BE002EC0}" srcOrd="0" destOrd="0" presId="urn:microsoft.com/office/officeart/2018/2/layout/IconVerticalSolidList"/>
    <dgm:cxn modelId="{9C88F978-DD36-4687-A445-10DAD4B702B5}" type="presParOf" srcId="{5ADDB41A-CFEB-40EF-B392-5C23DCEC1C3E}" destId="{D1DE4919-68F8-4D71-99F8-A5CFD35D31A8}" srcOrd="1" destOrd="0" presId="urn:microsoft.com/office/officeart/2018/2/layout/IconVerticalSolidList"/>
    <dgm:cxn modelId="{32832278-B3A4-45CD-8D88-901B6A6927BF}" type="presParOf" srcId="{5ADDB41A-CFEB-40EF-B392-5C23DCEC1C3E}" destId="{48007CB2-2B2A-4E20-AFFA-2BE61D6872A5}" srcOrd="2" destOrd="0" presId="urn:microsoft.com/office/officeart/2018/2/layout/IconVerticalSolidList"/>
    <dgm:cxn modelId="{25E41337-AF9D-4AF1-9DD0-1D942403CF87}" type="presParOf" srcId="{5ADDB41A-CFEB-40EF-B392-5C23DCEC1C3E}" destId="{41234052-E9F0-4E29-94DD-5AB1B4BF3554}" srcOrd="3" destOrd="0" presId="urn:microsoft.com/office/officeart/2018/2/layout/IconVerticalSolidList"/>
    <dgm:cxn modelId="{F496B037-2F5B-4E88-920E-DA5662C4E462}" type="presParOf" srcId="{8735C3F5-8672-4FA7-B6A7-B0C48C278698}" destId="{93B7E64D-E0DF-4585-8A2D-F387749A1A93}" srcOrd="5" destOrd="0" presId="urn:microsoft.com/office/officeart/2018/2/layout/IconVerticalSolidList"/>
    <dgm:cxn modelId="{1CC48144-5AF4-473F-B382-B8189C350DAD}" type="presParOf" srcId="{8735C3F5-8672-4FA7-B6A7-B0C48C278698}" destId="{10B9C8C8-7C98-4E05-BCC9-E6B3653C3910}" srcOrd="6" destOrd="0" presId="urn:microsoft.com/office/officeart/2018/2/layout/IconVerticalSolidList"/>
    <dgm:cxn modelId="{120D2E44-C028-44C4-94B2-DB2358AD5927}" type="presParOf" srcId="{10B9C8C8-7C98-4E05-BCC9-E6B3653C3910}" destId="{23DFF09F-DDD7-4871-B944-3FCE38CA9E08}" srcOrd="0" destOrd="0" presId="urn:microsoft.com/office/officeart/2018/2/layout/IconVerticalSolidList"/>
    <dgm:cxn modelId="{CBFB8A6B-C91C-4254-8034-FBE2EEBB6800}" type="presParOf" srcId="{10B9C8C8-7C98-4E05-BCC9-E6B3653C3910}" destId="{1749E365-7B06-4650-BDEA-20F359C4DBBB}" srcOrd="1" destOrd="0" presId="urn:microsoft.com/office/officeart/2018/2/layout/IconVerticalSolidList"/>
    <dgm:cxn modelId="{6A69F4D1-B4A9-42B5-A67D-28A5AA809969}" type="presParOf" srcId="{10B9C8C8-7C98-4E05-BCC9-E6B3653C3910}" destId="{6DB8D0E0-FB36-47FE-AF40-F34CCC19AB89}" srcOrd="2" destOrd="0" presId="urn:microsoft.com/office/officeart/2018/2/layout/IconVerticalSolidList"/>
    <dgm:cxn modelId="{77CDAC12-37AE-4ABE-8473-CDDD269E8AAD}" type="presParOf" srcId="{10B9C8C8-7C98-4E05-BCC9-E6B3653C3910}" destId="{507E0309-152E-4C18-B73C-19C83F41ECC3}" srcOrd="3" destOrd="0" presId="urn:microsoft.com/office/officeart/2018/2/layout/IconVerticalSolid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7.xml><?xml version="1.0" encoding="utf-8"?>
<dgm:dataModel xmlns:dgm="http://schemas.openxmlformats.org/drawingml/2006/diagram" xmlns:a="http://schemas.openxmlformats.org/drawingml/2006/main">
  <dgm:ptLst>
    <dgm:pt modelId="{263CFFAB-8955-445F-8CD0-DB2DAC3EE7A0}" type="doc">
      <dgm:prSet loTypeId="urn:microsoft.com/office/officeart/2018/2/layout/IconVerticalSolidList" loCatId="icon" qsTypeId="urn:microsoft.com/office/officeart/2005/8/quickstyle/simple1" qsCatId="simple" csTypeId="urn:microsoft.com/office/officeart/2018/5/colors/Iconchunking_neutralbg_colorful5" csCatId="colorful" phldr="1"/>
      <dgm:spPr/>
      <dgm:t>
        <a:bodyPr/>
        <a:lstStyle/>
        <a:p>
          <a:endParaRPr lang="en-US"/>
        </a:p>
      </dgm:t>
    </dgm:pt>
    <dgm:pt modelId="{456FD520-610C-479E-B1F8-693BC8AEF5D0}">
      <dgm:prSet/>
      <dgm:spPr/>
      <dgm:t>
        <a:bodyPr/>
        <a:lstStyle/>
        <a:p>
          <a:r>
            <a:rPr lang="en-US"/>
            <a:t>Establish a plan</a:t>
          </a:r>
        </a:p>
      </dgm:t>
    </dgm:pt>
    <dgm:pt modelId="{D5A608F0-2C7E-437E-B35E-5C8CECB47EF8}" type="parTrans" cxnId="{65BDDE0D-9489-4300-B3FB-FC2581445E5B}">
      <dgm:prSet/>
      <dgm:spPr/>
      <dgm:t>
        <a:bodyPr/>
        <a:lstStyle/>
        <a:p>
          <a:endParaRPr lang="en-US"/>
        </a:p>
      </dgm:t>
    </dgm:pt>
    <dgm:pt modelId="{70776536-0518-4C86-9513-89BCC2D54EAD}" type="sibTrans" cxnId="{65BDDE0D-9489-4300-B3FB-FC2581445E5B}">
      <dgm:prSet/>
      <dgm:spPr/>
      <dgm:t>
        <a:bodyPr/>
        <a:lstStyle/>
        <a:p>
          <a:endParaRPr lang="en-US"/>
        </a:p>
      </dgm:t>
    </dgm:pt>
    <dgm:pt modelId="{114C7A20-BAC7-4F41-9DAB-FC06C0371F04}">
      <dgm:prSet/>
      <dgm:spPr/>
      <dgm:t>
        <a:bodyPr/>
        <a:lstStyle/>
        <a:p>
          <a:r>
            <a:rPr lang="en-US"/>
            <a:t>Set a goal with a timeframe</a:t>
          </a:r>
        </a:p>
      </dgm:t>
    </dgm:pt>
    <dgm:pt modelId="{7174E3A7-29CF-450F-8476-F7DCD505836A}" type="parTrans" cxnId="{07BB29D9-57D1-43D4-8E46-18964227FF55}">
      <dgm:prSet/>
      <dgm:spPr/>
      <dgm:t>
        <a:bodyPr/>
        <a:lstStyle/>
        <a:p>
          <a:endParaRPr lang="en-US"/>
        </a:p>
      </dgm:t>
    </dgm:pt>
    <dgm:pt modelId="{960F453C-A41B-4619-9BFE-18EC679B9952}" type="sibTrans" cxnId="{07BB29D9-57D1-43D4-8E46-18964227FF55}">
      <dgm:prSet/>
      <dgm:spPr/>
      <dgm:t>
        <a:bodyPr/>
        <a:lstStyle/>
        <a:p>
          <a:endParaRPr lang="en-US"/>
        </a:p>
      </dgm:t>
    </dgm:pt>
    <dgm:pt modelId="{C55087FC-88EC-4523-B015-A5A6B9135B39}">
      <dgm:prSet/>
      <dgm:spPr/>
      <dgm:t>
        <a:bodyPr/>
        <a:lstStyle/>
        <a:p>
          <a:r>
            <a:rPr lang="en-US"/>
            <a:t>Assemble your study resources</a:t>
          </a:r>
        </a:p>
      </dgm:t>
    </dgm:pt>
    <dgm:pt modelId="{48F9DC83-EEF0-4D57-ACFB-6DA3E29AFE58}" type="parTrans" cxnId="{159DABF0-188D-4EC8-AE89-5F7F7092B488}">
      <dgm:prSet/>
      <dgm:spPr/>
      <dgm:t>
        <a:bodyPr/>
        <a:lstStyle/>
        <a:p>
          <a:endParaRPr lang="en-US"/>
        </a:p>
      </dgm:t>
    </dgm:pt>
    <dgm:pt modelId="{9F6286A1-9DB4-40E7-9C35-59597AB3A755}" type="sibTrans" cxnId="{159DABF0-188D-4EC8-AE89-5F7F7092B488}">
      <dgm:prSet/>
      <dgm:spPr/>
      <dgm:t>
        <a:bodyPr/>
        <a:lstStyle/>
        <a:p>
          <a:endParaRPr lang="en-US"/>
        </a:p>
      </dgm:t>
    </dgm:pt>
    <dgm:pt modelId="{BB156723-A25B-4640-8DC9-DDD6DA7B065D}">
      <dgm:prSet/>
      <dgm:spPr/>
      <dgm:t>
        <a:bodyPr/>
        <a:lstStyle/>
        <a:p>
          <a:r>
            <a:rPr lang="en-US"/>
            <a:t>Get a study-buddy (if that helps)</a:t>
          </a:r>
        </a:p>
      </dgm:t>
    </dgm:pt>
    <dgm:pt modelId="{FD64C79A-2A9D-4796-89F3-6E35F6228CFC}" type="parTrans" cxnId="{F98D8333-F33F-4452-8117-BF3CDD8ECD8D}">
      <dgm:prSet/>
      <dgm:spPr/>
      <dgm:t>
        <a:bodyPr/>
        <a:lstStyle/>
        <a:p>
          <a:endParaRPr lang="en-US"/>
        </a:p>
      </dgm:t>
    </dgm:pt>
    <dgm:pt modelId="{18EE24E6-58DA-4CB6-A3FB-C1C126F583BB}" type="sibTrans" cxnId="{F98D8333-F33F-4452-8117-BF3CDD8ECD8D}">
      <dgm:prSet/>
      <dgm:spPr/>
      <dgm:t>
        <a:bodyPr/>
        <a:lstStyle/>
        <a:p>
          <a:endParaRPr lang="en-US"/>
        </a:p>
      </dgm:t>
    </dgm:pt>
    <dgm:pt modelId="{1EF96725-620D-47B0-993C-A611D70B8C2E}">
      <dgm:prSet/>
      <dgm:spPr/>
      <dgm:t>
        <a:bodyPr/>
        <a:lstStyle/>
        <a:p>
          <a:r>
            <a:rPr lang="en-US"/>
            <a:t>Be committed</a:t>
          </a:r>
        </a:p>
      </dgm:t>
    </dgm:pt>
    <dgm:pt modelId="{2376A6D9-2779-42A0-9689-A1377C7E6955}" type="parTrans" cxnId="{BF169A3A-2FB8-4D19-9E01-83A03933F7CA}">
      <dgm:prSet/>
      <dgm:spPr/>
      <dgm:t>
        <a:bodyPr/>
        <a:lstStyle/>
        <a:p>
          <a:endParaRPr lang="en-US"/>
        </a:p>
      </dgm:t>
    </dgm:pt>
    <dgm:pt modelId="{FA100622-EE5F-4DCB-9711-81CCDB997227}" type="sibTrans" cxnId="{BF169A3A-2FB8-4D19-9E01-83A03933F7CA}">
      <dgm:prSet/>
      <dgm:spPr/>
      <dgm:t>
        <a:bodyPr/>
        <a:lstStyle/>
        <a:p>
          <a:endParaRPr lang="en-US"/>
        </a:p>
      </dgm:t>
    </dgm:pt>
    <dgm:pt modelId="{84163525-D7E9-4742-86DF-648F21D39EF2}">
      <dgm:prSet/>
      <dgm:spPr/>
      <dgm:t>
        <a:bodyPr/>
        <a:lstStyle/>
        <a:p>
          <a:r>
            <a:rPr lang="en-US" dirty="0"/>
            <a:t>When in doubt, just go take the test</a:t>
          </a:r>
        </a:p>
      </dgm:t>
    </dgm:pt>
    <dgm:pt modelId="{5B43A222-336B-4550-9AD4-14B93D95955E}" type="parTrans" cxnId="{5992569F-F7F4-4AED-8E15-A51D19FEAA60}">
      <dgm:prSet/>
      <dgm:spPr/>
      <dgm:t>
        <a:bodyPr/>
        <a:lstStyle/>
        <a:p>
          <a:endParaRPr lang="en-US"/>
        </a:p>
      </dgm:t>
    </dgm:pt>
    <dgm:pt modelId="{EDFD0E11-DF47-41B3-9B5A-274923049D8C}" type="sibTrans" cxnId="{5992569F-F7F4-4AED-8E15-A51D19FEAA60}">
      <dgm:prSet/>
      <dgm:spPr/>
      <dgm:t>
        <a:bodyPr/>
        <a:lstStyle/>
        <a:p>
          <a:endParaRPr lang="en-US"/>
        </a:p>
      </dgm:t>
    </dgm:pt>
    <dgm:pt modelId="{4BDBE9DA-D401-4F86-B4B4-85F4856DFDC9}" type="pres">
      <dgm:prSet presAssocID="{263CFFAB-8955-445F-8CD0-DB2DAC3EE7A0}" presName="root" presStyleCnt="0">
        <dgm:presLayoutVars>
          <dgm:dir/>
          <dgm:resizeHandles val="exact"/>
        </dgm:presLayoutVars>
      </dgm:prSet>
      <dgm:spPr/>
    </dgm:pt>
    <dgm:pt modelId="{12A329D4-B890-447A-A675-5B6563A30D8E}" type="pres">
      <dgm:prSet presAssocID="{456FD520-610C-479E-B1F8-693BC8AEF5D0}" presName="compNode" presStyleCnt="0"/>
      <dgm:spPr/>
    </dgm:pt>
    <dgm:pt modelId="{5A41E17A-7E33-4F43-998F-39D1819900EB}" type="pres">
      <dgm:prSet presAssocID="{456FD520-610C-479E-B1F8-693BC8AEF5D0}" presName="bgRect" presStyleLbl="bgShp" presStyleIdx="0" presStyleCnt="6"/>
      <dgm:spPr/>
    </dgm:pt>
    <dgm:pt modelId="{90FE9D55-0451-45AF-984C-79201B6F593F}" type="pres">
      <dgm:prSet presAssocID="{456FD520-610C-479E-B1F8-693BC8AEF5D0}" presName="iconRect" presStyleLbl="node1" presStyleIdx="0" presStyleCnt="6"/>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a:noFill/>
        </a:ln>
      </dgm:spPr>
      <dgm:extLst>
        <a:ext uri="{E40237B7-FDA0-4F09-8148-C483321AD2D9}">
          <dgm14:cNvPr xmlns:dgm14="http://schemas.microsoft.com/office/drawing/2010/diagram" id="0" name="" descr="Check List"/>
        </a:ext>
      </dgm:extLst>
    </dgm:pt>
    <dgm:pt modelId="{9A197211-A624-4373-B891-F624274C55F8}" type="pres">
      <dgm:prSet presAssocID="{456FD520-610C-479E-B1F8-693BC8AEF5D0}" presName="spaceRect" presStyleCnt="0"/>
      <dgm:spPr/>
    </dgm:pt>
    <dgm:pt modelId="{2CB0B682-F372-4D92-9F1A-5E02939C3D6C}" type="pres">
      <dgm:prSet presAssocID="{456FD520-610C-479E-B1F8-693BC8AEF5D0}" presName="parTx" presStyleLbl="revTx" presStyleIdx="0" presStyleCnt="6">
        <dgm:presLayoutVars>
          <dgm:chMax val="0"/>
          <dgm:chPref val="0"/>
        </dgm:presLayoutVars>
      </dgm:prSet>
      <dgm:spPr/>
    </dgm:pt>
    <dgm:pt modelId="{8FBB5198-5199-48A6-B362-A74C5CFBB3C6}" type="pres">
      <dgm:prSet presAssocID="{70776536-0518-4C86-9513-89BCC2D54EAD}" presName="sibTrans" presStyleCnt="0"/>
      <dgm:spPr/>
    </dgm:pt>
    <dgm:pt modelId="{DFEAC8B8-A406-43B8-B2D4-B519B83912C1}" type="pres">
      <dgm:prSet presAssocID="{114C7A20-BAC7-4F41-9DAB-FC06C0371F04}" presName="compNode" presStyleCnt="0"/>
      <dgm:spPr/>
    </dgm:pt>
    <dgm:pt modelId="{85CDF927-7680-47E4-92C2-97908C83373D}" type="pres">
      <dgm:prSet presAssocID="{114C7A20-BAC7-4F41-9DAB-FC06C0371F04}" presName="bgRect" presStyleLbl="bgShp" presStyleIdx="1" presStyleCnt="6"/>
      <dgm:spPr/>
    </dgm:pt>
    <dgm:pt modelId="{8E9EB886-9FEC-460E-ADF1-D32C2F294B17}" type="pres">
      <dgm:prSet presAssocID="{114C7A20-BAC7-4F41-9DAB-FC06C0371F04}" presName="iconRect" presStyleLbl="node1" presStyleIdx="1" presStyleCnt="6"/>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dgm:spPr>
      <dgm:extLst>
        <a:ext uri="{E40237B7-FDA0-4F09-8148-C483321AD2D9}">
          <dgm14:cNvPr xmlns:dgm14="http://schemas.microsoft.com/office/drawing/2010/diagram" id="0" name="" descr="Bullseye"/>
        </a:ext>
      </dgm:extLst>
    </dgm:pt>
    <dgm:pt modelId="{3E07F5A9-DF81-4A21-8B91-4804DBA70586}" type="pres">
      <dgm:prSet presAssocID="{114C7A20-BAC7-4F41-9DAB-FC06C0371F04}" presName="spaceRect" presStyleCnt="0"/>
      <dgm:spPr/>
    </dgm:pt>
    <dgm:pt modelId="{0F44B743-0E9D-4B88-8E71-9E8EF0A871A2}" type="pres">
      <dgm:prSet presAssocID="{114C7A20-BAC7-4F41-9DAB-FC06C0371F04}" presName="parTx" presStyleLbl="revTx" presStyleIdx="1" presStyleCnt="6">
        <dgm:presLayoutVars>
          <dgm:chMax val="0"/>
          <dgm:chPref val="0"/>
        </dgm:presLayoutVars>
      </dgm:prSet>
      <dgm:spPr/>
    </dgm:pt>
    <dgm:pt modelId="{212C7517-5B4E-4A9A-95BC-59CCAF3BF62B}" type="pres">
      <dgm:prSet presAssocID="{960F453C-A41B-4619-9BFE-18EC679B9952}" presName="sibTrans" presStyleCnt="0"/>
      <dgm:spPr/>
    </dgm:pt>
    <dgm:pt modelId="{62C86DD7-09E9-4856-9C23-36E073CD2BE8}" type="pres">
      <dgm:prSet presAssocID="{C55087FC-88EC-4523-B015-A5A6B9135B39}" presName="compNode" presStyleCnt="0"/>
      <dgm:spPr/>
    </dgm:pt>
    <dgm:pt modelId="{59FFC8CE-75AD-40A5-AD3B-D0AFF00EA510}" type="pres">
      <dgm:prSet presAssocID="{C55087FC-88EC-4523-B015-A5A6B9135B39}" presName="bgRect" presStyleLbl="bgShp" presStyleIdx="2" presStyleCnt="6"/>
      <dgm:spPr/>
    </dgm:pt>
    <dgm:pt modelId="{0E875FCB-569D-4F0B-9D9E-9F16CA8C6AFF}" type="pres">
      <dgm:prSet presAssocID="{C55087FC-88EC-4523-B015-A5A6B9135B39}" presName="iconRect" presStyleLbl="node1" presStyleIdx="2" presStyleCnt="6"/>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a:noFill/>
        </a:ln>
      </dgm:spPr>
      <dgm:extLst>
        <a:ext uri="{E40237B7-FDA0-4F09-8148-C483321AD2D9}">
          <dgm14:cNvPr xmlns:dgm14="http://schemas.microsoft.com/office/drawing/2010/diagram" id="0" name="" descr="Books on Shelf"/>
        </a:ext>
      </dgm:extLst>
    </dgm:pt>
    <dgm:pt modelId="{7D251678-36B8-4967-8F61-C9947D3ECCF5}" type="pres">
      <dgm:prSet presAssocID="{C55087FC-88EC-4523-B015-A5A6B9135B39}" presName="spaceRect" presStyleCnt="0"/>
      <dgm:spPr/>
    </dgm:pt>
    <dgm:pt modelId="{BD0234E9-DDDC-48DD-B86A-4538A94398E5}" type="pres">
      <dgm:prSet presAssocID="{C55087FC-88EC-4523-B015-A5A6B9135B39}" presName="parTx" presStyleLbl="revTx" presStyleIdx="2" presStyleCnt="6">
        <dgm:presLayoutVars>
          <dgm:chMax val="0"/>
          <dgm:chPref val="0"/>
        </dgm:presLayoutVars>
      </dgm:prSet>
      <dgm:spPr/>
    </dgm:pt>
    <dgm:pt modelId="{6D73BCEA-7E7F-4118-85F0-F108A974661B}" type="pres">
      <dgm:prSet presAssocID="{9F6286A1-9DB4-40E7-9C35-59597AB3A755}" presName="sibTrans" presStyleCnt="0"/>
      <dgm:spPr/>
    </dgm:pt>
    <dgm:pt modelId="{0B851273-38CE-4C84-9262-B0AD5D972AD4}" type="pres">
      <dgm:prSet presAssocID="{BB156723-A25B-4640-8DC9-DDD6DA7B065D}" presName="compNode" presStyleCnt="0"/>
      <dgm:spPr/>
    </dgm:pt>
    <dgm:pt modelId="{98582430-A6B0-4CB5-85D0-A072B98DBFCA}" type="pres">
      <dgm:prSet presAssocID="{BB156723-A25B-4640-8DC9-DDD6DA7B065D}" presName="bgRect" presStyleLbl="bgShp" presStyleIdx="3" presStyleCnt="6"/>
      <dgm:spPr/>
    </dgm:pt>
    <dgm:pt modelId="{901A70CD-D85B-46CC-93B9-5D5DD0C36C32}" type="pres">
      <dgm:prSet presAssocID="{BB156723-A25B-4640-8DC9-DDD6DA7B065D}" presName="iconRect" presStyleLbl="node1" presStyleIdx="3" presStyleCnt="6"/>
      <dgm:spPr>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a:noFill/>
        </a:ln>
      </dgm:spPr>
      <dgm:extLst>
        <a:ext uri="{E40237B7-FDA0-4F09-8148-C483321AD2D9}">
          <dgm14:cNvPr xmlns:dgm14="http://schemas.microsoft.com/office/drawing/2010/diagram" id="0" name="" descr="Skeleton"/>
        </a:ext>
      </dgm:extLst>
    </dgm:pt>
    <dgm:pt modelId="{F8F81AB3-75A2-4FD5-B005-5B71F5AF41EB}" type="pres">
      <dgm:prSet presAssocID="{BB156723-A25B-4640-8DC9-DDD6DA7B065D}" presName="spaceRect" presStyleCnt="0"/>
      <dgm:spPr/>
    </dgm:pt>
    <dgm:pt modelId="{0F9E34EF-1816-48FE-A1E2-4884DFF319C6}" type="pres">
      <dgm:prSet presAssocID="{BB156723-A25B-4640-8DC9-DDD6DA7B065D}" presName="parTx" presStyleLbl="revTx" presStyleIdx="3" presStyleCnt="6">
        <dgm:presLayoutVars>
          <dgm:chMax val="0"/>
          <dgm:chPref val="0"/>
        </dgm:presLayoutVars>
      </dgm:prSet>
      <dgm:spPr/>
    </dgm:pt>
    <dgm:pt modelId="{5676B274-927C-41A0-BFF4-452EDE9A8C93}" type="pres">
      <dgm:prSet presAssocID="{18EE24E6-58DA-4CB6-A3FB-C1C126F583BB}" presName="sibTrans" presStyleCnt="0"/>
      <dgm:spPr/>
    </dgm:pt>
    <dgm:pt modelId="{056CE27D-513E-4A63-954D-76C59A1AB87D}" type="pres">
      <dgm:prSet presAssocID="{1EF96725-620D-47B0-993C-A611D70B8C2E}" presName="compNode" presStyleCnt="0"/>
      <dgm:spPr/>
    </dgm:pt>
    <dgm:pt modelId="{D38EE200-2941-4641-B512-DE6D6F4E096A}" type="pres">
      <dgm:prSet presAssocID="{1EF96725-620D-47B0-993C-A611D70B8C2E}" presName="bgRect" presStyleLbl="bgShp" presStyleIdx="4" presStyleCnt="6"/>
      <dgm:spPr/>
    </dgm:pt>
    <dgm:pt modelId="{91C3AD63-DAC0-4E4D-8C15-8C9034562218}" type="pres">
      <dgm:prSet presAssocID="{1EF96725-620D-47B0-993C-A611D70B8C2E}" presName="iconRect" presStyleLbl="node1" presStyleIdx="4" presStyleCnt="6"/>
      <dgm:spPr>
        <a:blipFill>
          <a:blip xmlns:r="http://schemas.openxmlformats.org/officeDocument/2006/relationships"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a:blipFill>
        <a:ln>
          <a:noFill/>
        </a:ln>
      </dgm:spPr>
      <dgm:extLst>
        <a:ext uri="{E40237B7-FDA0-4F09-8148-C483321AD2D9}">
          <dgm14:cNvPr xmlns:dgm14="http://schemas.microsoft.com/office/drawing/2010/diagram" id="0" name="" descr="Question mark"/>
        </a:ext>
      </dgm:extLst>
    </dgm:pt>
    <dgm:pt modelId="{2A13FF82-9A9F-42FC-A5F5-86864193101A}" type="pres">
      <dgm:prSet presAssocID="{1EF96725-620D-47B0-993C-A611D70B8C2E}" presName="spaceRect" presStyleCnt="0"/>
      <dgm:spPr/>
    </dgm:pt>
    <dgm:pt modelId="{BC82CC52-1313-443C-BD2E-B011B119A877}" type="pres">
      <dgm:prSet presAssocID="{1EF96725-620D-47B0-993C-A611D70B8C2E}" presName="parTx" presStyleLbl="revTx" presStyleIdx="4" presStyleCnt="6">
        <dgm:presLayoutVars>
          <dgm:chMax val="0"/>
          <dgm:chPref val="0"/>
        </dgm:presLayoutVars>
      </dgm:prSet>
      <dgm:spPr/>
    </dgm:pt>
    <dgm:pt modelId="{AD3712F4-A5C8-4E97-82E0-ABA2C1AA969E}" type="pres">
      <dgm:prSet presAssocID="{FA100622-EE5F-4DCB-9711-81CCDB997227}" presName="sibTrans" presStyleCnt="0"/>
      <dgm:spPr/>
    </dgm:pt>
    <dgm:pt modelId="{69D852C1-4DDA-4E53-9308-D38246186BBB}" type="pres">
      <dgm:prSet presAssocID="{84163525-D7E9-4742-86DF-648F21D39EF2}" presName="compNode" presStyleCnt="0"/>
      <dgm:spPr/>
    </dgm:pt>
    <dgm:pt modelId="{53B21E2E-0991-44D9-8F21-F9B93CC69144}" type="pres">
      <dgm:prSet presAssocID="{84163525-D7E9-4742-86DF-648F21D39EF2}" presName="bgRect" presStyleLbl="bgShp" presStyleIdx="5" presStyleCnt="6"/>
      <dgm:spPr/>
    </dgm:pt>
    <dgm:pt modelId="{B5311DD8-6CD9-4077-85E4-38768BAAC1F3}" type="pres">
      <dgm:prSet presAssocID="{84163525-D7E9-4742-86DF-648F21D39EF2}" presName="iconRect" presStyleLbl="node1" presStyleIdx="5" presStyleCnt="6"/>
      <dgm:spPr>
        <a:blipFill>
          <a:blip xmlns:r="http://schemas.openxmlformats.org/officeDocument/2006/relationships"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a:blipFill>
        <a:ln>
          <a:noFill/>
        </a:ln>
      </dgm:spPr>
      <dgm:extLst>
        <a:ext uri="{E40237B7-FDA0-4F09-8148-C483321AD2D9}">
          <dgm14:cNvPr xmlns:dgm14="http://schemas.microsoft.com/office/drawing/2010/diagram" id="0" name="" descr="Confused Person"/>
        </a:ext>
      </dgm:extLst>
    </dgm:pt>
    <dgm:pt modelId="{11675A78-F4A7-48C6-B2D6-8EEECD74FB79}" type="pres">
      <dgm:prSet presAssocID="{84163525-D7E9-4742-86DF-648F21D39EF2}" presName="spaceRect" presStyleCnt="0"/>
      <dgm:spPr/>
    </dgm:pt>
    <dgm:pt modelId="{F9328D3E-BBDD-45E4-B0B9-4DA427FFBB27}" type="pres">
      <dgm:prSet presAssocID="{84163525-D7E9-4742-86DF-648F21D39EF2}" presName="parTx" presStyleLbl="revTx" presStyleIdx="5" presStyleCnt="6">
        <dgm:presLayoutVars>
          <dgm:chMax val="0"/>
          <dgm:chPref val="0"/>
        </dgm:presLayoutVars>
      </dgm:prSet>
      <dgm:spPr/>
    </dgm:pt>
  </dgm:ptLst>
  <dgm:cxnLst>
    <dgm:cxn modelId="{65BDDE0D-9489-4300-B3FB-FC2581445E5B}" srcId="{263CFFAB-8955-445F-8CD0-DB2DAC3EE7A0}" destId="{456FD520-610C-479E-B1F8-693BC8AEF5D0}" srcOrd="0" destOrd="0" parTransId="{D5A608F0-2C7E-437E-B35E-5C8CECB47EF8}" sibTransId="{70776536-0518-4C86-9513-89BCC2D54EAD}"/>
    <dgm:cxn modelId="{F98D8333-F33F-4452-8117-BF3CDD8ECD8D}" srcId="{263CFFAB-8955-445F-8CD0-DB2DAC3EE7A0}" destId="{BB156723-A25B-4640-8DC9-DDD6DA7B065D}" srcOrd="3" destOrd="0" parTransId="{FD64C79A-2A9D-4796-89F3-6E35F6228CFC}" sibTransId="{18EE24E6-58DA-4CB6-A3FB-C1C126F583BB}"/>
    <dgm:cxn modelId="{5F3BD633-93A9-4DCD-9FB6-E1BA0495E9B3}" type="presOf" srcId="{BB156723-A25B-4640-8DC9-DDD6DA7B065D}" destId="{0F9E34EF-1816-48FE-A1E2-4884DFF319C6}" srcOrd="0" destOrd="0" presId="urn:microsoft.com/office/officeart/2018/2/layout/IconVerticalSolidList"/>
    <dgm:cxn modelId="{BF169A3A-2FB8-4D19-9E01-83A03933F7CA}" srcId="{263CFFAB-8955-445F-8CD0-DB2DAC3EE7A0}" destId="{1EF96725-620D-47B0-993C-A611D70B8C2E}" srcOrd="4" destOrd="0" parTransId="{2376A6D9-2779-42A0-9689-A1377C7E6955}" sibTransId="{FA100622-EE5F-4DCB-9711-81CCDB997227}"/>
    <dgm:cxn modelId="{62127667-AF91-4385-A55C-9FB3D8C88A6F}" type="presOf" srcId="{1EF96725-620D-47B0-993C-A611D70B8C2E}" destId="{BC82CC52-1313-443C-BD2E-B011B119A877}" srcOrd="0" destOrd="0" presId="urn:microsoft.com/office/officeart/2018/2/layout/IconVerticalSolidList"/>
    <dgm:cxn modelId="{F268CB83-F4BB-40C7-B9D7-798F2E67A136}" type="presOf" srcId="{C55087FC-88EC-4523-B015-A5A6B9135B39}" destId="{BD0234E9-DDDC-48DD-B86A-4538A94398E5}" srcOrd="0" destOrd="0" presId="urn:microsoft.com/office/officeart/2018/2/layout/IconVerticalSolidList"/>
    <dgm:cxn modelId="{2271A984-7F57-4C36-B385-F3B4DC007342}" type="presOf" srcId="{263CFFAB-8955-445F-8CD0-DB2DAC3EE7A0}" destId="{4BDBE9DA-D401-4F86-B4B4-85F4856DFDC9}" srcOrd="0" destOrd="0" presId="urn:microsoft.com/office/officeart/2018/2/layout/IconVerticalSolidList"/>
    <dgm:cxn modelId="{29746A8D-805C-4DD5-A9E9-6E5DD055FAFF}" type="presOf" srcId="{456FD520-610C-479E-B1F8-693BC8AEF5D0}" destId="{2CB0B682-F372-4D92-9F1A-5E02939C3D6C}" srcOrd="0" destOrd="0" presId="urn:microsoft.com/office/officeart/2018/2/layout/IconVerticalSolidList"/>
    <dgm:cxn modelId="{71D40E94-E733-41B9-A015-E2699B8624BE}" type="presOf" srcId="{84163525-D7E9-4742-86DF-648F21D39EF2}" destId="{F9328D3E-BBDD-45E4-B0B9-4DA427FFBB27}" srcOrd="0" destOrd="0" presId="urn:microsoft.com/office/officeart/2018/2/layout/IconVerticalSolidList"/>
    <dgm:cxn modelId="{5992569F-F7F4-4AED-8E15-A51D19FEAA60}" srcId="{263CFFAB-8955-445F-8CD0-DB2DAC3EE7A0}" destId="{84163525-D7E9-4742-86DF-648F21D39EF2}" srcOrd="5" destOrd="0" parTransId="{5B43A222-336B-4550-9AD4-14B93D95955E}" sibTransId="{EDFD0E11-DF47-41B3-9B5A-274923049D8C}"/>
    <dgm:cxn modelId="{6E6636A7-48E0-4E06-AA35-0B315DCAA3E6}" type="presOf" srcId="{114C7A20-BAC7-4F41-9DAB-FC06C0371F04}" destId="{0F44B743-0E9D-4B88-8E71-9E8EF0A871A2}" srcOrd="0" destOrd="0" presId="urn:microsoft.com/office/officeart/2018/2/layout/IconVerticalSolidList"/>
    <dgm:cxn modelId="{07BB29D9-57D1-43D4-8E46-18964227FF55}" srcId="{263CFFAB-8955-445F-8CD0-DB2DAC3EE7A0}" destId="{114C7A20-BAC7-4F41-9DAB-FC06C0371F04}" srcOrd="1" destOrd="0" parTransId="{7174E3A7-29CF-450F-8476-F7DCD505836A}" sibTransId="{960F453C-A41B-4619-9BFE-18EC679B9952}"/>
    <dgm:cxn modelId="{159DABF0-188D-4EC8-AE89-5F7F7092B488}" srcId="{263CFFAB-8955-445F-8CD0-DB2DAC3EE7A0}" destId="{C55087FC-88EC-4523-B015-A5A6B9135B39}" srcOrd="2" destOrd="0" parTransId="{48F9DC83-EEF0-4D57-ACFB-6DA3E29AFE58}" sibTransId="{9F6286A1-9DB4-40E7-9C35-59597AB3A755}"/>
    <dgm:cxn modelId="{84CC2C19-263A-40F9-B834-B4F34D05F55E}" type="presParOf" srcId="{4BDBE9DA-D401-4F86-B4B4-85F4856DFDC9}" destId="{12A329D4-B890-447A-A675-5B6563A30D8E}" srcOrd="0" destOrd="0" presId="urn:microsoft.com/office/officeart/2018/2/layout/IconVerticalSolidList"/>
    <dgm:cxn modelId="{88A92AA8-2E85-4426-A5EF-C273E2539049}" type="presParOf" srcId="{12A329D4-B890-447A-A675-5B6563A30D8E}" destId="{5A41E17A-7E33-4F43-998F-39D1819900EB}" srcOrd="0" destOrd="0" presId="urn:microsoft.com/office/officeart/2018/2/layout/IconVerticalSolidList"/>
    <dgm:cxn modelId="{8D5C54F5-A7BA-47F0-965C-9EAC4DB97ECD}" type="presParOf" srcId="{12A329D4-B890-447A-A675-5B6563A30D8E}" destId="{90FE9D55-0451-45AF-984C-79201B6F593F}" srcOrd="1" destOrd="0" presId="urn:microsoft.com/office/officeart/2018/2/layout/IconVerticalSolidList"/>
    <dgm:cxn modelId="{DE7AA7DB-D626-402A-8C6E-B1E9CCC0DE0A}" type="presParOf" srcId="{12A329D4-B890-447A-A675-5B6563A30D8E}" destId="{9A197211-A624-4373-B891-F624274C55F8}" srcOrd="2" destOrd="0" presId="urn:microsoft.com/office/officeart/2018/2/layout/IconVerticalSolidList"/>
    <dgm:cxn modelId="{DEF09421-4B75-48E5-9E95-7FEF299FF10B}" type="presParOf" srcId="{12A329D4-B890-447A-A675-5B6563A30D8E}" destId="{2CB0B682-F372-4D92-9F1A-5E02939C3D6C}" srcOrd="3" destOrd="0" presId="urn:microsoft.com/office/officeart/2018/2/layout/IconVerticalSolidList"/>
    <dgm:cxn modelId="{C0B1ABCA-FD62-45D2-8F21-0300E2692361}" type="presParOf" srcId="{4BDBE9DA-D401-4F86-B4B4-85F4856DFDC9}" destId="{8FBB5198-5199-48A6-B362-A74C5CFBB3C6}" srcOrd="1" destOrd="0" presId="urn:microsoft.com/office/officeart/2018/2/layout/IconVerticalSolidList"/>
    <dgm:cxn modelId="{3E68A73D-CAE7-4E23-B9A1-6EF5EF0DA081}" type="presParOf" srcId="{4BDBE9DA-D401-4F86-B4B4-85F4856DFDC9}" destId="{DFEAC8B8-A406-43B8-B2D4-B519B83912C1}" srcOrd="2" destOrd="0" presId="urn:microsoft.com/office/officeart/2018/2/layout/IconVerticalSolidList"/>
    <dgm:cxn modelId="{56F5B795-C4ED-4083-9C27-D3086F36D6F5}" type="presParOf" srcId="{DFEAC8B8-A406-43B8-B2D4-B519B83912C1}" destId="{85CDF927-7680-47E4-92C2-97908C83373D}" srcOrd="0" destOrd="0" presId="urn:microsoft.com/office/officeart/2018/2/layout/IconVerticalSolidList"/>
    <dgm:cxn modelId="{561C0A9E-63D1-4676-9505-2A5E3798A868}" type="presParOf" srcId="{DFEAC8B8-A406-43B8-B2D4-B519B83912C1}" destId="{8E9EB886-9FEC-460E-ADF1-D32C2F294B17}" srcOrd="1" destOrd="0" presId="urn:microsoft.com/office/officeart/2018/2/layout/IconVerticalSolidList"/>
    <dgm:cxn modelId="{990CFDFC-B535-40E9-A4E7-2EA58E80AA82}" type="presParOf" srcId="{DFEAC8B8-A406-43B8-B2D4-B519B83912C1}" destId="{3E07F5A9-DF81-4A21-8B91-4804DBA70586}" srcOrd="2" destOrd="0" presId="urn:microsoft.com/office/officeart/2018/2/layout/IconVerticalSolidList"/>
    <dgm:cxn modelId="{BBE2AA6A-7744-4CA7-86F6-035FD503CBB1}" type="presParOf" srcId="{DFEAC8B8-A406-43B8-B2D4-B519B83912C1}" destId="{0F44B743-0E9D-4B88-8E71-9E8EF0A871A2}" srcOrd="3" destOrd="0" presId="urn:microsoft.com/office/officeart/2018/2/layout/IconVerticalSolidList"/>
    <dgm:cxn modelId="{B41E78D4-C6B4-4CA9-96C6-B111ECCA6368}" type="presParOf" srcId="{4BDBE9DA-D401-4F86-B4B4-85F4856DFDC9}" destId="{212C7517-5B4E-4A9A-95BC-59CCAF3BF62B}" srcOrd="3" destOrd="0" presId="urn:microsoft.com/office/officeart/2018/2/layout/IconVerticalSolidList"/>
    <dgm:cxn modelId="{40AE868B-CBB1-4219-AFB0-7A34CAEA420D}" type="presParOf" srcId="{4BDBE9DA-D401-4F86-B4B4-85F4856DFDC9}" destId="{62C86DD7-09E9-4856-9C23-36E073CD2BE8}" srcOrd="4" destOrd="0" presId="urn:microsoft.com/office/officeart/2018/2/layout/IconVerticalSolidList"/>
    <dgm:cxn modelId="{862E7E3B-EF41-48F7-8F74-7AC2D02996A0}" type="presParOf" srcId="{62C86DD7-09E9-4856-9C23-36E073CD2BE8}" destId="{59FFC8CE-75AD-40A5-AD3B-D0AFF00EA510}" srcOrd="0" destOrd="0" presId="urn:microsoft.com/office/officeart/2018/2/layout/IconVerticalSolidList"/>
    <dgm:cxn modelId="{9FD9A008-2E60-4ECD-9B1D-1A83A9ABE3AC}" type="presParOf" srcId="{62C86DD7-09E9-4856-9C23-36E073CD2BE8}" destId="{0E875FCB-569D-4F0B-9D9E-9F16CA8C6AFF}" srcOrd="1" destOrd="0" presId="urn:microsoft.com/office/officeart/2018/2/layout/IconVerticalSolidList"/>
    <dgm:cxn modelId="{2796178C-191A-4486-9D15-4A32AD1C78EC}" type="presParOf" srcId="{62C86DD7-09E9-4856-9C23-36E073CD2BE8}" destId="{7D251678-36B8-4967-8F61-C9947D3ECCF5}" srcOrd="2" destOrd="0" presId="urn:microsoft.com/office/officeart/2018/2/layout/IconVerticalSolidList"/>
    <dgm:cxn modelId="{10F51AD5-6AAA-4A92-AC2D-57F19D785513}" type="presParOf" srcId="{62C86DD7-09E9-4856-9C23-36E073CD2BE8}" destId="{BD0234E9-DDDC-48DD-B86A-4538A94398E5}" srcOrd="3" destOrd="0" presId="urn:microsoft.com/office/officeart/2018/2/layout/IconVerticalSolidList"/>
    <dgm:cxn modelId="{0B9CB9F3-ED29-418F-B671-FBE474DA334C}" type="presParOf" srcId="{4BDBE9DA-D401-4F86-B4B4-85F4856DFDC9}" destId="{6D73BCEA-7E7F-4118-85F0-F108A974661B}" srcOrd="5" destOrd="0" presId="urn:microsoft.com/office/officeart/2018/2/layout/IconVerticalSolidList"/>
    <dgm:cxn modelId="{C25EF93E-9975-44EE-9C1C-7D2D51F1F0CB}" type="presParOf" srcId="{4BDBE9DA-D401-4F86-B4B4-85F4856DFDC9}" destId="{0B851273-38CE-4C84-9262-B0AD5D972AD4}" srcOrd="6" destOrd="0" presId="urn:microsoft.com/office/officeart/2018/2/layout/IconVerticalSolidList"/>
    <dgm:cxn modelId="{6DD61AD1-D748-4733-8346-E4CD38C6DE85}" type="presParOf" srcId="{0B851273-38CE-4C84-9262-B0AD5D972AD4}" destId="{98582430-A6B0-4CB5-85D0-A072B98DBFCA}" srcOrd="0" destOrd="0" presId="urn:microsoft.com/office/officeart/2018/2/layout/IconVerticalSolidList"/>
    <dgm:cxn modelId="{FA410FE7-713F-4258-A41A-5981AA9B0952}" type="presParOf" srcId="{0B851273-38CE-4C84-9262-B0AD5D972AD4}" destId="{901A70CD-D85B-46CC-93B9-5D5DD0C36C32}" srcOrd="1" destOrd="0" presId="urn:microsoft.com/office/officeart/2018/2/layout/IconVerticalSolidList"/>
    <dgm:cxn modelId="{39A6B7BA-B70B-4A5E-A7F7-5ED2657F53E5}" type="presParOf" srcId="{0B851273-38CE-4C84-9262-B0AD5D972AD4}" destId="{F8F81AB3-75A2-4FD5-B005-5B71F5AF41EB}" srcOrd="2" destOrd="0" presId="urn:microsoft.com/office/officeart/2018/2/layout/IconVerticalSolidList"/>
    <dgm:cxn modelId="{1479D724-0A90-445F-804C-8222B4620D35}" type="presParOf" srcId="{0B851273-38CE-4C84-9262-B0AD5D972AD4}" destId="{0F9E34EF-1816-48FE-A1E2-4884DFF319C6}" srcOrd="3" destOrd="0" presId="urn:microsoft.com/office/officeart/2018/2/layout/IconVerticalSolidList"/>
    <dgm:cxn modelId="{8617DA41-96BB-4F28-8140-FF2D2C0B1C44}" type="presParOf" srcId="{4BDBE9DA-D401-4F86-B4B4-85F4856DFDC9}" destId="{5676B274-927C-41A0-BFF4-452EDE9A8C93}" srcOrd="7" destOrd="0" presId="urn:microsoft.com/office/officeart/2018/2/layout/IconVerticalSolidList"/>
    <dgm:cxn modelId="{6C051771-26E5-49E5-B628-040C257ACAE9}" type="presParOf" srcId="{4BDBE9DA-D401-4F86-B4B4-85F4856DFDC9}" destId="{056CE27D-513E-4A63-954D-76C59A1AB87D}" srcOrd="8" destOrd="0" presId="urn:microsoft.com/office/officeart/2018/2/layout/IconVerticalSolidList"/>
    <dgm:cxn modelId="{E7A823FF-4CBE-46CF-AC2E-2774C7684E64}" type="presParOf" srcId="{056CE27D-513E-4A63-954D-76C59A1AB87D}" destId="{D38EE200-2941-4641-B512-DE6D6F4E096A}" srcOrd="0" destOrd="0" presId="urn:microsoft.com/office/officeart/2018/2/layout/IconVerticalSolidList"/>
    <dgm:cxn modelId="{A127022A-FF44-464C-98E0-AAA991F78612}" type="presParOf" srcId="{056CE27D-513E-4A63-954D-76C59A1AB87D}" destId="{91C3AD63-DAC0-4E4D-8C15-8C9034562218}" srcOrd="1" destOrd="0" presId="urn:microsoft.com/office/officeart/2018/2/layout/IconVerticalSolidList"/>
    <dgm:cxn modelId="{2EBF93AF-BCB6-4D9B-A0B9-19A76952900B}" type="presParOf" srcId="{056CE27D-513E-4A63-954D-76C59A1AB87D}" destId="{2A13FF82-9A9F-42FC-A5F5-86864193101A}" srcOrd="2" destOrd="0" presId="urn:microsoft.com/office/officeart/2018/2/layout/IconVerticalSolidList"/>
    <dgm:cxn modelId="{960006E4-1E8F-48D6-A46B-1E0AE740CDD3}" type="presParOf" srcId="{056CE27D-513E-4A63-954D-76C59A1AB87D}" destId="{BC82CC52-1313-443C-BD2E-B011B119A877}" srcOrd="3" destOrd="0" presId="urn:microsoft.com/office/officeart/2018/2/layout/IconVerticalSolidList"/>
    <dgm:cxn modelId="{947A7AF5-6FE4-4529-9645-AD238D0625A2}" type="presParOf" srcId="{4BDBE9DA-D401-4F86-B4B4-85F4856DFDC9}" destId="{AD3712F4-A5C8-4E97-82E0-ABA2C1AA969E}" srcOrd="9" destOrd="0" presId="urn:microsoft.com/office/officeart/2018/2/layout/IconVerticalSolidList"/>
    <dgm:cxn modelId="{0F818826-44CE-4C7B-A213-A202A120A139}" type="presParOf" srcId="{4BDBE9DA-D401-4F86-B4B4-85F4856DFDC9}" destId="{69D852C1-4DDA-4E53-9308-D38246186BBB}" srcOrd="10" destOrd="0" presId="urn:microsoft.com/office/officeart/2018/2/layout/IconVerticalSolidList"/>
    <dgm:cxn modelId="{ED3D8FCF-29A9-44B0-9B7D-7A2C6147DC37}" type="presParOf" srcId="{69D852C1-4DDA-4E53-9308-D38246186BBB}" destId="{53B21E2E-0991-44D9-8F21-F9B93CC69144}" srcOrd="0" destOrd="0" presId="urn:microsoft.com/office/officeart/2018/2/layout/IconVerticalSolidList"/>
    <dgm:cxn modelId="{B7D395ED-903F-47A2-B5A0-697118FC37D3}" type="presParOf" srcId="{69D852C1-4DDA-4E53-9308-D38246186BBB}" destId="{B5311DD8-6CD9-4077-85E4-38768BAAC1F3}" srcOrd="1" destOrd="0" presId="urn:microsoft.com/office/officeart/2018/2/layout/IconVerticalSolidList"/>
    <dgm:cxn modelId="{89C6F0EF-45D7-4B7C-B735-35AA5099A253}" type="presParOf" srcId="{69D852C1-4DDA-4E53-9308-D38246186BBB}" destId="{11675A78-F4A7-48C6-B2D6-8EEECD74FB79}" srcOrd="2" destOrd="0" presId="urn:microsoft.com/office/officeart/2018/2/layout/IconVerticalSolidList"/>
    <dgm:cxn modelId="{07A91D82-B0AC-45E3-ABE6-EA3A5C918CB3}" type="presParOf" srcId="{69D852C1-4DDA-4E53-9308-D38246186BBB}" destId="{F9328D3E-BBDD-45E4-B0B9-4DA427FFBB27}" srcOrd="3" destOrd="0" presId="urn:microsoft.com/office/officeart/2018/2/layout/IconVerticalSolid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8.xml><?xml version="1.0" encoding="utf-8"?>
<dgm:dataModel xmlns:dgm="http://schemas.openxmlformats.org/drawingml/2006/diagram" xmlns:a="http://schemas.openxmlformats.org/drawingml/2006/main">
  <dgm:ptLst>
    <dgm:pt modelId="{8176E000-EB3E-4E01-9272-1C25A8C0A2F0}" type="doc">
      <dgm:prSet loTypeId="urn:microsoft.com/office/officeart/2018/2/layout/IconVerticalSolidList" loCatId="icon" qsTypeId="urn:microsoft.com/office/officeart/2005/8/quickstyle/simple1" qsCatId="simple" csTypeId="urn:microsoft.com/office/officeart/2018/5/colors/Iconchunking_neutralbg_colorful5" csCatId="colorful" phldr="1"/>
      <dgm:spPr/>
      <dgm:t>
        <a:bodyPr/>
        <a:lstStyle/>
        <a:p>
          <a:endParaRPr lang="en-US"/>
        </a:p>
      </dgm:t>
    </dgm:pt>
    <dgm:pt modelId="{50781E60-1BF8-4256-8BC6-5C932A10DBCB}">
      <dgm:prSet/>
      <dgm:spPr/>
      <dgm:t>
        <a:bodyPr/>
        <a:lstStyle/>
        <a:p>
          <a:r>
            <a:rPr lang="en-US"/>
            <a:t>It is only a test, so don’t be scared</a:t>
          </a:r>
        </a:p>
      </dgm:t>
    </dgm:pt>
    <dgm:pt modelId="{28370DFB-B5FF-4588-8463-00E241C5F7B1}" type="parTrans" cxnId="{5A365478-072A-4760-A562-EB2199BD44CB}">
      <dgm:prSet/>
      <dgm:spPr/>
      <dgm:t>
        <a:bodyPr/>
        <a:lstStyle/>
        <a:p>
          <a:endParaRPr lang="en-US"/>
        </a:p>
      </dgm:t>
    </dgm:pt>
    <dgm:pt modelId="{A5E08F1F-DA24-473C-BD1A-1080C95BA721}" type="sibTrans" cxnId="{5A365478-072A-4760-A562-EB2199BD44CB}">
      <dgm:prSet/>
      <dgm:spPr/>
      <dgm:t>
        <a:bodyPr/>
        <a:lstStyle/>
        <a:p>
          <a:endParaRPr lang="en-US"/>
        </a:p>
      </dgm:t>
    </dgm:pt>
    <dgm:pt modelId="{6BA5774B-8429-478C-8D6F-416F54397DC8}">
      <dgm:prSet/>
      <dgm:spPr/>
      <dgm:t>
        <a:bodyPr/>
        <a:lstStyle/>
        <a:p>
          <a:r>
            <a:rPr lang="en-US"/>
            <a:t>What happens if you fail?</a:t>
          </a:r>
        </a:p>
      </dgm:t>
    </dgm:pt>
    <dgm:pt modelId="{579D6E35-7EC9-48E9-8951-B19BC25378EA}" type="parTrans" cxnId="{2F06F2AB-5FE1-4C31-A65B-3FBD062D465F}">
      <dgm:prSet/>
      <dgm:spPr/>
      <dgm:t>
        <a:bodyPr/>
        <a:lstStyle/>
        <a:p>
          <a:endParaRPr lang="en-US"/>
        </a:p>
      </dgm:t>
    </dgm:pt>
    <dgm:pt modelId="{6A29FF45-59C5-4C40-BE57-ECF3BE61171E}" type="sibTrans" cxnId="{2F06F2AB-5FE1-4C31-A65B-3FBD062D465F}">
      <dgm:prSet/>
      <dgm:spPr/>
      <dgm:t>
        <a:bodyPr/>
        <a:lstStyle/>
        <a:p>
          <a:endParaRPr lang="en-US"/>
        </a:p>
      </dgm:t>
    </dgm:pt>
    <dgm:pt modelId="{05D9B84C-36FF-42BB-A32C-D98B054D1FC0}">
      <dgm:prSet/>
      <dgm:spPr/>
      <dgm:t>
        <a:bodyPr/>
        <a:lstStyle/>
        <a:p>
          <a:r>
            <a:rPr lang="en-US" dirty="0"/>
            <a:t>Do </a:t>
          </a:r>
          <a:r>
            <a:rPr lang="en-US" b="1" u="sng" dirty="0"/>
            <a:t>not</a:t>
          </a:r>
          <a:r>
            <a:rPr lang="en-US" dirty="0"/>
            <a:t> over-study</a:t>
          </a:r>
        </a:p>
      </dgm:t>
    </dgm:pt>
    <dgm:pt modelId="{38D0F200-C6DB-4026-A454-A83FD3D2EDEF}" type="parTrans" cxnId="{638C2529-4295-477E-843A-71A7FA63E5C8}">
      <dgm:prSet/>
      <dgm:spPr/>
      <dgm:t>
        <a:bodyPr/>
        <a:lstStyle/>
        <a:p>
          <a:endParaRPr lang="en-US"/>
        </a:p>
      </dgm:t>
    </dgm:pt>
    <dgm:pt modelId="{A2B70468-399F-4289-88AD-A7274C74D474}" type="sibTrans" cxnId="{638C2529-4295-477E-843A-71A7FA63E5C8}">
      <dgm:prSet/>
      <dgm:spPr/>
      <dgm:t>
        <a:bodyPr/>
        <a:lstStyle/>
        <a:p>
          <a:endParaRPr lang="en-US"/>
        </a:p>
      </dgm:t>
    </dgm:pt>
    <dgm:pt modelId="{37FE565B-763C-44A6-A59F-18D152634DAA}">
      <dgm:prSet/>
      <dgm:spPr/>
      <dgm:t>
        <a:bodyPr/>
        <a:lstStyle/>
        <a:p>
          <a:r>
            <a:rPr lang="en-US" dirty="0"/>
            <a:t>There are plenty of free or low-cost learning aids</a:t>
          </a:r>
        </a:p>
      </dgm:t>
    </dgm:pt>
    <dgm:pt modelId="{C310A640-A086-43DD-8BAA-553394B462A1}" type="parTrans" cxnId="{64D58CBF-16E7-43D3-915E-2706ED5A4B97}">
      <dgm:prSet/>
      <dgm:spPr/>
      <dgm:t>
        <a:bodyPr/>
        <a:lstStyle/>
        <a:p>
          <a:endParaRPr lang="en-US"/>
        </a:p>
      </dgm:t>
    </dgm:pt>
    <dgm:pt modelId="{D09914E5-7352-48E4-AD92-C4961719C8B0}" type="sibTrans" cxnId="{64D58CBF-16E7-43D3-915E-2706ED5A4B97}">
      <dgm:prSet/>
      <dgm:spPr/>
      <dgm:t>
        <a:bodyPr/>
        <a:lstStyle/>
        <a:p>
          <a:endParaRPr lang="en-US"/>
        </a:p>
      </dgm:t>
    </dgm:pt>
    <dgm:pt modelId="{EDF0E3BF-2685-4A8A-8E51-8D390FA2D437}" type="pres">
      <dgm:prSet presAssocID="{8176E000-EB3E-4E01-9272-1C25A8C0A2F0}" presName="root" presStyleCnt="0">
        <dgm:presLayoutVars>
          <dgm:dir/>
          <dgm:resizeHandles val="exact"/>
        </dgm:presLayoutVars>
      </dgm:prSet>
      <dgm:spPr/>
    </dgm:pt>
    <dgm:pt modelId="{853E6B55-8E4E-4A50-A4BB-E0E7B70D8538}" type="pres">
      <dgm:prSet presAssocID="{50781E60-1BF8-4256-8BC6-5C932A10DBCB}" presName="compNode" presStyleCnt="0"/>
      <dgm:spPr/>
    </dgm:pt>
    <dgm:pt modelId="{1D4338AF-F71C-407E-8A50-89F41328A3FF}" type="pres">
      <dgm:prSet presAssocID="{50781E60-1BF8-4256-8BC6-5C932A10DBCB}" presName="bgRect" presStyleLbl="bgShp" presStyleIdx="0" presStyleCnt="4"/>
      <dgm:spPr/>
    </dgm:pt>
    <dgm:pt modelId="{98542E8A-A3CB-459F-B0A6-2C3BBCDC8000}" type="pres">
      <dgm:prSet presAssocID="{50781E60-1BF8-4256-8BC6-5C932A10DBCB}" presName="iconRect" presStyleLbl="node1" presStyleIdx="0" presStyleCnt="4"/>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a:noFill/>
        </a:ln>
      </dgm:spPr>
      <dgm:extLst>
        <a:ext uri="{E40237B7-FDA0-4F09-8148-C483321AD2D9}">
          <dgm14:cNvPr xmlns:dgm14="http://schemas.microsoft.com/office/drawing/2010/diagram" id="0" name="" descr="Worried Face with Solid Fill"/>
        </a:ext>
      </dgm:extLst>
    </dgm:pt>
    <dgm:pt modelId="{6B5C2E32-3E4A-4159-913C-5DF9189A9A59}" type="pres">
      <dgm:prSet presAssocID="{50781E60-1BF8-4256-8BC6-5C932A10DBCB}" presName="spaceRect" presStyleCnt="0"/>
      <dgm:spPr/>
    </dgm:pt>
    <dgm:pt modelId="{674B1CB7-C2B3-462D-AE16-C210303EFAF7}" type="pres">
      <dgm:prSet presAssocID="{50781E60-1BF8-4256-8BC6-5C932A10DBCB}" presName="parTx" presStyleLbl="revTx" presStyleIdx="0" presStyleCnt="4">
        <dgm:presLayoutVars>
          <dgm:chMax val="0"/>
          <dgm:chPref val="0"/>
        </dgm:presLayoutVars>
      </dgm:prSet>
      <dgm:spPr/>
    </dgm:pt>
    <dgm:pt modelId="{FA5D3A61-E422-4FB5-9C06-ACF39AC77640}" type="pres">
      <dgm:prSet presAssocID="{A5E08F1F-DA24-473C-BD1A-1080C95BA721}" presName="sibTrans" presStyleCnt="0"/>
      <dgm:spPr/>
    </dgm:pt>
    <dgm:pt modelId="{1021AAE8-1218-4F22-9982-8CCC4AF60511}" type="pres">
      <dgm:prSet presAssocID="{6BA5774B-8429-478C-8D6F-416F54397DC8}" presName="compNode" presStyleCnt="0"/>
      <dgm:spPr/>
    </dgm:pt>
    <dgm:pt modelId="{CEDB1A75-02D5-4658-8C8C-805CCCCCE15F}" type="pres">
      <dgm:prSet presAssocID="{6BA5774B-8429-478C-8D6F-416F54397DC8}" presName="bgRect" presStyleLbl="bgShp" presStyleIdx="1" presStyleCnt="4"/>
      <dgm:spPr/>
    </dgm:pt>
    <dgm:pt modelId="{FEB1BC6F-9E0D-4D7B-AC06-AA6B2359A71F}" type="pres">
      <dgm:prSet presAssocID="{6BA5774B-8429-478C-8D6F-416F54397DC8}" presName="iconRect" presStyleLbl="node1" presStyleIdx="1" presStyleCnt="4"/>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dgm:spPr>
      <dgm:extLst>
        <a:ext uri="{E40237B7-FDA0-4F09-8148-C483321AD2D9}">
          <dgm14:cNvPr xmlns:dgm14="http://schemas.microsoft.com/office/drawing/2010/diagram" id="0" name="" descr="Questions"/>
        </a:ext>
      </dgm:extLst>
    </dgm:pt>
    <dgm:pt modelId="{841C7E6B-E91F-424D-8CBA-396490344AE2}" type="pres">
      <dgm:prSet presAssocID="{6BA5774B-8429-478C-8D6F-416F54397DC8}" presName="spaceRect" presStyleCnt="0"/>
      <dgm:spPr/>
    </dgm:pt>
    <dgm:pt modelId="{509B7E79-3EFF-49A4-A567-5753A00C516B}" type="pres">
      <dgm:prSet presAssocID="{6BA5774B-8429-478C-8D6F-416F54397DC8}" presName="parTx" presStyleLbl="revTx" presStyleIdx="1" presStyleCnt="4">
        <dgm:presLayoutVars>
          <dgm:chMax val="0"/>
          <dgm:chPref val="0"/>
        </dgm:presLayoutVars>
      </dgm:prSet>
      <dgm:spPr/>
    </dgm:pt>
    <dgm:pt modelId="{01B437ED-9609-4B44-BD7D-71CF10C1E133}" type="pres">
      <dgm:prSet presAssocID="{6A29FF45-59C5-4C40-BE57-ECF3BE61171E}" presName="sibTrans" presStyleCnt="0"/>
      <dgm:spPr/>
    </dgm:pt>
    <dgm:pt modelId="{B5E2FAF3-3994-4F67-98EC-DD5A9698F9CF}" type="pres">
      <dgm:prSet presAssocID="{05D9B84C-36FF-42BB-A32C-D98B054D1FC0}" presName="compNode" presStyleCnt="0"/>
      <dgm:spPr/>
    </dgm:pt>
    <dgm:pt modelId="{32B50B9B-7940-41A7-89E1-6D56EC451952}" type="pres">
      <dgm:prSet presAssocID="{05D9B84C-36FF-42BB-A32C-D98B054D1FC0}" presName="bgRect" presStyleLbl="bgShp" presStyleIdx="2" presStyleCnt="4"/>
      <dgm:spPr/>
    </dgm:pt>
    <dgm:pt modelId="{2F04F981-24FC-410B-9493-2285010A7DD3}" type="pres">
      <dgm:prSet presAssocID="{05D9B84C-36FF-42BB-A32C-D98B054D1FC0}" presName="iconRect" presStyleLbl="node1" presStyleIdx="2" presStyleCnt="4"/>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a:noFill/>
        </a:ln>
      </dgm:spPr>
      <dgm:extLst>
        <a:ext uri="{E40237B7-FDA0-4F09-8148-C483321AD2D9}">
          <dgm14:cNvPr xmlns:dgm14="http://schemas.microsoft.com/office/drawing/2010/diagram" id="0" name="" descr="Braille"/>
        </a:ext>
      </dgm:extLst>
    </dgm:pt>
    <dgm:pt modelId="{25C593D2-9B45-4688-A741-163FDFD37E6C}" type="pres">
      <dgm:prSet presAssocID="{05D9B84C-36FF-42BB-A32C-D98B054D1FC0}" presName="spaceRect" presStyleCnt="0"/>
      <dgm:spPr/>
    </dgm:pt>
    <dgm:pt modelId="{1D167424-5374-4668-A777-E1C1E5C86175}" type="pres">
      <dgm:prSet presAssocID="{05D9B84C-36FF-42BB-A32C-D98B054D1FC0}" presName="parTx" presStyleLbl="revTx" presStyleIdx="2" presStyleCnt="4">
        <dgm:presLayoutVars>
          <dgm:chMax val="0"/>
          <dgm:chPref val="0"/>
        </dgm:presLayoutVars>
      </dgm:prSet>
      <dgm:spPr/>
    </dgm:pt>
    <dgm:pt modelId="{AC287FA5-33CD-44D8-9C76-018EF9E86283}" type="pres">
      <dgm:prSet presAssocID="{A2B70468-399F-4289-88AD-A7274C74D474}" presName="sibTrans" presStyleCnt="0"/>
      <dgm:spPr/>
    </dgm:pt>
    <dgm:pt modelId="{AC65D1CC-CB80-4658-B702-8214F331DD73}" type="pres">
      <dgm:prSet presAssocID="{37FE565B-763C-44A6-A59F-18D152634DAA}" presName="compNode" presStyleCnt="0"/>
      <dgm:spPr/>
    </dgm:pt>
    <dgm:pt modelId="{5CD28B5D-F08D-4782-9DC9-ACCFA625E072}" type="pres">
      <dgm:prSet presAssocID="{37FE565B-763C-44A6-A59F-18D152634DAA}" presName="bgRect" presStyleLbl="bgShp" presStyleIdx="3" presStyleCnt="4"/>
      <dgm:spPr/>
    </dgm:pt>
    <dgm:pt modelId="{F01AF6F1-98D3-4F51-BE3A-1AF2C2C718F7}" type="pres">
      <dgm:prSet presAssocID="{37FE565B-763C-44A6-A59F-18D152634DAA}" presName="iconRect" presStyleLbl="node1" presStyleIdx="3" presStyleCnt="4"/>
      <dgm:spPr>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a:noFill/>
        </a:ln>
      </dgm:spPr>
      <dgm:extLst>
        <a:ext uri="{E40237B7-FDA0-4F09-8148-C483321AD2D9}">
          <dgm14:cNvPr xmlns:dgm14="http://schemas.microsoft.com/office/drawing/2010/diagram" id="0" name="" descr="Bitcoin"/>
        </a:ext>
      </dgm:extLst>
    </dgm:pt>
    <dgm:pt modelId="{B023C953-BF8E-44E3-B238-C8D2A4B168CB}" type="pres">
      <dgm:prSet presAssocID="{37FE565B-763C-44A6-A59F-18D152634DAA}" presName="spaceRect" presStyleCnt="0"/>
      <dgm:spPr/>
    </dgm:pt>
    <dgm:pt modelId="{F4C9D690-8A6A-4623-AC5E-BB28B1033D5A}" type="pres">
      <dgm:prSet presAssocID="{37FE565B-763C-44A6-A59F-18D152634DAA}" presName="parTx" presStyleLbl="revTx" presStyleIdx="3" presStyleCnt="4">
        <dgm:presLayoutVars>
          <dgm:chMax val="0"/>
          <dgm:chPref val="0"/>
        </dgm:presLayoutVars>
      </dgm:prSet>
      <dgm:spPr/>
    </dgm:pt>
  </dgm:ptLst>
  <dgm:cxnLst>
    <dgm:cxn modelId="{86F49105-4207-43B5-BD34-F0E7179E1D4B}" type="presOf" srcId="{37FE565B-763C-44A6-A59F-18D152634DAA}" destId="{F4C9D690-8A6A-4623-AC5E-BB28B1033D5A}" srcOrd="0" destOrd="0" presId="urn:microsoft.com/office/officeart/2018/2/layout/IconVerticalSolidList"/>
    <dgm:cxn modelId="{EAB3BF1C-554A-41F0-9F34-B2973A06E4D8}" type="presOf" srcId="{6BA5774B-8429-478C-8D6F-416F54397DC8}" destId="{509B7E79-3EFF-49A4-A567-5753A00C516B}" srcOrd="0" destOrd="0" presId="urn:microsoft.com/office/officeart/2018/2/layout/IconVerticalSolidList"/>
    <dgm:cxn modelId="{638C2529-4295-477E-843A-71A7FA63E5C8}" srcId="{8176E000-EB3E-4E01-9272-1C25A8C0A2F0}" destId="{05D9B84C-36FF-42BB-A32C-D98B054D1FC0}" srcOrd="2" destOrd="0" parTransId="{38D0F200-C6DB-4026-A454-A83FD3D2EDEF}" sibTransId="{A2B70468-399F-4289-88AD-A7274C74D474}"/>
    <dgm:cxn modelId="{0B262141-C689-409E-95E0-9204F4E69536}" type="presOf" srcId="{05D9B84C-36FF-42BB-A32C-D98B054D1FC0}" destId="{1D167424-5374-4668-A777-E1C1E5C86175}" srcOrd="0" destOrd="0" presId="urn:microsoft.com/office/officeart/2018/2/layout/IconVerticalSolidList"/>
    <dgm:cxn modelId="{133C7767-F95F-4EE9-8956-E1E76FCC622F}" type="presOf" srcId="{8176E000-EB3E-4E01-9272-1C25A8C0A2F0}" destId="{EDF0E3BF-2685-4A8A-8E51-8D390FA2D437}" srcOrd="0" destOrd="0" presId="urn:microsoft.com/office/officeart/2018/2/layout/IconVerticalSolidList"/>
    <dgm:cxn modelId="{5A365478-072A-4760-A562-EB2199BD44CB}" srcId="{8176E000-EB3E-4E01-9272-1C25A8C0A2F0}" destId="{50781E60-1BF8-4256-8BC6-5C932A10DBCB}" srcOrd="0" destOrd="0" parTransId="{28370DFB-B5FF-4588-8463-00E241C5F7B1}" sibTransId="{A5E08F1F-DA24-473C-BD1A-1080C95BA721}"/>
    <dgm:cxn modelId="{13B060AB-02C9-4309-A6FA-0662C70E67CD}" type="presOf" srcId="{50781E60-1BF8-4256-8BC6-5C932A10DBCB}" destId="{674B1CB7-C2B3-462D-AE16-C210303EFAF7}" srcOrd="0" destOrd="0" presId="urn:microsoft.com/office/officeart/2018/2/layout/IconVerticalSolidList"/>
    <dgm:cxn modelId="{2F06F2AB-5FE1-4C31-A65B-3FBD062D465F}" srcId="{8176E000-EB3E-4E01-9272-1C25A8C0A2F0}" destId="{6BA5774B-8429-478C-8D6F-416F54397DC8}" srcOrd="1" destOrd="0" parTransId="{579D6E35-7EC9-48E9-8951-B19BC25378EA}" sibTransId="{6A29FF45-59C5-4C40-BE57-ECF3BE61171E}"/>
    <dgm:cxn modelId="{64D58CBF-16E7-43D3-915E-2706ED5A4B97}" srcId="{8176E000-EB3E-4E01-9272-1C25A8C0A2F0}" destId="{37FE565B-763C-44A6-A59F-18D152634DAA}" srcOrd="3" destOrd="0" parTransId="{C310A640-A086-43DD-8BAA-553394B462A1}" sibTransId="{D09914E5-7352-48E4-AD92-C4961719C8B0}"/>
    <dgm:cxn modelId="{17B41FD7-337D-4B17-B764-FB2BDFFAD88B}" type="presParOf" srcId="{EDF0E3BF-2685-4A8A-8E51-8D390FA2D437}" destId="{853E6B55-8E4E-4A50-A4BB-E0E7B70D8538}" srcOrd="0" destOrd="0" presId="urn:microsoft.com/office/officeart/2018/2/layout/IconVerticalSolidList"/>
    <dgm:cxn modelId="{22D0B3CF-FF52-4323-AC57-CC14B4AE8538}" type="presParOf" srcId="{853E6B55-8E4E-4A50-A4BB-E0E7B70D8538}" destId="{1D4338AF-F71C-407E-8A50-89F41328A3FF}" srcOrd="0" destOrd="0" presId="urn:microsoft.com/office/officeart/2018/2/layout/IconVerticalSolidList"/>
    <dgm:cxn modelId="{4D26E2F7-E926-49B4-BCF9-EB2ED9A60CA0}" type="presParOf" srcId="{853E6B55-8E4E-4A50-A4BB-E0E7B70D8538}" destId="{98542E8A-A3CB-459F-B0A6-2C3BBCDC8000}" srcOrd="1" destOrd="0" presId="urn:microsoft.com/office/officeart/2018/2/layout/IconVerticalSolidList"/>
    <dgm:cxn modelId="{C9BC3CF9-3EB1-46C6-BBB0-D699C846DDFD}" type="presParOf" srcId="{853E6B55-8E4E-4A50-A4BB-E0E7B70D8538}" destId="{6B5C2E32-3E4A-4159-913C-5DF9189A9A59}" srcOrd="2" destOrd="0" presId="urn:microsoft.com/office/officeart/2018/2/layout/IconVerticalSolidList"/>
    <dgm:cxn modelId="{999968D0-66C4-45AB-8686-20C32FCEC6E7}" type="presParOf" srcId="{853E6B55-8E4E-4A50-A4BB-E0E7B70D8538}" destId="{674B1CB7-C2B3-462D-AE16-C210303EFAF7}" srcOrd="3" destOrd="0" presId="urn:microsoft.com/office/officeart/2018/2/layout/IconVerticalSolidList"/>
    <dgm:cxn modelId="{F4683DC9-307E-4A57-9348-B1BAC6D79AE0}" type="presParOf" srcId="{EDF0E3BF-2685-4A8A-8E51-8D390FA2D437}" destId="{FA5D3A61-E422-4FB5-9C06-ACF39AC77640}" srcOrd="1" destOrd="0" presId="urn:microsoft.com/office/officeart/2018/2/layout/IconVerticalSolidList"/>
    <dgm:cxn modelId="{FB02E4DD-C710-4889-8BC8-38962FD7C430}" type="presParOf" srcId="{EDF0E3BF-2685-4A8A-8E51-8D390FA2D437}" destId="{1021AAE8-1218-4F22-9982-8CCC4AF60511}" srcOrd="2" destOrd="0" presId="urn:microsoft.com/office/officeart/2018/2/layout/IconVerticalSolidList"/>
    <dgm:cxn modelId="{04048B14-9FCF-45D0-8D53-7D95DA9415B6}" type="presParOf" srcId="{1021AAE8-1218-4F22-9982-8CCC4AF60511}" destId="{CEDB1A75-02D5-4658-8C8C-805CCCCCE15F}" srcOrd="0" destOrd="0" presId="urn:microsoft.com/office/officeart/2018/2/layout/IconVerticalSolidList"/>
    <dgm:cxn modelId="{8D5254D8-370E-48D1-B3C1-19F392069B7A}" type="presParOf" srcId="{1021AAE8-1218-4F22-9982-8CCC4AF60511}" destId="{FEB1BC6F-9E0D-4D7B-AC06-AA6B2359A71F}" srcOrd="1" destOrd="0" presId="urn:microsoft.com/office/officeart/2018/2/layout/IconVerticalSolidList"/>
    <dgm:cxn modelId="{A69EE389-90CE-47ED-B24C-AC2359744BF9}" type="presParOf" srcId="{1021AAE8-1218-4F22-9982-8CCC4AF60511}" destId="{841C7E6B-E91F-424D-8CBA-396490344AE2}" srcOrd="2" destOrd="0" presId="urn:microsoft.com/office/officeart/2018/2/layout/IconVerticalSolidList"/>
    <dgm:cxn modelId="{210776A2-0409-45CA-AFAD-610346BE4CCB}" type="presParOf" srcId="{1021AAE8-1218-4F22-9982-8CCC4AF60511}" destId="{509B7E79-3EFF-49A4-A567-5753A00C516B}" srcOrd="3" destOrd="0" presId="urn:microsoft.com/office/officeart/2018/2/layout/IconVerticalSolidList"/>
    <dgm:cxn modelId="{84A69DDB-48FE-45D7-B10E-07CDC9CBBD0D}" type="presParOf" srcId="{EDF0E3BF-2685-4A8A-8E51-8D390FA2D437}" destId="{01B437ED-9609-4B44-BD7D-71CF10C1E133}" srcOrd="3" destOrd="0" presId="urn:microsoft.com/office/officeart/2018/2/layout/IconVerticalSolidList"/>
    <dgm:cxn modelId="{73CED9B3-78DF-47A0-8222-FB3B9F5D87BF}" type="presParOf" srcId="{EDF0E3BF-2685-4A8A-8E51-8D390FA2D437}" destId="{B5E2FAF3-3994-4F67-98EC-DD5A9698F9CF}" srcOrd="4" destOrd="0" presId="urn:microsoft.com/office/officeart/2018/2/layout/IconVerticalSolidList"/>
    <dgm:cxn modelId="{2AA57546-A7AF-461E-8076-811A89E3E619}" type="presParOf" srcId="{B5E2FAF3-3994-4F67-98EC-DD5A9698F9CF}" destId="{32B50B9B-7940-41A7-89E1-6D56EC451952}" srcOrd="0" destOrd="0" presId="urn:microsoft.com/office/officeart/2018/2/layout/IconVerticalSolidList"/>
    <dgm:cxn modelId="{7FB1B5CD-10DD-41ED-94D9-2B0B2FFF7CA9}" type="presParOf" srcId="{B5E2FAF3-3994-4F67-98EC-DD5A9698F9CF}" destId="{2F04F981-24FC-410B-9493-2285010A7DD3}" srcOrd="1" destOrd="0" presId="urn:microsoft.com/office/officeart/2018/2/layout/IconVerticalSolidList"/>
    <dgm:cxn modelId="{31550630-0737-4FC8-9513-6A4A832F207B}" type="presParOf" srcId="{B5E2FAF3-3994-4F67-98EC-DD5A9698F9CF}" destId="{25C593D2-9B45-4688-A741-163FDFD37E6C}" srcOrd="2" destOrd="0" presId="urn:microsoft.com/office/officeart/2018/2/layout/IconVerticalSolidList"/>
    <dgm:cxn modelId="{469A4F8D-466E-4622-942D-2A3BCF66AA02}" type="presParOf" srcId="{B5E2FAF3-3994-4F67-98EC-DD5A9698F9CF}" destId="{1D167424-5374-4668-A777-E1C1E5C86175}" srcOrd="3" destOrd="0" presId="urn:microsoft.com/office/officeart/2018/2/layout/IconVerticalSolidList"/>
    <dgm:cxn modelId="{D2DD2418-ED02-46E7-98F3-5FA929E5BBB6}" type="presParOf" srcId="{EDF0E3BF-2685-4A8A-8E51-8D390FA2D437}" destId="{AC287FA5-33CD-44D8-9C76-018EF9E86283}" srcOrd="5" destOrd="0" presId="urn:microsoft.com/office/officeart/2018/2/layout/IconVerticalSolidList"/>
    <dgm:cxn modelId="{3475010A-6214-4137-B69B-EF7AA0014CF4}" type="presParOf" srcId="{EDF0E3BF-2685-4A8A-8E51-8D390FA2D437}" destId="{AC65D1CC-CB80-4658-B702-8214F331DD73}" srcOrd="6" destOrd="0" presId="urn:microsoft.com/office/officeart/2018/2/layout/IconVerticalSolidList"/>
    <dgm:cxn modelId="{284FB6A2-13FE-4E70-819A-7DB3CEA8EACF}" type="presParOf" srcId="{AC65D1CC-CB80-4658-B702-8214F331DD73}" destId="{5CD28B5D-F08D-4782-9DC9-ACCFA625E072}" srcOrd="0" destOrd="0" presId="urn:microsoft.com/office/officeart/2018/2/layout/IconVerticalSolidList"/>
    <dgm:cxn modelId="{C9EFC7A3-AE2A-4EC2-AED2-5C35AF054987}" type="presParOf" srcId="{AC65D1CC-CB80-4658-B702-8214F331DD73}" destId="{F01AF6F1-98D3-4F51-BE3A-1AF2C2C718F7}" srcOrd="1" destOrd="0" presId="urn:microsoft.com/office/officeart/2018/2/layout/IconVerticalSolidList"/>
    <dgm:cxn modelId="{3B124C6A-C74F-421F-BDF7-C9C3E8A928B8}" type="presParOf" srcId="{AC65D1CC-CB80-4658-B702-8214F331DD73}" destId="{B023C953-BF8E-44E3-B238-C8D2A4B168CB}" srcOrd="2" destOrd="0" presId="urn:microsoft.com/office/officeart/2018/2/layout/IconVerticalSolidList"/>
    <dgm:cxn modelId="{5B83813B-AE0B-45A4-9E30-F55FC05DBA8E}" type="presParOf" srcId="{AC65D1CC-CB80-4658-B702-8214F331DD73}" destId="{F4C9D690-8A6A-4623-AC5E-BB28B1033D5A}" srcOrd="3" destOrd="0" presId="urn:microsoft.com/office/officeart/2018/2/layout/IconVerticalSolid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9.xml><?xml version="1.0" encoding="utf-8"?>
<dgm:dataModel xmlns:dgm="http://schemas.openxmlformats.org/drawingml/2006/diagram" xmlns:a="http://schemas.openxmlformats.org/drawingml/2006/main">
  <dgm:ptLst>
    <dgm:pt modelId="{3816B4FB-91C4-4244-A5A3-F5D147DFAC6C}" type="doc">
      <dgm:prSet loTypeId="urn:microsoft.com/office/officeart/2018/2/layout/IconVerticalSolidList" loCatId="icon" qsTypeId="urn:microsoft.com/office/officeart/2005/8/quickstyle/simple1" qsCatId="simple" csTypeId="urn:microsoft.com/office/officeart/2018/5/colors/Iconchunking_neutralbg_colorful5" csCatId="colorful" phldr="1"/>
      <dgm:spPr/>
      <dgm:t>
        <a:bodyPr/>
        <a:lstStyle/>
        <a:p>
          <a:endParaRPr lang="en-US"/>
        </a:p>
      </dgm:t>
    </dgm:pt>
    <dgm:pt modelId="{4DEBFC42-BAC6-483D-AE1F-6F7BFEE01B09}">
      <dgm:prSet/>
      <dgm:spPr/>
      <dgm:t>
        <a:bodyPr/>
        <a:lstStyle/>
        <a:p>
          <a:pPr>
            <a:lnSpc>
              <a:spcPct val="100000"/>
            </a:lnSpc>
          </a:pPr>
          <a:r>
            <a:rPr lang="en-US" dirty="0"/>
            <a:t>Know you will pass</a:t>
          </a:r>
        </a:p>
      </dgm:t>
    </dgm:pt>
    <dgm:pt modelId="{2671364A-5537-446E-AE31-EA66042FF670}" type="parTrans" cxnId="{BF82A59C-76E8-416C-8D25-7C3E8521BD89}">
      <dgm:prSet/>
      <dgm:spPr/>
      <dgm:t>
        <a:bodyPr/>
        <a:lstStyle/>
        <a:p>
          <a:endParaRPr lang="en-US"/>
        </a:p>
      </dgm:t>
    </dgm:pt>
    <dgm:pt modelId="{B16E6AF5-4F1B-4DDE-8047-CD0C0C649732}" type="sibTrans" cxnId="{BF82A59C-76E8-416C-8D25-7C3E8521BD89}">
      <dgm:prSet/>
      <dgm:spPr/>
      <dgm:t>
        <a:bodyPr/>
        <a:lstStyle/>
        <a:p>
          <a:endParaRPr lang="en-US"/>
        </a:p>
      </dgm:t>
    </dgm:pt>
    <dgm:pt modelId="{7C827F26-A785-40FE-A3F4-B7A2334DFF94}">
      <dgm:prSet/>
      <dgm:spPr/>
      <dgm:t>
        <a:bodyPr/>
        <a:lstStyle/>
        <a:p>
          <a:pPr>
            <a:lnSpc>
              <a:spcPct val="100000"/>
            </a:lnSpc>
          </a:pPr>
          <a:r>
            <a:rPr lang="en-US" dirty="0"/>
            <a:t>Remain calm</a:t>
          </a:r>
        </a:p>
      </dgm:t>
    </dgm:pt>
    <dgm:pt modelId="{81AA82C6-9FC5-451B-8237-6D7E7B73CC39}" type="parTrans" cxnId="{714629AF-09EA-44B2-9483-CFE78E3654B9}">
      <dgm:prSet/>
      <dgm:spPr/>
      <dgm:t>
        <a:bodyPr/>
        <a:lstStyle/>
        <a:p>
          <a:endParaRPr lang="en-US"/>
        </a:p>
      </dgm:t>
    </dgm:pt>
    <dgm:pt modelId="{31F82A2C-A0BB-4786-86CC-E75FA945D5D9}" type="sibTrans" cxnId="{714629AF-09EA-44B2-9483-CFE78E3654B9}">
      <dgm:prSet/>
      <dgm:spPr/>
      <dgm:t>
        <a:bodyPr/>
        <a:lstStyle/>
        <a:p>
          <a:endParaRPr lang="en-US"/>
        </a:p>
      </dgm:t>
    </dgm:pt>
    <dgm:pt modelId="{FBCD44FC-2F27-4A93-B479-38D814E0327B}">
      <dgm:prSet/>
      <dgm:spPr/>
      <dgm:t>
        <a:bodyPr/>
        <a:lstStyle/>
        <a:p>
          <a:pPr>
            <a:lnSpc>
              <a:spcPct val="100000"/>
            </a:lnSpc>
          </a:pPr>
          <a:r>
            <a:rPr lang="en-US" dirty="0"/>
            <a:t>Manage anticipation</a:t>
          </a:r>
        </a:p>
      </dgm:t>
    </dgm:pt>
    <dgm:pt modelId="{6D12D318-B02B-4906-B4E3-715293EE9B07}" type="parTrans" cxnId="{6D311D86-6E57-45E5-9937-C9AB8945536D}">
      <dgm:prSet/>
      <dgm:spPr/>
      <dgm:t>
        <a:bodyPr/>
        <a:lstStyle/>
        <a:p>
          <a:endParaRPr lang="en-US"/>
        </a:p>
      </dgm:t>
    </dgm:pt>
    <dgm:pt modelId="{C8938105-C404-45BA-A8D7-21141F77A009}" type="sibTrans" cxnId="{6D311D86-6E57-45E5-9937-C9AB8945536D}">
      <dgm:prSet/>
      <dgm:spPr/>
      <dgm:t>
        <a:bodyPr/>
        <a:lstStyle/>
        <a:p>
          <a:endParaRPr lang="en-US"/>
        </a:p>
      </dgm:t>
    </dgm:pt>
    <dgm:pt modelId="{211AF9C0-7ECF-4191-ABFA-6622B177A10B}">
      <dgm:prSet/>
      <dgm:spPr/>
      <dgm:t>
        <a:bodyPr/>
        <a:lstStyle/>
        <a:p>
          <a:pPr>
            <a:lnSpc>
              <a:spcPct val="100000"/>
            </a:lnSpc>
          </a:pPr>
          <a:r>
            <a:rPr lang="en-US" dirty="0"/>
            <a:t>Don’t revisit your answers</a:t>
          </a:r>
        </a:p>
      </dgm:t>
    </dgm:pt>
    <dgm:pt modelId="{289CEE7F-758B-40E4-8744-D41F045F85D3}" type="parTrans" cxnId="{9A238B88-9D12-4DD2-8F56-2A690F96719D}">
      <dgm:prSet/>
      <dgm:spPr/>
      <dgm:t>
        <a:bodyPr/>
        <a:lstStyle/>
        <a:p>
          <a:endParaRPr lang="en-US"/>
        </a:p>
      </dgm:t>
    </dgm:pt>
    <dgm:pt modelId="{8EE782ED-7118-4E05-A964-0DBEDC77E169}" type="sibTrans" cxnId="{9A238B88-9D12-4DD2-8F56-2A690F96719D}">
      <dgm:prSet/>
      <dgm:spPr/>
      <dgm:t>
        <a:bodyPr/>
        <a:lstStyle/>
        <a:p>
          <a:endParaRPr lang="en-US"/>
        </a:p>
      </dgm:t>
    </dgm:pt>
    <dgm:pt modelId="{55B7E00F-9116-46EF-98DB-5AC227C1001E}">
      <dgm:prSet/>
      <dgm:spPr/>
      <dgm:t>
        <a:bodyPr/>
        <a:lstStyle/>
        <a:p>
          <a:pPr>
            <a:lnSpc>
              <a:spcPct val="100000"/>
            </a:lnSpc>
          </a:pPr>
          <a:r>
            <a:rPr lang="en-US"/>
            <a:t>If a question is badly written or confusing, mark for later review and provide feedback</a:t>
          </a:r>
        </a:p>
      </dgm:t>
    </dgm:pt>
    <dgm:pt modelId="{6CA0FBBD-015F-4A9C-BA37-E7D28D6CD64C}" type="parTrans" cxnId="{9B8174D1-9277-4E11-B5BB-E96200167C76}">
      <dgm:prSet/>
      <dgm:spPr/>
      <dgm:t>
        <a:bodyPr/>
        <a:lstStyle/>
        <a:p>
          <a:endParaRPr lang="en-US"/>
        </a:p>
      </dgm:t>
    </dgm:pt>
    <dgm:pt modelId="{87314A46-6E58-430D-A6D5-A842FF81F1D0}" type="sibTrans" cxnId="{9B8174D1-9277-4E11-B5BB-E96200167C76}">
      <dgm:prSet/>
      <dgm:spPr/>
      <dgm:t>
        <a:bodyPr/>
        <a:lstStyle/>
        <a:p>
          <a:endParaRPr lang="en-US"/>
        </a:p>
      </dgm:t>
    </dgm:pt>
    <dgm:pt modelId="{76C27B0B-8E7E-4663-B90C-D33053B5EC4F}" type="pres">
      <dgm:prSet presAssocID="{3816B4FB-91C4-4244-A5A3-F5D147DFAC6C}" presName="root" presStyleCnt="0">
        <dgm:presLayoutVars>
          <dgm:dir/>
          <dgm:resizeHandles val="exact"/>
        </dgm:presLayoutVars>
      </dgm:prSet>
      <dgm:spPr/>
    </dgm:pt>
    <dgm:pt modelId="{BC5BF1FC-3CB9-486A-A1C5-E770CEED7B83}" type="pres">
      <dgm:prSet presAssocID="{4DEBFC42-BAC6-483D-AE1F-6F7BFEE01B09}" presName="compNode" presStyleCnt="0"/>
      <dgm:spPr/>
    </dgm:pt>
    <dgm:pt modelId="{50F552F4-7518-45AD-96D5-5F555AEDCA19}" type="pres">
      <dgm:prSet presAssocID="{4DEBFC42-BAC6-483D-AE1F-6F7BFEE01B09}" presName="bgRect" presStyleLbl="bgShp" presStyleIdx="0" presStyleCnt="5"/>
      <dgm:spPr/>
    </dgm:pt>
    <dgm:pt modelId="{B008EBD8-066A-4396-906B-31F2606FD301}" type="pres">
      <dgm:prSet presAssocID="{4DEBFC42-BAC6-483D-AE1F-6F7BFEE01B09}" presName="iconRect" presStyleLbl="node1" presStyleIdx="0" presStyleCnt="5"/>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a:noFill/>
        </a:ln>
      </dgm:spPr>
      <dgm:extLst>
        <a:ext uri="{E40237B7-FDA0-4F09-8148-C483321AD2D9}">
          <dgm14:cNvPr xmlns:dgm14="http://schemas.microsoft.com/office/drawing/2010/diagram" id="0" name="" descr="Influencer"/>
        </a:ext>
      </dgm:extLst>
    </dgm:pt>
    <dgm:pt modelId="{95656B10-0814-4238-9F3B-B96B6FBE431D}" type="pres">
      <dgm:prSet presAssocID="{4DEBFC42-BAC6-483D-AE1F-6F7BFEE01B09}" presName="spaceRect" presStyleCnt="0"/>
      <dgm:spPr/>
    </dgm:pt>
    <dgm:pt modelId="{991FBC48-6FE8-406E-B15B-D5CFE863AC8F}" type="pres">
      <dgm:prSet presAssocID="{4DEBFC42-BAC6-483D-AE1F-6F7BFEE01B09}" presName="parTx" presStyleLbl="revTx" presStyleIdx="0" presStyleCnt="5">
        <dgm:presLayoutVars>
          <dgm:chMax val="0"/>
          <dgm:chPref val="0"/>
        </dgm:presLayoutVars>
      </dgm:prSet>
      <dgm:spPr/>
    </dgm:pt>
    <dgm:pt modelId="{A4C92679-A0B0-42D4-986D-69C4B6D08DDB}" type="pres">
      <dgm:prSet presAssocID="{B16E6AF5-4F1B-4DDE-8047-CD0C0C649732}" presName="sibTrans" presStyleCnt="0"/>
      <dgm:spPr/>
    </dgm:pt>
    <dgm:pt modelId="{BBBB1057-41F4-4A0B-9AA2-729B21C87D5E}" type="pres">
      <dgm:prSet presAssocID="{7C827F26-A785-40FE-A3F4-B7A2334DFF94}" presName="compNode" presStyleCnt="0"/>
      <dgm:spPr/>
    </dgm:pt>
    <dgm:pt modelId="{4356779B-7FCD-407A-B939-46AD904A8A9A}" type="pres">
      <dgm:prSet presAssocID="{7C827F26-A785-40FE-A3F4-B7A2334DFF94}" presName="bgRect" presStyleLbl="bgShp" presStyleIdx="1" presStyleCnt="5"/>
      <dgm:spPr/>
    </dgm:pt>
    <dgm:pt modelId="{D5D871E8-3562-4D76-B361-48F65FCAEF87}" type="pres">
      <dgm:prSet presAssocID="{7C827F26-A785-40FE-A3F4-B7A2334DFF94}" presName="iconRect" presStyleLbl="node1" presStyleIdx="1" presStyleCnt="5"/>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dgm:spPr>
      <dgm:extLst>
        <a:ext uri="{E40237B7-FDA0-4F09-8148-C483321AD2D9}">
          <dgm14:cNvPr xmlns:dgm14="http://schemas.microsoft.com/office/drawing/2010/diagram" id="0" name="" descr="Crown"/>
        </a:ext>
      </dgm:extLst>
    </dgm:pt>
    <dgm:pt modelId="{73E900D1-4E1F-4AF7-A934-360133F7C867}" type="pres">
      <dgm:prSet presAssocID="{7C827F26-A785-40FE-A3F4-B7A2334DFF94}" presName="spaceRect" presStyleCnt="0"/>
      <dgm:spPr/>
    </dgm:pt>
    <dgm:pt modelId="{39DEE4F4-E204-4F57-932D-2C856A1FFB59}" type="pres">
      <dgm:prSet presAssocID="{7C827F26-A785-40FE-A3F4-B7A2334DFF94}" presName="parTx" presStyleLbl="revTx" presStyleIdx="1" presStyleCnt="5">
        <dgm:presLayoutVars>
          <dgm:chMax val="0"/>
          <dgm:chPref val="0"/>
        </dgm:presLayoutVars>
      </dgm:prSet>
      <dgm:spPr/>
    </dgm:pt>
    <dgm:pt modelId="{6F50C7A2-8DEB-42BB-98A1-F3FF2E1079FF}" type="pres">
      <dgm:prSet presAssocID="{31F82A2C-A0BB-4786-86CC-E75FA945D5D9}" presName="sibTrans" presStyleCnt="0"/>
      <dgm:spPr/>
    </dgm:pt>
    <dgm:pt modelId="{78822FD2-7593-47C1-B951-F2B7278482A1}" type="pres">
      <dgm:prSet presAssocID="{FBCD44FC-2F27-4A93-B479-38D814E0327B}" presName="compNode" presStyleCnt="0"/>
      <dgm:spPr/>
    </dgm:pt>
    <dgm:pt modelId="{CC7F1F4F-8157-4282-97C9-1C9F6C8A8AF4}" type="pres">
      <dgm:prSet presAssocID="{FBCD44FC-2F27-4A93-B479-38D814E0327B}" presName="bgRect" presStyleLbl="bgShp" presStyleIdx="2" presStyleCnt="5"/>
      <dgm:spPr/>
    </dgm:pt>
    <dgm:pt modelId="{732417FA-48D7-4FD1-A603-CD2AF569517F}" type="pres">
      <dgm:prSet presAssocID="{FBCD44FC-2F27-4A93-B479-38D814E0327B}" presName="iconRect" presStyleLbl="node1" presStyleIdx="2" presStyleCnt="5"/>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a:noFill/>
        </a:ln>
      </dgm:spPr>
      <dgm:extLst>
        <a:ext uri="{E40237B7-FDA0-4F09-8148-C483321AD2D9}">
          <dgm14:cNvPr xmlns:dgm14="http://schemas.microsoft.com/office/drawing/2010/diagram" id="0" name="" descr="Head with Gears"/>
        </a:ext>
      </dgm:extLst>
    </dgm:pt>
    <dgm:pt modelId="{7109FC68-275C-490D-9F00-62FBD7D5FB90}" type="pres">
      <dgm:prSet presAssocID="{FBCD44FC-2F27-4A93-B479-38D814E0327B}" presName="spaceRect" presStyleCnt="0"/>
      <dgm:spPr/>
    </dgm:pt>
    <dgm:pt modelId="{EC388E3A-2D51-4DEE-8F8D-0640573BA2A3}" type="pres">
      <dgm:prSet presAssocID="{FBCD44FC-2F27-4A93-B479-38D814E0327B}" presName="parTx" presStyleLbl="revTx" presStyleIdx="2" presStyleCnt="5">
        <dgm:presLayoutVars>
          <dgm:chMax val="0"/>
          <dgm:chPref val="0"/>
        </dgm:presLayoutVars>
      </dgm:prSet>
      <dgm:spPr/>
    </dgm:pt>
    <dgm:pt modelId="{F183E5C3-373A-4DC8-87AA-79CB0B217C8D}" type="pres">
      <dgm:prSet presAssocID="{C8938105-C404-45BA-A8D7-21141F77A009}" presName="sibTrans" presStyleCnt="0"/>
      <dgm:spPr/>
    </dgm:pt>
    <dgm:pt modelId="{7B878F15-17C8-45CB-BF32-F5AF0F62AFC5}" type="pres">
      <dgm:prSet presAssocID="{211AF9C0-7ECF-4191-ABFA-6622B177A10B}" presName="compNode" presStyleCnt="0"/>
      <dgm:spPr/>
    </dgm:pt>
    <dgm:pt modelId="{36FE21BE-54BA-4BBD-A896-195E98421FA1}" type="pres">
      <dgm:prSet presAssocID="{211AF9C0-7ECF-4191-ABFA-6622B177A10B}" presName="bgRect" presStyleLbl="bgShp" presStyleIdx="3" presStyleCnt="5"/>
      <dgm:spPr/>
    </dgm:pt>
    <dgm:pt modelId="{D42BF11F-C97F-4545-AC0C-C75C8702A2D4}" type="pres">
      <dgm:prSet presAssocID="{211AF9C0-7ECF-4191-ABFA-6622B177A10B}" presName="iconRect" presStyleLbl="node1" presStyleIdx="3" presStyleCnt="5"/>
      <dgm:spPr>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a:noFill/>
        </a:ln>
      </dgm:spPr>
      <dgm:extLst>
        <a:ext uri="{E40237B7-FDA0-4F09-8148-C483321AD2D9}">
          <dgm14:cNvPr xmlns:dgm14="http://schemas.microsoft.com/office/drawing/2010/diagram" id="0" name="" descr="Questions"/>
        </a:ext>
      </dgm:extLst>
    </dgm:pt>
    <dgm:pt modelId="{2C8D78C3-30C1-49B4-BF7E-400F18B26A32}" type="pres">
      <dgm:prSet presAssocID="{211AF9C0-7ECF-4191-ABFA-6622B177A10B}" presName="spaceRect" presStyleCnt="0"/>
      <dgm:spPr/>
    </dgm:pt>
    <dgm:pt modelId="{6B212993-B686-4C56-A487-0F6AA137BA5C}" type="pres">
      <dgm:prSet presAssocID="{211AF9C0-7ECF-4191-ABFA-6622B177A10B}" presName="parTx" presStyleLbl="revTx" presStyleIdx="3" presStyleCnt="5">
        <dgm:presLayoutVars>
          <dgm:chMax val="0"/>
          <dgm:chPref val="0"/>
        </dgm:presLayoutVars>
      </dgm:prSet>
      <dgm:spPr/>
    </dgm:pt>
    <dgm:pt modelId="{8A41B057-F080-409B-85E0-7F097D0BB484}" type="pres">
      <dgm:prSet presAssocID="{8EE782ED-7118-4E05-A964-0DBEDC77E169}" presName="sibTrans" presStyleCnt="0"/>
      <dgm:spPr/>
    </dgm:pt>
    <dgm:pt modelId="{58542BDF-E41B-4F64-A0BA-50FAFC69DAF0}" type="pres">
      <dgm:prSet presAssocID="{55B7E00F-9116-46EF-98DB-5AC227C1001E}" presName="compNode" presStyleCnt="0"/>
      <dgm:spPr/>
    </dgm:pt>
    <dgm:pt modelId="{3EB9D231-9EA7-4770-8719-25667A1E2AD4}" type="pres">
      <dgm:prSet presAssocID="{55B7E00F-9116-46EF-98DB-5AC227C1001E}" presName="bgRect" presStyleLbl="bgShp" presStyleIdx="4" presStyleCnt="5"/>
      <dgm:spPr/>
    </dgm:pt>
    <dgm:pt modelId="{5CB68FA1-4AF5-47D4-A3D4-0112E1092E6B}" type="pres">
      <dgm:prSet presAssocID="{55B7E00F-9116-46EF-98DB-5AC227C1001E}" presName="iconRect" presStyleLbl="node1" presStyleIdx="4" presStyleCnt="5"/>
      <dgm:spPr>
        <a:blipFill>
          <a:blip xmlns:r="http://schemas.openxmlformats.org/officeDocument/2006/relationships"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a:blipFill>
        <a:ln>
          <a:noFill/>
        </a:ln>
      </dgm:spPr>
      <dgm:extLst>
        <a:ext uri="{E40237B7-FDA0-4F09-8148-C483321AD2D9}">
          <dgm14:cNvPr xmlns:dgm14="http://schemas.microsoft.com/office/drawing/2010/diagram" id="0" name="" descr="Question mark"/>
        </a:ext>
      </dgm:extLst>
    </dgm:pt>
    <dgm:pt modelId="{1CD41DAF-7A22-4AAA-9924-9034856619F8}" type="pres">
      <dgm:prSet presAssocID="{55B7E00F-9116-46EF-98DB-5AC227C1001E}" presName="spaceRect" presStyleCnt="0"/>
      <dgm:spPr/>
    </dgm:pt>
    <dgm:pt modelId="{DEA55EEE-AACB-487A-A6A9-1D90DE2C6AB2}" type="pres">
      <dgm:prSet presAssocID="{55B7E00F-9116-46EF-98DB-5AC227C1001E}" presName="parTx" presStyleLbl="revTx" presStyleIdx="4" presStyleCnt="5">
        <dgm:presLayoutVars>
          <dgm:chMax val="0"/>
          <dgm:chPref val="0"/>
        </dgm:presLayoutVars>
      </dgm:prSet>
      <dgm:spPr/>
    </dgm:pt>
  </dgm:ptLst>
  <dgm:cxnLst>
    <dgm:cxn modelId="{BB9FE005-2B7C-4172-B9B0-EA39F18AE25E}" type="presOf" srcId="{4DEBFC42-BAC6-483D-AE1F-6F7BFEE01B09}" destId="{991FBC48-6FE8-406E-B15B-D5CFE863AC8F}" srcOrd="0" destOrd="0" presId="urn:microsoft.com/office/officeart/2018/2/layout/IconVerticalSolidList"/>
    <dgm:cxn modelId="{6B37F235-BE2F-4B47-A35C-D15CEC48628B}" type="presOf" srcId="{55B7E00F-9116-46EF-98DB-5AC227C1001E}" destId="{DEA55EEE-AACB-487A-A6A9-1D90DE2C6AB2}" srcOrd="0" destOrd="0" presId="urn:microsoft.com/office/officeart/2018/2/layout/IconVerticalSolidList"/>
    <dgm:cxn modelId="{1D341A45-0FDF-4047-9E28-8F6AFDE9E42F}" type="presOf" srcId="{7C827F26-A785-40FE-A3F4-B7A2334DFF94}" destId="{39DEE4F4-E204-4F57-932D-2C856A1FFB59}" srcOrd="0" destOrd="0" presId="urn:microsoft.com/office/officeart/2018/2/layout/IconVerticalSolidList"/>
    <dgm:cxn modelId="{6D311D86-6E57-45E5-9937-C9AB8945536D}" srcId="{3816B4FB-91C4-4244-A5A3-F5D147DFAC6C}" destId="{FBCD44FC-2F27-4A93-B479-38D814E0327B}" srcOrd="2" destOrd="0" parTransId="{6D12D318-B02B-4906-B4E3-715293EE9B07}" sibTransId="{C8938105-C404-45BA-A8D7-21141F77A009}"/>
    <dgm:cxn modelId="{4D338C86-AAB1-4A4C-96F0-C1B85D8427ED}" type="presOf" srcId="{3816B4FB-91C4-4244-A5A3-F5D147DFAC6C}" destId="{76C27B0B-8E7E-4663-B90C-D33053B5EC4F}" srcOrd="0" destOrd="0" presId="urn:microsoft.com/office/officeart/2018/2/layout/IconVerticalSolidList"/>
    <dgm:cxn modelId="{9A238B88-9D12-4DD2-8F56-2A690F96719D}" srcId="{3816B4FB-91C4-4244-A5A3-F5D147DFAC6C}" destId="{211AF9C0-7ECF-4191-ABFA-6622B177A10B}" srcOrd="3" destOrd="0" parTransId="{289CEE7F-758B-40E4-8744-D41F045F85D3}" sibTransId="{8EE782ED-7118-4E05-A964-0DBEDC77E169}"/>
    <dgm:cxn modelId="{BF82A59C-76E8-416C-8D25-7C3E8521BD89}" srcId="{3816B4FB-91C4-4244-A5A3-F5D147DFAC6C}" destId="{4DEBFC42-BAC6-483D-AE1F-6F7BFEE01B09}" srcOrd="0" destOrd="0" parTransId="{2671364A-5537-446E-AE31-EA66042FF670}" sibTransId="{B16E6AF5-4F1B-4DDE-8047-CD0C0C649732}"/>
    <dgm:cxn modelId="{714629AF-09EA-44B2-9483-CFE78E3654B9}" srcId="{3816B4FB-91C4-4244-A5A3-F5D147DFAC6C}" destId="{7C827F26-A785-40FE-A3F4-B7A2334DFF94}" srcOrd="1" destOrd="0" parTransId="{81AA82C6-9FC5-451B-8237-6D7E7B73CC39}" sibTransId="{31F82A2C-A0BB-4786-86CC-E75FA945D5D9}"/>
    <dgm:cxn modelId="{A7DF65B1-1EAF-413C-A43D-48245D172194}" type="presOf" srcId="{211AF9C0-7ECF-4191-ABFA-6622B177A10B}" destId="{6B212993-B686-4C56-A487-0F6AA137BA5C}" srcOrd="0" destOrd="0" presId="urn:microsoft.com/office/officeart/2018/2/layout/IconVerticalSolidList"/>
    <dgm:cxn modelId="{9B8174D1-9277-4E11-B5BB-E96200167C76}" srcId="{3816B4FB-91C4-4244-A5A3-F5D147DFAC6C}" destId="{55B7E00F-9116-46EF-98DB-5AC227C1001E}" srcOrd="4" destOrd="0" parTransId="{6CA0FBBD-015F-4A9C-BA37-E7D28D6CD64C}" sibTransId="{87314A46-6E58-430D-A6D5-A842FF81F1D0}"/>
    <dgm:cxn modelId="{29699BD4-46EC-4C14-A1BB-DE5D09782E63}" type="presOf" srcId="{FBCD44FC-2F27-4A93-B479-38D814E0327B}" destId="{EC388E3A-2D51-4DEE-8F8D-0640573BA2A3}" srcOrd="0" destOrd="0" presId="urn:microsoft.com/office/officeart/2018/2/layout/IconVerticalSolidList"/>
    <dgm:cxn modelId="{4CC8C247-456A-4898-9C86-7C55E4F94421}" type="presParOf" srcId="{76C27B0B-8E7E-4663-B90C-D33053B5EC4F}" destId="{BC5BF1FC-3CB9-486A-A1C5-E770CEED7B83}" srcOrd="0" destOrd="0" presId="urn:microsoft.com/office/officeart/2018/2/layout/IconVerticalSolidList"/>
    <dgm:cxn modelId="{DE2E6627-A6D3-4F26-9D43-AA031F547FB6}" type="presParOf" srcId="{BC5BF1FC-3CB9-486A-A1C5-E770CEED7B83}" destId="{50F552F4-7518-45AD-96D5-5F555AEDCA19}" srcOrd="0" destOrd="0" presId="urn:microsoft.com/office/officeart/2018/2/layout/IconVerticalSolidList"/>
    <dgm:cxn modelId="{4941975B-A622-4BE5-84EB-066FBCC1C79D}" type="presParOf" srcId="{BC5BF1FC-3CB9-486A-A1C5-E770CEED7B83}" destId="{B008EBD8-066A-4396-906B-31F2606FD301}" srcOrd="1" destOrd="0" presId="urn:microsoft.com/office/officeart/2018/2/layout/IconVerticalSolidList"/>
    <dgm:cxn modelId="{195F70DF-80E9-45A6-9D0F-336B1E9A557D}" type="presParOf" srcId="{BC5BF1FC-3CB9-486A-A1C5-E770CEED7B83}" destId="{95656B10-0814-4238-9F3B-B96B6FBE431D}" srcOrd="2" destOrd="0" presId="urn:microsoft.com/office/officeart/2018/2/layout/IconVerticalSolidList"/>
    <dgm:cxn modelId="{ABDD7FA6-3A84-403A-AFFB-EE5C3DB8F390}" type="presParOf" srcId="{BC5BF1FC-3CB9-486A-A1C5-E770CEED7B83}" destId="{991FBC48-6FE8-406E-B15B-D5CFE863AC8F}" srcOrd="3" destOrd="0" presId="urn:microsoft.com/office/officeart/2018/2/layout/IconVerticalSolidList"/>
    <dgm:cxn modelId="{0DB7605D-37D0-4AB7-A8A1-21869B2BAFA9}" type="presParOf" srcId="{76C27B0B-8E7E-4663-B90C-D33053B5EC4F}" destId="{A4C92679-A0B0-42D4-986D-69C4B6D08DDB}" srcOrd="1" destOrd="0" presId="urn:microsoft.com/office/officeart/2018/2/layout/IconVerticalSolidList"/>
    <dgm:cxn modelId="{BBB19981-4E6E-4EB8-8F76-8332760D84DD}" type="presParOf" srcId="{76C27B0B-8E7E-4663-B90C-D33053B5EC4F}" destId="{BBBB1057-41F4-4A0B-9AA2-729B21C87D5E}" srcOrd="2" destOrd="0" presId="urn:microsoft.com/office/officeart/2018/2/layout/IconVerticalSolidList"/>
    <dgm:cxn modelId="{D468257F-37A6-4A37-9D61-E7D2238CAF4A}" type="presParOf" srcId="{BBBB1057-41F4-4A0B-9AA2-729B21C87D5E}" destId="{4356779B-7FCD-407A-B939-46AD904A8A9A}" srcOrd="0" destOrd="0" presId="urn:microsoft.com/office/officeart/2018/2/layout/IconVerticalSolidList"/>
    <dgm:cxn modelId="{8F4DF707-0419-4E80-96E6-F050CC0AC2FD}" type="presParOf" srcId="{BBBB1057-41F4-4A0B-9AA2-729B21C87D5E}" destId="{D5D871E8-3562-4D76-B361-48F65FCAEF87}" srcOrd="1" destOrd="0" presId="urn:microsoft.com/office/officeart/2018/2/layout/IconVerticalSolidList"/>
    <dgm:cxn modelId="{B48DD6D6-F80D-40F5-B79C-08235AA3E43D}" type="presParOf" srcId="{BBBB1057-41F4-4A0B-9AA2-729B21C87D5E}" destId="{73E900D1-4E1F-4AF7-A934-360133F7C867}" srcOrd="2" destOrd="0" presId="urn:microsoft.com/office/officeart/2018/2/layout/IconVerticalSolidList"/>
    <dgm:cxn modelId="{EB7C9878-BFBE-498F-8BDC-20EA0A27C819}" type="presParOf" srcId="{BBBB1057-41F4-4A0B-9AA2-729B21C87D5E}" destId="{39DEE4F4-E204-4F57-932D-2C856A1FFB59}" srcOrd="3" destOrd="0" presId="urn:microsoft.com/office/officeart/2018/2/layout/IconVerticalSolidList"/>
    <dgm:cxn modelId="{39CAC586-9228-4E5D-BC7B-9C3D81990104}" type="presParOf" srcId="{76C27B0B-8E7E-4663-B90C-D33053B5EC4F}" destId="{6F50C7A2-8DEB-42BB-98A1-F3FF2E1079FF}" srcOrd="3" destOrd="0" presId="urn:microsoft.com/office/officeart/2018/2/layout/IconVerticalSolidList"/>
    <dgm:cxn modelId="{30510E3E-AEF5-41ED-8C04-50B95D07B7E4}" type="presParOf" srcId="{76C27B0B-8E7E-4663-B90C-D33053B5EC4F}" destId="{78822FD2-7593-47C1-B951-F2B7278482A1}" srcOrd="4" destOrd="0" presId="urn:microsoft.com/office/officeart/2018/2/layout/IconVerticalSolidList"/>
    <dgm:cxn modelId="{CC775F74-1B1E-42F1-9D3F-ADBA42514246}" type="presParOf" srcId="{78822FD2-7593-47C1-B951-F2B7278482A1}" destId="{CC7F1F4F-8157-4282-97C9-1C9F6C8A8AF4}" srcOrd="0" destOrd="0" presId="urn:microsoft.com/office/officeart/2018/2/layout/IconVerticalSolidList"/>
    <dgm:cxn modelId="{05EF095E-42DE-4C72-9758-944296C56F9D}" type="presParOf" srcId="{78822FD2-7593-47C1-B951-F2B7278482A1}" destId="{732417FA-48D7-4FD1-A603-CD2AF569517F}" srcOrd="1" destOrd="0" presId="urn:microsoft.com/office/officeart/2018/2/layout/IconVerticalSolidList"/>
    <dgm:cxn modelId="{F98E6BB9-FCF4-451F-A3AD-6D54899BEEE8}" type="presParOf" srcId="{78822FD2-7593-47C1-B951-F2B7278482A1}" destId="{7109FC68-275C-490D-9F00-62FBD7D5FB90}" srcOrd="2" destOrd="0" presId="urn:microsoft.com/office/officeart/2018/2/layout/IconVerticalSolidList"/>
    <dgm:cxn modelId="{60ADD7A9-5B33-4158-BBBB-663C400C84AB}" type="presParOf" srcId="{78822FD2-7593-47C1-B951-F2B7278482A1}" destId="{EC388E3A-2D51-4DEE-8F8D-0640573BA2A3}" srcOrd="3" destOrd="0" presId="urn:microsoft.com/office/officeart/2018/2/layout/IconVerticalSolidList"/>
    <dgm:cxn modelId="{B9C37220-D8A1-4B76-BD93-010D765944A3}" type="presParOf" srcId="{76C27B0B-8E7E-4663-B90C-D33053B5EC4F}" destId="{F183E5C3-373A-4DC8-87AA-79CB0B217C8D}" srcOrd="5" destOrd="0" presId="urn:microsoft.com/office/officeart/2018/2/layout/IconVerticalSolidList"/>
    <dgm:cxn modelId="{F32D5729-51F3-4C4B-A1EA-2B3D0A1F44DA}" type="presParOf" srcId="{76C27B0B-8E7E-4663-B90C-D33053B5EC4F}" destId="{7B878F15-17C8-45CB-BF32-F5AF0F62AFC5}" srcOrd="6" destOrd="0" presId="urn:microsoft.com/office/officeart/2018/2/layout/IconVerticalSolidList"/>
    <dgm:cxn modelId="{90448BE6-824C-4424-8B82-5524DF047486}" type="presParOf" srcId="{7B878F15-17C8-45CB-BF32-F5AF0F62AFC5}" destId="{36FE21BE-54BA-4BBD-A896-195E98421FA1}" srcOrd="0" destOrd="0" presId="urn:microsoft.com/office/officeart/2018/2/layout/IconVerticalSolidList"/>
    <dgm:cxn modelId="{1D547076-2514-4246-8AB8-43ED8ED7707B}" type="presParOf" srcId="{7B878F15-17C8-45CB-BF32-F5AF0F62AFC5}" destId="{D42BF11F-C97F-4545-AC0C-C75C8702A2D4}" srcOrd="1" destOrd="0" presId="urn:microsoft.com/office/officeart/2018/2/layout/IconVerticalSolidList"/>
    <dgm:cxn modelId="{38C9CDF9-F4F0-48D1-B2FE-A2A9E67C67D4}" type="presParOf" srcId="{7B878F15-17C8-45CB-BF32-F5AF0F62AFC5}" destId="{2C8D78C3-30C1-49B4-BF7E-400F18B26A32}" srcOrd="2" destOrd="0" presId="urn:microsoft.com/office/officeart/2018/2/layout/IconVerticalSolidList"/>
    <dgm:cxn modelId="{C86E32E2-C26A-4F06-996A-289F2B167E62}" type="presParOf" srcId="{7B878F15-17C8-45CB-BF32-F5AF0F62AFC5}" destId="{6B212993-B686-4C56-A487-0F6AA137BA5C}" srcOrd="3" destOrd="0" presId="urn:microsoft.com/office/officeart/2018/2/layout/IconVerticalSolidList"/>
    <dgm:cxn modelId="{C2E76DAC-B215-43DC-ACE6-9D1393BBBC3A}" type="presParOf" srcId="{76C27B0B-8E7E-4663-B90C-D33053B5EC4F}" destId="{8A41B057-F080-409B-85E0-7F097D0BB484}" srcOrd="7" destOrd="0" presId="urn:microsoft.com/office/officeart/2018/2/layout/IconVerticalSolidList"/>
    <dgm:cxn modelId="{6BD5DFC6-706F-4ED7-8F01-AD571C4D52AE}" type="presParOf" srcId="{76C27B0B-8E7E-4663-B90C-D33053B5EC4F}" destId="{58542BDF-E41B-4F64-A0BA-50FAFC69DAF0}" srcOrd="8" destOrd="0" presId="urn:microsoft.com/office/officeart/2018/2/layout/IconVerticalSolidList"/>
    <dgm:cxn modelId="{85EAB347-496B-4017-89C7-B3A22B88BA1B}" type="presParOf" srcId="{58542BDF-E41B-4F64-A0BA-50FAFC69DAF0}" destId="{3EB9D231-9EA7-4770-8719-25667A1E2AD4}" srcOrd="0" destOrd="0" presId="urn:microsoft.com/office/officeart/2018/2/layout/IconVerticalSolidList"/>
    <dgm:cxn modelId="{C7E332DD-1DD5-4486-92BF-91D98617B2FC}" type="presParOf" srcId="{58542BDF-E41B-4F64-A0BA-50FAFC69DAF0}" destId="{5CB68FA1-4AF5-47D4-A3D4-0112E1092E6B}" srcOrd="1" destOrd="0" presId="urn:microsoft.com/office/officeart/2018/2/layout/IconVerticalSolidList"/>
    <dgm:cxn modelId="{C0F1A6EB-2B2A-44FB-ABCB-F4AD8A4CAB7B}" type="presParOf" srcId="{58542BDF-E41B-4F64-A0BA-50FAFC69DAF0}" destId="{1CD41DAF-7A22-4AAA-9924-9034856619F8}" srcOrd="2" destOrd="0" presId="urn:microsoft.com/office/officeart/2018/2/layout/IconVerticalSolidList"/>
    <dgm:cxn modelId="{3C93B554-9243-4A18-9DB4-2E29FDB509D8}" type="presParOf" srcId="{58542BDF-E41B-4F64-A0BA-50FAFC69DAF0}" destId="{DEA55EEE-AACB-487A-A6A9-1D90DE2C6AB2}" srcOrd="3" destOrd="0" presId="urn:microsoft.com/office/officeart/2018/2/layout/IconVerticalSolid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A9B579F0-A710-4E25-A339-BFCFA83286E7}" type="doc">
      <dgm:prSet loTypeId="urn:microsoft.com/office/officeart/2018/2/layout/IconVerticalSolidList" loCatId="icon" qsTypeId="urn:microsoft.com/office/officeart/2005/8/quickstyle/simple1" qsCatId="simple" csTypeId="urn:microsoft.com/office/officeart/2018/5/colors/Iconchunking_neutralbg_colorful1" csCatId="colorful" phldr="1"/>
      <dgm:spPr/>
      <dgm:t>
        <a:bodyPr/>
        <a:lstStyle/>
        <a:p>
          <a:endParaRPr lang="en-US"/>
        </a:p>
      </dgm:t>
    </dgm:pt>
    <dgm:pt modelId="{EA884040-8E61-430B-B82B-20C49058106E}">
      <dgm:prSet/>
      <dgm:spPr/>
      <dgm:t>
        <a:bodyPr/>
        <a:lstStyle/>
        <a:p>
          <a:pPr>
            <a:lnSpc>
              <a:spcPct val="100000"/>
            </a:lnSpc>
          </a:pPr>
          <a:r>
            <a:rPr lang="en-US" dirty="0">
              <a:hlinkClick xmlns:r="http://schemas.openxmlformats.org/officeDocument/2006/relationships" r:id="rId1"/>
            </a:rPr>
            <a:t>https://learn.xrmcoaches.com</a:t>
          </a:r>
          <a:endParaRPr lang="en-US" dirty="0"/>
        </a:p>
      </dgm:t>
    </dgm:pt>
    <dgm:pt modelId="{157624EB-31EB-4418-828A-54172A0B7FB5}" type="parTrans" cxnId="{20AC2413-9F23-48F9-9A0A-CF1DD8F88426}">
      <dgm:prSet/>
      <dgm:spPr/>
      <dgm:t>
        <a:bodyPr/>
        <a:lstStyle/>
        <a:p>
          <a:endParaRPr lang="en-US"/>
        </a:p>
      </dgm:t>
    </dgm:pt>
    <dgm:pt modelId="{52700171-326F-457C-9C2A-2C0AE8A16286}" type="sibTrans" cxnId="{20AC2413-9F23-48F9-9A0A-CF1DD8F88426}">
      <dgm:prSet/>
      <dgm:spPr/>
      <dgm:t>
        <a:bodyPr/>
        <a:lstStyle/>
        <a:p>
          <a:endParaRPr lang="en-US"/>
        </a:p>
      </dgm:t>
    </dgm:pt>
    <dgm:pt modelId="{F08AEB5E-FE85-4C50-AC43-4419831526BB}">
      <dgm:prSet/>
      <dgm:spPr/>
      <dgm:t>
        <a:bodyPr/>
        <a:lstStyle/>
        <a:p>
          <a:pPr>
            <a:lnSpc>
              <a:spcPct val="100000"/>
            </a:lnSpc>
          </a:pPr>
          <a:r>
            <a:rPr lang="en-US" dirty="0"/>
            <a:t>Power Platform JavaScript Development</a:t>
          </a:r>
        </a:p>
      </dgm:t>
    </dgm:pt>
    <dgm:pt modelId="{900BFF0D-78B2-48E0-AB44-E790F44FA857}" type="parTrans" cxnId="{045724F1-E287-4F86-9F45-BD7B453023C1}">
      <dgm:prSet/>
      <dgm:spPr/>
      <dgm:t>
        <a:bodyPr/>
        <a:lstStyle/>
        <a:p>
          <a:endParaRPr lang="en-US"/>
        </a:p>
      </dgm:t>
    </dgm:pt>
    <dgm:pt modelId="{ADFFDB31-C5E7-48CE-877A-23E5CB849AD7}" type="sibTrans" cxnId="{045724F1-E287-4F86-9F45-BD7B453023C1}">
      <dgm:prSet/>
      <dgm:spPr/>
      <dgm:t>
        <a:bodyPr/>
        <a:lstStyle/>
        <a:p>
          <a:endParaRPr lang="en-US"/>
        </a:p>
      </dgm:t>
    </dgm:pt>
    <dgm:pt modelId="{218B7518-E0AC-4432-8866-76CAF206ABCE}">
      <dgm:prSet/>
      <dgm:spPr/>
      <dgm:t>
        <a:bodyPr/>
        <a:lstStyle/>
        <a:p>
          <a:pPr>
            <a:lnSpc>
              <a:spcPct val="100000"/>
            </a:lnSpc>
          </a:pPr>
          <a:r>
            <a:rPr lang="en-US"/>
            <a:t>The Art and Science of Model-Driven App Design</a:t>
          </a:r>
        </a:p>
      </dgm:t>
    </dgm:pt>
    <dgm:pt modelId="{810D5CAD-1382-482F-B808-3D8ABAC418BB}" type="parTrans" cxnId="{5F00826E-7EE8-4A07-B3D9-47D919DA30D5}">
      <dgm:prSet/>
      <dgm:spPr/>
      <dgm:t>
        <a:bodyPr/>
        <a:lstStyle/>
        <a:p>
          <a:endParaRPr lang="en-US"/>
        </a:p>
      </dgm:t>
    </dgm:pt>
    <dgm:pt modelId="{768B933F-B224-4550-9A1B-315D09802625}" type="sibTrans" cxnId="{5F00826E-7EE8-4A07-B3D9-47D919DA30D5}">
      <dgm:prSet/>
      <dgm:spPr/>
      <dgm:t>
        <a:bodyPr/>
        <a:lstStyle/>
        <a:p>
          <a:endParaRPr lang="en-US"/>
        </a:p>
      </dgm:t>
    </dgm:pt>
    <dgm:pt modelId="{6A3EF199-267A-4BF3-927A-CA75E2C791D8}">
      <dgm:prSet/>
      <dgm:spPr/>
      <dgm:t>
        <a:bodyPr/>
        <a:lstStyle/>
        <a:p>
          <a:pPr>
            <a:lnSpc>
              <a:spcPct val="100000"/>
            </a:lnSpc>
          </a:pPr>
          <a:r>
            <a:rPr lang="en-US" dirty="0"/>
            <a:t>50% off through the end of April</a:t>
          </a:r>
          <a:br>
            <a:rPr lang="en-US" dirty="0"/>
          </a:br>
          <a:r>
            <a:rPr lang="en-US" dirty="0"/>
            <a:t>use code: </a:t>
          </a:r>
          <a:r>
            <a:rPr lang="en-US" b="1" u="sng" dirty="0" err="1"/>
            <a:t>inthistogether</a:t>
          </a:r>
          <a:r>
            <a:rPr lang="en-US" b="0" u="none" dirty="0"/>
            <a:t> at checkout</a:t>
          </a:r>
          <a:endParaRPr lang="en-US" dirty="0"/>
        </a:p>
      </dgm:t>
    </dgm:pt>
    <dgm:pt modelId="{1C74F154-3980-4DBF-AABA-1AB7B555A9F9}" type="parTrans" cxnId="{20C1D64A-ED8B-4EA9-8C91-CA14086A04C8}">
      <dgm:prSet/>
      <dgm:spPr/>
      <dgm:t>
        <a:bodyPr/>
        <a:lstStyle/>
        <a:p>
          <a:endParaRPr lang="en-US"/>
        </a:p>
      </dgm:t>
    </dgm:pt>
    <dgm:pt modelId="{84C3FC44-C86E-4377-BDC7-DA38CC04F04F}" type="sibTrans" cxnId="{20C1D64A-ED8B-4EA9-8C91-CA14086A04C8}">
      <dgm:prSet/>
      <dgm:spPr/>
      <dgm:t>
        <a:bodyPr/>
        <a:lstStyle/>
        <a:p>
          <a:endParaRPr lang="en-US"/>
        </a:p>
      </dgm:t>
    </dgm:pt>
    <dgm:pt modelId="{15312726-C422-4AAE-8AFB-BB52010603FE}" type="pres">
      <dgm:prSet presAssocID="{A9B579F0-A710-4E25-A339-BFCFA83286E7}" presName="root" presStyleCnt="0">
        <dgm:presLayoutVars>
          <dgm:dir/>
          <dgm:resizeHandles val="exact"/>
        </dgm:presLayoutVars>
      </dgm:prSet>
      <dgm:spPr/>
    </dgm:pt>
    <dgm:pt modelId="{B062A241-162D-4E52-9F26-63FD560818C0}" type="pres">
      <dgm:prSet presAssocID="{EA884040-8E61-430B-B82B-20C49058106E}" presName="compNode" presStyleCnt="0"/>
      <dgm:spPr/>
    </dgm:pt>
    <dgm:pt modelId="{46CB1FB1-F1F3-4175-A006-EBF501CEF881}" type="pres">
      <dgm:prSet presAssocID="{EA884040-8E61-430B-B82B-20C49058106E}" presName="bgRect" presStyleLbl="bgShp" presStyleIdx="0" presStyleCnt="4"/>
      <dgm:spPr/>
    </dgm:pt>
    <dgm:pt modelId="{4DE8067D-D16F-4662-9C5F-2DF6EF21F109}" type="pres">
      <dgm:prSet presAssocID="{EA884040-8E61-430B-B82B-20C49058106E}" presName="iconRect" presStyleLbl="node1" presStyleIdx="0" presStyleCnt="4"/>
      <dgm:spPr>
        <a:blipFill>
          <a:blip xmlns:r="http://schemas.openxmlformats.org/officeDocument/2006/relationships"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a:blipFill>
        <a:ln>
          <a:noFill/>
        </a:ln>
      </dgm:spPr>
      <dgm:extLst>
        <a:ext uri="{E40237B7-FDA0-4F09-8148-C483321AD2D9}">
          <dgm14:cNvPr xmlns:dgm14="http://schemas.microsoft.com/office/drawing/2010/diagram" id="0" name="" descr="Marker"/>
        </a:ext>
      </dgm:extLst>
    </dgm:pt>
    <dgm:pt modelId="{0C9E385A-A29B-44F6-AC97-C2849D4FFB7F}" type="pres">
      <dgm:prSet presAssocID="{EA884040-8E61-430B-B82B-20C49058106E}" presName="spaceRect" presStyleCnt="0"/>
      <dgm:spPr/>
    </dgm:pt>
    <dgm:pt modelId="{1B4A47DA-12FE-45EA-8B7D-0AD2C650440E}" type="pres">
      <dgm:prSet presAssocID="{EA884040-8E61-430B-B82B-20C49058106E}" presName="parTx" presStyleLbl="revTx" presStyleIdx="0" presStyleCnt="4">
        <dgm:presLayoutVars>
          <dgm:chMax val="0"/>
          <dgm:chPref val="0"/>
        </dgm:presLayoutVars>
      </dgm:prSet>
      <dgm:spPr/>
    </dgm:pt>
    <dgm:pt modelId="{49835CFB-3B6E-4027-805A-DAA49C993FD9}" type="pres">
      <dgm:prSet presAssocID="{52700171-326F-457C-9C2A-2C0AE8A16286}" presName="sibTrans" presStyleCnt="0"/>
      <dgm:spPr/>
    </dgm:pt>
    <dgm:pt modelId="{5AC6A6B1-552E-4EAB-BDE0-3B580C29C0E6}" type="pres">
      <dgm:prSet presAssocID="{F08AEB5E-FE85-4C50-AC43-4419831526BB}" presName="compNode" presStyleCnt="0"/>
      <dgm:spPr/>
    </dgm:pt>
    <dgm:pt modelId="{F54C9CFD-C8AE-4112-BCD4-DDE5D3E53392}" type="pres">
      <dgm:prSet presAssocID="{F08AEB5E-FE85-4C50-AC43-4419831526BB}" presName="bgRect" presStyleLbl="bgShp" presStyleIdx="1" presStyleCnt="4"/>
      <dgm:spPr/>
    </dgm:pt>
    <dgm:pt modelId="{AFF62D9E-A7EC-4623-AC41-F2C55AC25EE6}" type="pres">
      <dgm:prSet presAssocID="{F08AEB5E-FE85-4C50-AC43-4419831526BB}" presName="iconRect" presStyleLbl="node1" presStyleIdx="1" presStyleCnt="4"/>
      <dgm:spPr>
        <a:blipFill>
          <a:blip xmlns:r="http://schemas.openxmlformats.org/officeDocument/2006/relationships"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a:blipFill>
        <a:ln>
          <a:noFill/>
        </a:ln>
      </dgm:spPr>
      <dgm:extLst>
        <a:ext uri="{E40237B7-FDA0-4F09-8148-C483321AD2D9}">
          <dgm14:cNvPr xmlns:dgm14="http://schemas.microsoft.com/office/drawing/2010/diagram" id="0" name="" descr="Web Design"/>
        </a:ext>
      </dgm:extLst>
    </dgm:pt>
    <dgm:pt modelId="{8BCFB603-8C11-4B3B-BA55-F646246729D6}" type="pres">
      <dgm:prSet presAssocID="{F08AEB5E-FE85-4C50-AC43-4419831526BB}" presName="spaceRect" presStyleCnt="0"/>
      <dgm:spPr/>
    </dgm:pt>
    <dgm:pt modelId="{0FBA1F17-4EAE-4F87-9926-DCAFEF544860}" type="pres">
      <dgm:prSet presAssocID="{F08AEB5E-FE85-4C50-AC43-4419831526BB}" presName="parTx" presStyleLbl="revTx" presStyleIdx="1" presStyleCnt="4">
        <dgm:presLayoutVars>
          <dgm:chMax val="0"/>
          <dgm:chPref val="0"/>
        </dgm:presLayoutVars>
      </dgm:prSet>
      <dgm:spPr/>
    </dgm:pt>
    <dgm:pt modelId="{EC49600A-62FE-4FB5-8860-590A7BF36C7F}" type="pres">
      <dgm:prSet presAssocID="{ADFFDB31-C5E7-48CE-877A-23E5CB849AD7}" presName="sibTrans" presStyleCnt="0"/>
      <dgm:spPr/>
    </dgm:pt>
    <dgm:pt modelId="{B75618F3-25D6-45B8-80F7-2BC4DA723C16}" type="pres">
      <dgm:prSet presAssocID="{218B7518-E0AC-4432-8866-76CAF206ABCE}" presName="compNode" presStyleCnt="0"/>
      <dgm:spPr/>
    </dgm:pt>
    <dgm:pt modelId="{64C20214-94BE-49B8-9BDB-E886CCCD6B2D}" type="pres">
      <dgm:prSet presAssocID="{218B7518-E0AC-4432-8866-76CAF206ABCE}" presName="bgRect" presStyleLbl="bgShp" presStyleIdx="2" presStyleCnt="4"/>
      <dgm:spPr/>
    </dgm:pt>
    <dgm:pt modelId="{248A2A20-B206-4A66-AA6B-9602B45092C7}" type="pres">
      <dgm:prSet presAssocID="{218B7518-E0AC-4432-8866-76CAF206ABCE}" presName="iconRect" presStyleLbl="node1" presStyleIdx="2" presStyleCnt="4"/>
      <dgm:spPr>
        <a:blipFill>
          <a:blip xmlns:r="http://schemas.openxmlformats.org/officeDocument/2006/relationships"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a:blipFill>
        <a:ln>
          <a:noFill/>
        </a:ln>
      </dgm:spPr>
      <dgm:extLst>
        <a:ext uri="{E40237B7-FDA0-4F09-8148-C483321AD2D9}">
          <dgm14:cNvPr xmlns:dgm14="http://schemas.microsoft.com/office/drawing/2010/diagram" id="0" name="" descr="Artist"/>
        </a:ext>
      </dgm:extLst>
    </dgm:pt>
    <dgm:pt modelId="{EFBBE994-EF84-46C5-B33E-FABE3FD5BBE3}" type="pres">
      <dgm:prSet presAssocID="{218B7518-E0AC-4432-8866-76CAF206ABCE}" presName="spaceRect" presStyleCnt="0"/>
      <dgm:spPr/>
    </dgm:pt>
    <dgm:pt modelId="{66822091-FB75-4181-BEF2-36E63CC3FD61}" type="pres">
      <dgm:prSet presAssocID="{218B7518-E0AC-4432-8866-76CAF206ABCE}" presName="parTx" presStyleLbl="revTx" presStyleIdx="2" presStyleCnt="4">
        <dgm:presLayoutVars>
          <dgm:chMax val="0"/>
          <dgm:chPref val="0"/>
        </dgm:presLayoutVars>
      </dgm:prSet>
      <dgm:spPr/>
    </dgm:pt>
    <dgm:pt modelId="{F273F253-A065-409C-AC16-51500B1472E5}" type="pres">
      <dgm:prSet presAssocID="{768B933F-B224-4550-9A1B-315D09802625}" presName="sibTrans" presStyleCnt="0"/>
      <dgm:spPr/>
    </dgm:pt>
    <dgm:pt modelId="{77C72161-5BDB-4159-B3A3-006FD179A396}" type="pres">
      <dgm:prSet presAssocID="{6A3EF199-267A-4BF3-927A-CA75E2C791D8}" presName="compNode" presStyleCnt="0"/>
      <dgm:spPr/>
    </dgm:pt>
    <dgm:pt modelId="{5C5809D2-A7E1-4B96-A234-3B257ADF6E0B}" type="pres">
      <dgm:prSet presAssocID="{6A3EF199-267A-4BF3-927A-CA75E2C791D8}" presName="bgRect" presStyleLbl="bgShp" presStyleIdx="3" presStyleCnt="4"/>
      <dgm:spPr/>
    </dgm:pt>
    <dgm:pt modelId="{2FBAF856-B8B6-4888-8C5A-BDF528F94FDD}" type="pres">
      <dgm:prSet presAssocID="{6A3EF199-267A-4BF3-927A-CA75E2C791D8}" presName="iconRect" presStyleLbl="node1" presStyleIdx="3" presStyleCnt="4"/>
      <dgm:spPr>
        <a:blipFill>
          <a:blip xmlns:r="http://schemas.openxmlformats.org/officeDocument/2006/relationships"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a:blipFill>
        <a:ln>
          <a:noFill/>
        </a:ln>
      </dgm:spPr>
      <dgm:extLst>
        <a:ext uri="{E40237B7-FDA0-4F09-8148-C483321AD2D9}">
          <dgm14:cNvPr xmlns:dgm14="http://schemas.microsoft.com/office/drawing/2010/diagram" id="0" name="" descr="Windmill"/>
        </a:ext>
      </dgm:extLst>
    </dgm:pt>
    <dgm:pt modelId="{1B7D863A-9BC9-473B-9510-7101BB2DBE25}" type="pres">
      <dgm:prSet presAssocID="{6A3EF199-267A-4BF3-927A-CA75E2C791D8}" presName="spaceRect" presStyleCnt="0"/>
      <dgm:spPr/>
    </dgm:pt>
    <dgm:pt modelId="{8BF34DAF-F38D-4A14-9B84-9BF92B53B042}" type="pres">
      <dgm:prSet presAssocID="{6A3EF199-267A-4BF3-927A-CA75E2C791D8}" presName="parTx" presStyleLbl="revTx" presStyleIdx="3" presStyleCnt="4">
        <dgm:presLayoutVars>
          <dgm:chMax val="0"/>
          <dgm:chPref val="0"/>
        </dgm:presLayoutVars>
      </dgm:prSet>
      <dgm:spPr/>
    </dgm:pt>
  </dgm:ptLst>
  <dgm:cxnLst>
    <dgm:cxn modelId="{20AC2413-9F23-48F9-9A0A-CF1DD8F88426}" srcId="{A9B579F0-A710-4E25-A339-BFCFA83286E7}" destId="{EA884040-8E61-430B-B82B-20C49058106E}" srcOrd="0" destOrd="0" parTransId="{157624EB-31EB-4418-828A-54172A0B7FB5}" sibTransId="{52700171-326F-457C-9C2A-2C0AE8A16286}"/>
    <dgm:cxn modelId="{FDA4E019-1D0B-4C0E-9A4B-0A8555F8FEB5}" type="presOf" srcId="{A9B579F0-A710-4E25-A339-BFCFA83286E7}" destId="{15312726-C422-4AAE-8AFB-BB52010603FE}" srcOrd="0" destOrd="0" presId="urn:microsoft.com/office/officeart/2018/2/layout/IconVerticalSolidList"/>
    <dgm:cxn modelId="{9AAE592A-73EE-4C89-A0F0-662C80063358}" type="presOf" srcId="{F08AEB5E-FE85-4C50-AC43-4419831526BB}" destId="{0FBA1F17-4EAE-4F87-9926-DCAFEF544860}" srcOrd="0" destOrd="0" presId="urn:microsoft.com/office/officeart/2018/2/layout/IconVerticalSolidList"/>
    <dgm:cxn modelId="{20C1D64A-ED8B-4EA9-8C91-CA14086A04C8}" srcId="{A9B579F0-A710-4E25-A339-BFCFA83286E7}" destId="{6A3EF199-267A-4BF3-927A-CA75E2C791D8}" srcOrd="3" destOrd="0" parTransId="{1C74F154-3980-4DBF-AABA-1AB7B555A9F9}" sibTransId="{84C3FC44-C86E-4377-BDC7-DA38CC04F04F}"/>
    <dgm:cxn modelId="{5F00826E-7EE8-4A07-B3D9-47D919DA30D5}" srcId="{A9B579F0-A710-4E25-A339-BFCFA83286E7}" destId="{218B7518-E0AC-4432-8866-76CAF206ABCE}" srcOrd="2" destOrd="0" parTransId="{810D5CAD-1382-482F-B808-3D8ABAC418BB}" sibTransId="{768B933F-B224-4550-9A1B-315D09802625}"/>
    <dgm:cxn modelId="{95C88358-3612-477B-A456-059F89E252F0}" type="presOf" srcId="{EA884040-8E61-430B-B82B-20C49058106E}" destId="{1B4A47DA-12FE-45EA-8B7D-0AD2C650440E}" srcOrd="0" destOrd="0" presId="urn:microsoft.com/office/officeart/2018/2/layout/IconVerticalSolidList"/>
    <dgm:cxn modelId="{77533A9E-F1F1-4BB4-9A0E-670D3C7E4BA9}" type="presOf" srcId="{218B7518-E0AC-4432-8866-76CAF206ABCE}" destId="{66822091-FB75-4181-BEF2-36E63CC3FD61}" srcOrd="0" destOrd="0" presId="urn:microsoft.com/office/officeart/2018/2/layout/IconVerticalSolidList"/>
    <dgm:cxn modelId="{8F3702C9-1422-4542-AD2B-9E44D14D634C}" type="presOf" srcId="{6A3EF199-267A-4BF3-927A-CA75E2C791D8}" destId="{8BF34DAF-F38D-4A14-9B84-9BF92B53B042}" srcOrd="0" destOrd="0" presId="urn:microsoft.com/office/officeart/2018/2/layout/IconVerticalSolidList"/>
    <dgm:cxn modelId="{045724F1-E287-4F86-9F45-BD7B453023C1}" srcId="{A9B579F0-A710-4E25-A339-BFCFA83286E7}" destId="{F08AEB5E-FE85-4C50-AC43-4419831526BB}" srcOrd="1" destOrd="0" parTransId="{900BFF0D-78B2-48E0-AB44-E790F44FA857}" sibTransId="{ADFFDB31-C5E7-48CE-877A-23E5CB849AD7}"/>
    <dgm:cxn modelId="{BC31E5F9-6658-4EB1-9007-3B68D1D30DAF}" type="presParOf" srcId="{15312726-C422-4AAE-8AFB-BB52010603FE}" destId="{B062A241-162D-4E52-9F26-63FD560818C0}" srcOrd="0" destOrd="0" presId="urn:microsoft.com/office/officeart/2018/2/layout/IconVerticalSolidList"/>
    <dgm:cxn modelId="{495775FE-8032-42E1-922A-04F460CE8E3B}" type="presParOf" srcId="{B062A241-162D-4E52-9F26-63FD560818C0}" destId="{46CB1FB1-F1F3-4175-A006-EBF501CEF881}" srcOrd="0" destOrd="0" presId="urn:microsoft.com/office/officeart/2018/2/layout/IconVerticalSolidList"/>
    <dgm:cxn modelId="{60B09E52-025D-44B3-BC61-42959594F402}" type="presParOf" srcId="{B062A241-162D-4E52-9F26-63FD560818C0}" destId="{4DE8067D-D16F-4662-9C5F-2DF6EF21F109}" srcOrd="1" destOrd="0" presId="urn:microsoft.com/office/officeart/2018/2/layout/IconVerticalSolidList"/>
    <dgm:cxn modelId="{D4BBC88B-0822-4438-A4EE-14312DFCE79D}" type="presParOf" srcId="{B062A241-162D-4E52-9F26-63FD560818C0}" destId="{0C9E385A-A29B-44F6-AC97-C2849D4FFB7F}" srcOrd="2" destOrd="0" presId="urn:microsoft.com/office/officeart/2018/2/layout/IconVerticalSolidList"/>
    <dgm:cxn modelId="{E60E61DC-6250-4506-B066-B66305EFEA65}" type="presParOf" srcId="{B062A241-162D-4E52-9F26-63FD560818C0}" destId="{1B4A47DA-12FE-45EA-8B7D-0AD2C650440E}" srcOrd="3" destOrd="0" presId="urn:microsoft.com/office/officeart/2018/2/layout/IconVerticalSolidList"/>
    <dgm:cxn modelId="{7782FB79-50F1-4822-95E4-4ABAFCA85775}" type="presParOf" srcId="{15312726-C422-4AAE-8AFB-BB52010603FE}" destId="{49835CFB-3B6E-4027-805A-DAA49C993FD9}" srcOrd="1" destOrd="0" presId="urn:microsoft.com/office/officeart/2018/2/layout/IconVerticalSolidList"/>
    <dgm:cxn modelId="{6A2025E0-5AD8-4B9F-A3F0-4AA8C61BA643}" type="presParOf" srcId="{15312726-C422-4AAE-8AFB-BB52010603FE}" destId="{5AC6A6B1-552E-4EAB-BDE0-3B580C29C0E6}" srcOrd="2" destOrd="0" presId="urn:microsoft.com/office/officeart/2018/2/layout/IconVerticalSolidList"/>
    <dgm:cxn modelId="{DE66F192-AAC6-4831-ABE9-14296819E074}" type="presParOf" srcId="{5AC6A6B1-552E-4EAB-BDE0-3B580C29C0E6}" destId="{F54C9CFD-C8AE-4112-BCD4-DDE5D3E53392}" srcOrd="0" destOrd="0" presId="urn:microsoft.com/office/officeart/2018/2/layout/IconVerticalSolidList"/>
    <dgm:cxn modelId="{A370978E-4B64-41F0-92A1-4072DF7372A2}" type="presParOf" srcId="{5AC6A6B1-552E-4EAB-BDE0-3B580C29C0E6}" destId="{AFF62D9E-A7EC-4623-AC41-F2C55AC25EE6}" srcOrd="1" destOrd="0" presId="urn:microsoft.com/office/officeart/2018/2/layout/IconVerticalSolidList"/>
    <dgm:cxn modelId="{527A53C7-B1A9-4AF4-BF09-EEA53C54F150}" type="presParOf" srcId="{5AC6A6B1-552E-4EAB-BDE0-3B580C29C0E6}" destId="{8BCFB603-8C11-4B3B-BA55-F646246729D6}" srcOrd="2" destOrd="0" presId="urn:microsoft.com/office/officeart/2018/2/layout/IconVerticalSolidList"/>
    <dgm:cxn modelId="{F94DEAB3-C1FC-4B66-89D8-4B1705217C27}" type="presParOf" srcId="{5AC6A6B1-552E-4EAB-BDE0-3B580C29C0E6}" destId="{0FBA1F17-4EAE-4F87-9926-DCAFEF544860}" srcOrd="3" destOrd="0" presId="urn:microsoft.com/office/officeart/2018/2/layout/IconVerticalSolidList"/>
    <dgm:cxn modelId="{308E7379-58E5-464D-BD85-BE22C3FBC7F9}" type="presParOf" srcId="{15312726-C422-4AAE-8AFB-BB52010603FE}" destId="{EC49600A-62FE-4FB5-8860-590A7BF36C7F}" srcOrd="3" destOrd="0" presId="urn:microsoft.com/office/officeart/2018/2/layout/IconVerticalSolidList"/>
    <dgm:cxn modelId="{0E2C97E9-FC92-4455-8D4E-4A4991A41366}" type="presParOf" srcId="{15312726-C422-4AAE-8AFB-BB52010603FE}" destId="{B75618F3-25D6-45B8-80F7-2BC4DA723C16}" srcOrd="4" destOrd="0" presId="urn:microsoft.com/office/officeart/2018/2/layout/IconVerticalSolidList"/>
    <dgm:cxn modelId="{7FDE8BC2-CCC3-4253-B1FD-709865341C3C}" type="presParOf" srcId="{B75618F3-25D6-45B8-80F7-2BC4DA723C16}" destId="{64C20214-94BE-49B8-9BDB-E886CCCD6B2D}" srcOrd="0" destOrd="0" presId="urn:microsoft.com/office/officeart/2018/2/layout/IconVerticalSolidList"/>
    <dgm:cxn modelId="{6CD43EDC-431F-4F62-856D-0FB54DC8B4C6}" type="presParOf" srcId="{B75618F3-25D6-45B8-80F7-2BC4DA723C16}" destId="{248A2A20-B206-4A66-AA6B-9602B45092C7}" srcOrd="1" destOrd="0" presId="urn:microsoft.com/office/officeart/2018/2/layout/IconVerticalSolidList"/>
    <dgm:cxn modelId="{2CB29A2C-FE7D-4BC7-9BF1-2B6DBC2742BE}" type="presParOf" srcId="{B75618F3-25D6-45B8-80F7-2BC4DA723C16}" destId="{EFBBE994-EF84-46C5-B33E-FABE3FD5BBE3}" srcOrd="2" destOrd="0" presId="urn:microsoft.com/office/officeart/2018/2/layout/IconVerticalSolidList"/>
    <dgm:cxn modelId="{C18276B5-C613-4CD8-B168-96F6BE5932B3}" type="presParOf" srcId="{B75618F3-25D6-45B8-80F7-2BC4DA723C16}" destId="{66822091-FB75-4181-BEF2-36E63CC3FD61}" srcOrd="3" destOrd="0" presId="urn:microsoft.com/office/officeart/2018/2/layout/IconVerticalSolidList"/>
    <dgm:cxn modelId="{147E12BE-CF2E-4876-B0A6-759EA23C5A5F}" type="presParOf" srcId="{15312726-C422-4AAE-8AFB-BB52010603FE}" destId="{F273F253-A065-409C-AC16-51500B1472E5}" srcOrd="5" destOrd="0" presId="urn:microsoft.com/office/officeart/2018/2/layout/IconVerticalSolidList"/>
    <dgm:cxn modelId="{6A1E1A95-08E9-4A48-B0FA-C362A3CA9ED6}" type="presParOf" srcId="{15312726-C422-4AAE-8AFB-BB52010603FE}" destId="{77C72161-5BDB-4159-B3A3-006FD179A396}" srcOrd="6" destOrd="0" presId="urn:microsoft.com/office/officeart/2018/2/layout/IconVerticalSolidList"/>
    <dgm:cxn modelId="{B3B54230-876B-4D11-A3D7-48F2D93DF216}" type="presParOf" srcId="{77C72161-5BDB-4159-B3A3-006FD179A396}" destId="{5C5809D2-A7E1-4B96-A234-3B257ADF6E0B}" srcOrd="0" destOrd="0" presId="urn:microsoft.com/office/officeart/2018/2/layout/IconVerticalSolidList"/>
    <dgm:cxn modelId="{0C5EDBE7-DACD-45DC-888E-565CC50ACFA3}" type="presParOf" srcId="{77C72161-5BDB-4159-B3A3-006FD179A396}" destId="{2FBAF856-B8B6-4888-8C5A-BDF528F94FDD}" srcOrd="1" destOrd="0" presId="urn:microsoft.com/office/officeart/2018/2/layout/IconVerticalSolidList"/>
    <dgm:cxn modelId="{9921C7CF-8F96-42BC-8A73-B145B4C35917}" type="presParOf" srcId="{77C72161-5BDB-4159-B3A3-006FD179A396}" destId="{1B7D863A-9BC9-473B-9510-7101BB2DBE25}" srcOrd="2" destOrd="0" presId="urn:microsoft.com/office/officeart/2018/2/layout/IconVerticalSolidList"/>
    <dgm:cxn modelId="{6062F408-4613-4BD3-9FC5-C8EAF95BBB6E}" type="presParOf" srcId="{77C72161-5BDB-4159-B3A3-006FD179A396}" destId="{8BF34DAF-F38D-4A14-9B84-9BF92B53B042}" srcOrd="3" destOrd="0" presId="urn:microsoft.com/office/officeart/2018/2/layout/IconVerticalSolid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0.xml><?xml version="1.0" encoding="utf-8"?>
<dgm:dataModel xmlns:dgm="http://schemas.openxmlformats.org/drawingml/2006/diagram" xmlns:a="http://schemas.openxmlformats.org/drawingml/2006/main">
  <dgm:ptLst>
    <dgm:pt modelId="{DF61F589-1E00-49FC-9029-3E997F96629B}" type="doc">
      <dgm:prSet loTypeId="urn:microsoft.com/office/officeart/2018/2/layout/IconVerticalSolidList" loCatId="icon" qsTypeId="urn:microsoft.com/office/officeart/2005/8/quickstyle/simple1" qsCatId="simple" csTypeId="urn:microsoft.com/office/officeart/2018/5/colors/Iconchunking_neutralbg_colorful1" csCatId="colorful" phldr="1"/>
      <dgm:spPr/>
      <dgm:t>
        <a:bodyPr/>
        <a:lstStyle/>
        <a:p>
          <a:endParaRPr lang="en-US"/>
        </a:p>
      </dgm:t>
    </dgm:pt>
    <dgm:pt modelId="{A1FA5CBB-26E7-4D09-AE6F-246269151F61}">
      <dgm:prSet/>
      <dgm:spPr/>
      <dgm:t>
        <a:bodyPr/>
        <a:lstStyle/>
        <a:p>
          <a:pPr>
            <a:lnSpc>
              <a:spcPct val="100000"/>
            </a:lnSpc>
          </a:pPr>
          <a:r>
            <a:rPr lang="en-US" dirty="0"/>
            <a:t>Sign up for a Dynamics 365 Online Trial</a:t>
          </a:r>
        </a:p>
      </dgm:t>
    </dgm:pt>
    <dgm:pt modelId="{34539441-F83C-4ADE-BAD9-E61BF7F548C7}" type="parTrans" cxnId="{50D2216C-D8D3-46DF-AAD7-2123516A79E9}">
      <dgm:prSet/>
      <dgm:spPr/>
      <dgm:t>
        <a:bodyPr/>
        <a:lstStyle/>
        <a:p>
          <a:endParaRPr lang="en-US"/>
        </a:p>
      </dgm:t>
    </dgm:pt>
    <dgm:pt modelId="{C4E476DF-68E6-4E2F-9662-EADDBB5BE77F}" type="sibTrans" cxnId="{50D2216C-D8D3-46DF-AAD7-2123516A79E9}">
      <dgm:prSet/>
      <dgm:spPr/>
      <dgm:t>
        <a:bodyPr/>
        <a:lstStyle/>
        <a:p>
          <a:endParaRPr lang="en-US"/>
        </a:p>
      </dgm:t>
    </dgm:pt>
    <dgm:pt modelId="{E88074BF-872D-4199-8434-2CB98F35AFD3}">
      <dgm:prSet/>
      <dgm:spPr/>
      <dgm:t>
        <a:bodyPr/>
        <a:lstStyle/>
        <a:p>
          <a:pPr>
            <a:lnSpc>
              <a:spcPct val="100000"/>
            </a:lnSpc>
          </a:pPr>
          <a:r>
            <a:rPr lang="en-US" dirty="0"/>
            <a:t>Use a sandbox environment (if you have one)</a:t>
          </a:r>
        </a:p>
      </dgm:t>
    </dgm:pt>
    <dgm:pt modelId="{2425199B-E9B7-4DBC-B506-45BCC85D36A0}" type="parTrans" cxnId="{50D2096D-2E94-4944-9607-46E04BC8744C}">
      <dgm:prSet/>
      <dgm:spPr/>
      <dgm:t>
        <a:bodyPr/>
        <a:lstStyle/>
        <a:p>
          <a:endParaRPr lang="en-US"/>
        </a:p>
      </dgm:t>
    </dgm:pt>
    <dgm:pt modelId="{00121CCA-1571-4D16-AB26-9A4E66E541AA}" type="sibTrans" cxnId="{50D2096D-2E94-4944-9607-46E04BC8744C}">
      <dgm:prSet/>
      <dgm:spPr/>
      <dgm:t>
        <a:bodyPr/>
        <a:lstStyle/>
        <a:p>
          <a:endParaRPr lang="en-US"/>
        </a:p>
      </dgm:t>
    </dgm:pt>
    <dgm:pt modelId="{2D02BF14-A771-48CA-8707-CF3BB5BA90C8}" type="pres">
      <dgm:prSet presAssocID="{DF61F589-1E00-49FC-9029-3E997F96629B}" presName="root" presStyleCnt="0">
        <dgm:presLayoutVars>
          <dgm:dir/>
          <dgm:resizeHandles val="exact"/>
        </dgm:presLayoutVars>
      </dgm:prSet>
      <dgm:spPr/>
    </dgm:pt>
    <dgm:pt modelId="{4D4CB6BC-CBDB-48F1-BDA7-7956FADBC4CF}" type="pres">
      <dgm:prSet presAssocID="{A1FA5CBB-26E7-4D09-AE6F-246269151F61}" presName="compNode" presStyleCnt="0"/>
      <dgm:spPr/>
    </dgm:pt>
    <dgm:pt modelId="{B0FA518F-EBB1-40EE-B961-6A64F30C2465}" type="pres">
      <dgm:prSet presAssocID="{A1FA5CBB-26E7-4D09-AE6F-246269151F61}" presName="bgRect" presStyleLbl="bgShp" presStyleIdx="0" presStyleCnt="2"/>
      <dgm:spPr/>
    </dgm:pt>
    <dgm:pt modelId="{E3BB9A99-2697-4905-93E1-08C49880AC70}" type="pres">
      <dgm:prSet presAssocID="{A1FA5CBB-26E7-4D09-AE6F-246269151F61}" presName="iconRect" presStyleLbl="node1" presStyleIdx="0" presStyleCnt="2"/>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a:noFill/>
        </a:ln>
      </dgm:spPr>
      <dgm:extLst>
        <a:ext uri="{E40237B7-FDA0-4F09-8148-C483321AD2D9}">
          <dgm14:cNvPr xmlns:dgm14="http://schemas.microsoft.com/office/drawing/2010/diagram" id="0" name="" descr="Laptop"/>
        </a:ext>
      </dgm:extLst>
    </dgm:pt>
    <dgm:pt modelId="{CCA3F830-748F-4642-B76D-8D3EEB9AA500}" type="pres">
      <dgm:prSet presAssocID="{A1FA5CBB-26E7-4D09-AE6F-246269151F61}" presName="spaceRect" presStyleCnt="0"/>
      <dgm:spPr/>
    </dgm:pt>
    <dgm:pt modelId="{F66FF453-A398-4C08-B1E6-CC65C531CE19}" type="pres">
      <dgm:prSet presAssocID="{A1FA5CBB-26E7-4D09-AE6F-246269151F61}" presName="parTx" presStyleLbl="revTx" presStyleIdx="0" presStyleCnt="2">
        <dgm:presLayoutVars>
          <dgm:chMax val="0"/>
          <dgm:chPref val="0"/>
        </dgm:presLayoutVars>
      </dgm:prSet>
      <dgm:spPr/>
    </dgm:pt>
    <dgm:pt modelId="{63A969E1-ABFA-4952-A978-7FF31CDDC93B}" type="pres">
      <dgm:prSet presAssocID="{C4E476DF-68E6-4E2F-9662-EADDBB5BE77F}" presName="sibTrans" presStyleCnt="0"/>
      <dgm:spPr/>
    </dgm:pt>
    <dgm:pt modelId="{FC09ABAE-247F-4296-8B0C-352C320B876E}" type="pres">
      <dgm:prSet presAssocID="{E88074BF-872D-4199-8434-2CB98F35AFD3}" presName="compNode" presStyleCnt="0"/>
      <dgm:spPr/>
    </dgm:pt>
    <dgm:pt modelId="{D89FA2CA-C4DD-4CCC-A35B-1470392D0A88}" type="pres">
      <dgm:prSet presAssocID="{E88074BF-872D-4199-8434-2CB98F35AFD3}" presName="bgRect" presStyleLbl="bgShp" presStyleIdx="1" presStyleCnt="2"/>
      <dgm:spPr/>
    </dgm:pt>
    <dgm:pt modelId="{86AB1E3B-5B33-46CD-8D65-95B45F66BD7E}" type="pres">
      <dgm:prSet presAssocID="{E88074BF-872D-4199-8434-2CB98F35AFD3}" presName="iconRect" presStyleLbl="node1" presStyleIdx="1" presStyleCnt="2"/>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dgm:spPr>
      <dgm:extLst>
        <a:ext uri="{E40237B7-FDA0-4F09-8148-C483321AD2D9}">
          <dgm14:cNvPr xmlns:dgm14="http://schemas.microsoft.com/office/drawing/2010/diagram" id="0" name="" descr="Hamster"/>
        </a:ext>
      </dgm:extLst>
    </dgm:pt>
    <dgm:pt modelId="{875E710B-C7CF-4466-BB5C-B044EE9C1AE3}" type="pres">
      <dgm:prSet presAssocID="{E88074BF-872D-4199-8434-2CB98F35AFD3}" presName="spaceRect" presStyleCnt="0"/>
      <dgm:spPr/>
    </dgm:pt>
    <dgm:pt modelId="{6EF36A76-D1A2-4C21-AAB4-910BE327880D}" type="pres">
      <dgm:prSet presAssocID="{E88074BF-872D-4199-8434-2CB98F35AFD3}" presName="parTx" presStyleLbl="revTx" presStyleIdx="1" presStyleCnt="2">
        <dgm:presLayoutVars>
          <dgm:chMax val="0"/>
          <dgm:chPref val="0"/>
        </dgm:presLayoutVars>
      </dgm:prSet>
      <dgm:spPr/>
    </dgm:pt>
  </dgm:ptLst>
  <dgm:cxnLst>
    <dgm:cxn modelId="{4600B967-2EE8-4655-A2F9-58E770715C3B}" type="presOf" srcId="{DF61F589-1E00-49FC-9029-3E997F96629B}" destId="{2D02BF14-A771-48CA-8707-CF3BB5BA90C8}" srcOrd="0" destOrd="0" presId="urn:microsoft.com/office/officeart/2018/2/layout/IconVerticalSolidList"/>
    <dgm:cxn modelId="{50D2216C-D8D3-46DF-AAD7-2123516A79E9}" srcId="{DF61F589-1E00-49FC-9029-3E997F96629B}" destId="{A1FA5CBB-26E7-4D09-AE6F-246269151F61}" srcOrd="0" destOrd="0" parTransId="{34539441-F83C-4ADE-BAD9-E61BF7F548C7}" sibTransId="{C4E476DF-68E6-4E2F-9662-EADDBB5BE77F}"/>
    <dgm:cxn modelId="{50D2096D-2E94-4944-9607-46E04BC8744C}" srcId="{DF61F589-1E00-49FC-9029-3E997F96629B}" destId="{E88074BF-872D-4199-8434-2CB98F35AFD3}" srcOrd="1" destOrd="0" parTransId="{2425199B-E9B7-4DBC-B506-45BCC85D36A0}" sibTransId="{00121CCA-1571-4D16-AB26-9A4E66E541AA}"/>
    <dgm:cxn modelId="{AC6F7556-16C5-413A-BE48-B122C7956733}" type="presOf" srcId="{A1FA5CBB-26E7-4D09-AE6F-246269151F61}" destId="{F66FF453-A398-4C08-B1E6-CC65C531CE19}" srcOrd="0" destOrd="0" presId="urn:microsoft.com/office/officeart/2018/2/layout/IconVerticalSolidList"/>
    <dgm:cxn modelId="{7F8F9DF8-D1D4-4586-B7E2-085EB7FFBCD6}" type="presOf" srcId="{E88074BF-872D-4199-8434-2CB98F35AFD3}" destId="{6EF36A76-D1A2-4C21-AAB4-910BE327880D}" srcOrd="0" destOrd="0" presId="urn:microsoft.com/office/officeart/2018/2/layout/IconVerticalSolidList"/>
    <dgm:cxn modelId="{F333A539-4D24-4365-A6CA-50017DAD061C}" type="presParOf" srcId="{2D02BF14-A771-48CA-8707-CF3BB5BA90C8}" destId="{4D4CB6BC-CBDB-48F1-BDA7-7956FADBC4CF}" srcOrd="0" destOrd="0" presId="urn:microsoft.com/office/officeart/2018/2/layout/IconVerticalSolidList"/>
    <dgm:cxn modelId="{BD49D6A1-8D41-4267-A9B2-2F5AD69D6C73}" type="presParOf" srcId="{4D4CB6BC-CBDB-48F1-BDA7-7956FADBC4CF}" destId="{B0FA518F-EBB1-40EE-B961-6A64F30C2465}" srcOrd="0" destOrd="0" presId="urn:microsoft.com/office/officeart/2018/2/layout/IconVerticalSolidList"/>
    <dgm:cxn modelId="{89C293B6-EC02-4502-AF66-6D58A25BCF14}" type="presParOf" srcId="{4D4CB6BC-CBDB-48F1-BDA7-7956FADBC4CF}" destId="{E3BB9A99-2697-4905-93E1-08C49880AC70}" srcOrd="1" destOrd="0" presId="urn:microsoft.com/office/officeart/2018/2/layout/IconVerticalSolidList"/>
    <dgm:cxn modelId="{46FEF726-E648-4459-8A0B-A804A8F4B872}" type="presParOf" srcId="{4D4CB6BC-CBDB-48F1-BDA7-7956FADBC4CF}" destId="{CCA3F830-748F-4642-B76D-8D3EEB9AA500}" srcOrd="2" destOrd="0" presId="urn:microsoft.com/office/officeart/2018/2/layout/IconVerticalSolidList"/>
    <dgm:cxn modelId="{8CD0A620-0DDC-422B-A701-193B2F14351D}" type="presParOf" srcId="{4D4CB6BC-CBDB-48F1-BDA7-7956FADBC4CF}" destId="{F66FF453-A398-4C08-B1E6-CC65C531CE19}" srcOrd="3" destOrd="0" presId="urn:microsoft.com/office/officeart/2018/2/layout/IconVerticalSolidList"/>
    <dgm:cxn modelId="{6559B705-59DA-4E4E-8154-A7940E95BDE9}" type="presParOf" srcId="{2D02BF14-A771-48CA-8707-CF3BB5BA90C8}" destId="{63A969E1-ABFA-4952-A978-7FF31CDDC93B}" srcOrd="1" destOrd="0" presId="urn:microsoft.com/office/officeart/2018/2/layout/IconVerticalSolidList"/>
    <dgm:cxn modelId="{E3D79158-A9D4-4C8B-A185-0205588B832F}" type="presParOf" srcId="{2D02BF14-A771-48CA-8707-CF3BB5BA90C8}" destId="{FC09ABAE-247F-4296-8B0C-352C320B876E}" srcOrd="2" destOrd="0" presId="urn:microsoft.com/office/officeart/2018/2/layout/IconVerticalSolidList"/>
    <dgm:cxn modelId="{62AE5409-5E6F-4E08-86EB-EE871012CFCC}" type="presParOf" srcId="{FC09ABAE-247F-4296-8B0C-352C320B876E}" destId="{D89FA2CA-C4DD-4CCC-A35B-1470392D0A88}" srcOrd="0" destOrd="0" presId="urn:microsoft.com/office/officeart/2018/2/layout/IconVerticalSolidList"/>
    <dgm:cxn modelId="{639DB90D-F572-4873-B6B7-7908F3E69E20}" type="presParOf" srcId="{FC09ABAE-247F-4296-8B0C-352C320B876E}" destId="{86AB1E3B-5B33-46CD-8D65-95B45F66BD7E}" srcOrd="1" destOrd="0" presId="urn:microsoft.com/office/officeart/2018/2/layout/IconVerticalSolidList"/>
    <dgm:cxn modelId="{C1D7E1F7-8D22-4D8E-8D6F-8F92A796CCC5}" type="presParOf" srcId="{FC09ABAE-247F-4296-8B0C-352C320B876E}" destId="{875E710B-C7CF-4466-BB5C-B044EE9C1AE3}" srcOrd="2" destOrd="0" presId="urn:microsoft.com/office/officeart/2018/2/layout/IconVerticalSolidList"/>
    <dgm:cxn modelId="{621CBB34-7388-452D-A905-C730BC9F10BB}" type="presParOf" srcId="{FC09ABAE-247F-4296-8B0C-352C320B876E}" destId="{6EF36A76-D1A2-4C21-AAB4-910BE327880D}" srcOrd="3" destOrd="0" presId="urn:microsoft.com/office/officeart/2018/2/layout/IconVerticalSolid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1.xml><?xml version="1.0" encoding="utf-8"?>
<dgm:dataModel xmlns:dgm="http://schemas.openxmlformats.org/drawingml/2006/diagram" xmlns:a="http://schemas.openxmlformats.org/drawingml/2006/main">
  <dgm:ptLst>
    <dgm:pt modelId="{D94F12B3-823B-4F36-B053-F83BBCB9F052}" type="doc">
      <dgm:prSet loTypeId="urn:microsoft.com/office/officeart/2018/2/layout/IconVerticalSolidList" loCatId="icon" qsTypeId="urn:microsoft.com/office/officeart/2005/8/quickstyle/simple1" qsCatId="simple" csTypeId="urn:microsoft.com/office/officeart/2018/5/colors/Iconchunking_neutralbg_colorful1" csCatId="colorful" phldr="1"/>
      <dgm:spPr/>
      <dgm:t>
        <a:bodyPr/>
        <a:lstStyle/>
        <a:p>
          <a:endParaRPr lang="en-US"/>
        </a:p>
      </dgm:t>
    </dgm:pt>
    <dgm:pt modelId="{77A20EAD-9A42-4632-875A-3CC739E7D0A9}">
      <dgm:prSet/>
      <dgm:spPr/>
      <dgm:t>
        <a:bodyPr/>
        <a:lstStyle/>
        <a:p>
          <a:r>
            <a:rPr lang="en-US"/>
            <a:t>Exhaust all possible options</a:t>
          </a:r>
        </a:p>
      </dgm:t>
    </dgm:pt>
    <dgm:pt modelId="{4C5346D2-5DD1-4C14-8C2B-4BBCC53CEED3}" type="parTrans" cxnId="{2119D8EA-7CE3-4D5D-AE4E-A21C864172EB}">
      <dgm:prSet/>
      <dgm:spPr/>
      <dgm:t>
        <a:bodyPr/>
        <a:lstStyle/>
        <a:p>
          <a:endParaRPr lang="en-US"/>
        </a:p>
      </dgm:t>
    </dgm:pt>
    <dgm:pt modelId="{0140E3A9-F0AC-4B0B-B6BA-AFDE5A2999AF}" type="sibTrans" cxnId="{2119D8EA-7CE3-4D5D-AE4E-A21C864172EB}">
      <dgm:prSet/>
      <dgm:spPr/>
      <dgm:t>
        <a:bodyPr/>
        <a:lstStyle/>
        <a:p>
          <a:endParaRPr lang="en-US"/>
        </a:p>
      </dgm:t>
    </dgm:pt>
    <dgm:pt modelId="{907EBC89-A121-45F2-825F-95777ED80DAA}">
      <dgm:prSet/>
      <dgm:spPr/>
      <dgm:t>
        <a:bodyPr/>
        <a:lstStyle/>
        <a:p>
          <a:r>
            <a:rPr lang="en-US"/>
            <a:t>Ask nicely</a:t>
          </a:r>
        </a:p>
      </dgm:t>
    </dgm:pt>
    <dgm:pt modelId="{5DF6417B-D701-4B20-B267-E2FD157E7441}" type="parTrans" cxnId="{8578AD00-CF7E-4C01-959B-C8F5AD820E0B}">
      <dgm:prSet/>
      <dgm:spPr/>
      <dgm:t>
        <a:bodyPr/>
        <a:lstStyle/>
        <a:p>
          <a:endParaRPr lang="en-US"/>
        </a:p>
      </dgm:t>
    </dgm:pt>
    <dgm:pt modelId="{1A2C8E9C-1C42-40A4-9A0D-599F3B9AEFA7}" type="sibTrans" cxnId="{8578AD00-CF7E-4C01-959B-C8F5AD820E0B}">
      <dgm:prSet/>
      <dgm:spPr/>
      <dgm:t>
        <a:bodyPr/>
        <a:lstStyle/>
        <a:p>
          <a:endParaRPr lang="en-US"/>
        </a:p>
      </dgm:t>
    </dgm:pt>
    <dgm:pt modelId="{1D0522BB-D31C-4C40-B4FD-D2C54A32F76F}">
      <dgm:prSet/>
      <dgm:spPr/>
      <dgm:t>
        <a:bodyPr/>
        <a:lstStyle/>
        <a:p>
          <a:r>
            <a:rPr lang="en-US"/>
            <a:t>Don’t be offended if people don’t return your query</a:t>
          </a:r>
        </a:p>
      </dgm:t>
    </dgm:pt>
    <dgm:pt modelId="{81E00B2D-8888-459A-8B22-3E764FF35C8D}" type="parTrans" cxnId="{8B3AFEFF-BE1B-4006-8FB6-8FA48C4D1B19}">
      <dgm:prSet/>
      <dgm:spPr/>
      <dgm:t>
        <a:bodyPr/>
        <a:lstStyle/>
        <a:p>
          <a:endParaRPr lang="en-US"/>
        </a:p>
      </dgm:t>
    </dgm:pt>
    <dgm:pt modelId="{1C6A8D72-7728-425F-BC0C-7622CD4E5F4A}" type="sibTrans" cxnId="{8B3AFEFF-BE1B-4006-8FB6-8FA48C4D1B19}">
      <dgm:prSet/>
      <dgm:spPr/>
      <dgm:t>
        <a:bodyPr/>
        <a:lstStyle/>
        <a:p>
          <a:endParaRPr lang="en-US"/>
        </a:p>
      </dgm:t>
    </dgm:pt>
    <dgm:pt modelId="{7F6BB99F-9415-4794-9C79-D614980E569E}">
      <dgm:prSet/>
      <dgm:spPr/>
      <dgm:t>
        <a:bodyPr/>
        <a:lstStyle/>
        <a:p>
          <a:r>
            <a:rPr lang="en-US"/>
            <a:t>Don’t ask them to do an entire project for you, for free</a:t>
          </a:r>
        </a:p>
      </dgm:t>
    </dgm:pt>
    <dgm:pt modelId="{47327ECC-3C7C-4A89-9073-A7CCD850573E}" type="parTrans" cxnId="{763036F6-E2C6-4299-A544-CC7FD9361C14}">
      <dgm:prSet/>
      <dgm:spPr/>
      <dgm:t>
        <a:bodyPr/>
        <a:lstStyle/>
        <a:p>
          <a:endParaRPr lang="en-US"/>
        </a:p>
      </dgm:t>
    </dgm:pt>
    <dgm:pt modelId="{CD0164D5-C98F-4C24-A072-C4498882B54D}" type="sibTrans" cxnId="{763036F6-E2C6-4299-A544-CC7FD9361C14}">
      <dgm:prSet/>
      <dgm:spPr/>
      <dgm:t>
        <a:bodyPr/>
        <a:lstStyle/>
        <a:p>
          <a:endParaRPr lang="en-US"/>
        </a:p>
      </dgm:t>
    </dgm:pt>
    <dgm:pt modelId="{502EF8DC-4565-4029-B87F-BB50A0077622}" type="pres">
      <dgm:prSet presAssocID="{D94F12B3-823B-4F36-B053-F83BBCB9F052}" presName="root" presStyleCnt="0">
        <dgm:presLayoutVars>
          <dgm:dir/>
          <dgm:resizeHandles val="exact"/>
        </dgm:presLayoutVars>
      </dgm:prSet>
      <dgm:spPr/>
    </dgm:pt>
    <dgm:pt modelId="{6548B516-763F-45CF-B11F-E11EFE456B24}" type="pres">
      <dgm:prSet presAssocID="{77A20EAD-9A42-4632-875A-3CC739E7D0A9}" presName="compNode" presStyleCnt="0"/>
      <dgm:spPr/>
    </dgm:pt>
    <dgm:pt modelId="{A0F762C5-28FF-4CB7-A855-9A1FF608183F}" type="pres">
      <dgm:prSet presAssocID="{77A20EAD-9A42-4632-875A-3CC739E7D0A9}" presName="bgRect" presStyleLbl="bgShp" presStyleIdx="0" presStyleCnt="4"/>
      <dgm:spPr/>
    </dgm:pt>
    <dgm:pt modelId="{A5823709-919D-4FA2-A5A2-428B8C39A4A2}" type="pres">
      <dgm:prSet presAssocID="{77A20EAD-9A42-4632-875A-3CC739E7D0A9}" presName="iconRect" presStyleLbl="node1" presStyleIdx="0" presStyleCnt="4"/>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a:noFill/>
        </a:ln>
      </dgm:spPr>
      <dgm:extLst>
        <a:ext uri="{E40237B7-FDA0-4F09-8148-C483321AD2D9}">
          <dgm14:cNvPr xmlns:dgm14="http://schemas.microsoft.com/office/drawing/2010/diagram" id="0" name="" descr="Car"/>
        </a:ext>
      </dgm:extLst>
    </dgm:pt>
    <dgm:pt modelId="{71A2D803-6A38-4104-8FE8-13D17FBF3D65}" type="pres">
      <dgm:prSet presAssocID="{77A20EAD-9A42-4632-875A-3CC739E7D0A9}" presName="spaceRect" presStyleCnt="0"/>
      <dgm:spPr/>
    </dgm:pt>
    <dgm:pt modelId="{F2CE1EC9-ADAC-491B-B95C-7458B1E94B58}" type="pres">
      <dgm:prSet presAssocID="{77A20EAD-9A42-4632-875A-3CC739E7D0A9}" presName="parTx" presStyleLbl="revTx" presStyleIdx="0" presStyleCnt="4">
        <dgm:presLayoutVars>
          <dgm:chMax val="0"/>
          <dgm:chPref val="0"/>
        </dgm:presLayoutVars>
      </dgm:prSet>
      <dgm:spPr/>
    </dgm:pt>
    <dgm:pt modelId="{EB4AFB4A-82AA-4934-9DAB-7283270D0E6E}" type="pres">
      <dgm:prSet presAssocID="{0140E3A9-F0AC-4B0B-B6BA-AFDE5A2999AF}" presName="sibTrans" presStyleCnt="0"/>
      <dgm:spPr/>
    </dgm:pt>
    <dgm:pt modelId="{478846C9-4DD4-47B3-9C01-CE5B48E928D9}" type="pres">
      <dgm:prSet presAssocID="{907EBC89-A121-45F2-825F-95777ED80DAA}" presName="compNode" presStyleCnt="0"/>
      <dgm:spPr/>
    </dgm:pt>
    <dgm:pt modelId="{07F232F6-4B48-444C-9733-46660F0706E5}" type="pres">
      <dgm:prSet presAssocID="{907EBC89-A121-45F2-825F-95777ED80DAA}" presName="bgRect" presStyleLbl="bgShp" presStyleIdx="1" presStyleCnt="4"/>
      <dgm:spPr/>
    </dgm:pt>
    <dgm:pt modelId="{399812FE-06D3-4CDF-8C5C-A004C15FC2F5}" type="pres">
      <dgm:prSet presAssocID="{907EBC89-A121-45F2-825F-95777ED80DAA}" presName="iconRect" presStyleLbl="node1" presStyleIdx="1" presStyleCnt="4"/>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dgm:spPr>
      <dgm:extLst>
        <a:ext uri="{E40237B7-FDA0-4F09-8148-C483321AD2D9}">
          <dgm14:cNvPr xmlns:dgm14="http://schemas.microsoft.com/office/drawing/2010/diagram" id="0" name="" descr="Question mark"/>
        </a:ext>
      </dgm:extLst>
    </dgm:pt>
    <dgm:pt modelId="{F56040B9-6611-4BB9-BE9A-4F938C34F67E}" type="pres">
      <dgm:prSet presAssocID="{907EBC89-A121-45F2-825F-95777ED80DAA}" presName="spaceRect" presStyleCnt="0"/>
      <dgm:spPr/>
    </dgm:pt>
    <dgm:pt modelId="{AD9E0259-76E0-4CA7-A446-94FB122E8CEB}" type="pres">
      <dgm:prSet presAssocID="{907EBC89-A121-45F2-825F-95777ED80DAA}" presName="parTx" presStyleLbl="revTx" presStyleIdx="1" presStyleCnt="4">
        <dgm:presLayoutVars>
          <dgm:chMax val="0"/>
          <dgm:chPref val="0"/>
        </dgm:presLayoutVars>
      </dgm:prSet>
      <dgm:spPr/>
    </dgm:pt>
    <dgm:pt modelId="{7D00CCE7-4647-4CB6-9491-332F07B502EE}" type="pres">
      <dgm:prSet presAssocID="{1A2C8E9C-1C42-40A4-9A0D-599F3B9AEFA7}" presName="sibTrans" presStyleCnt="0"/>
      <dgm:spPr/>
    </dgm:pt>
    <dgm:pt modelId="{2992C45C-101D-4177-A315-7C6085416D07}" type="pres">
      <dgm:prSet presAssocID="{1D0522BB-D31C-4C40-B4FD-D2C54A32F76F}" presName="compNode" presStyleCnt="0"/>
      <dgm:spPr/>
    </dgm:pt>
    <dgm:pt modelId="{82EB7F8A-CDD4-4103-8C08-7D0305823772}" type="pres">
      <dgm:prSet presAssocID="{1D0522BB-D31C-4C40-B4FD-D2C54A32F76F}" presName="bgRect" presStyleLbl="bgShp" presStyleIdx="2" presStyleCnt="4"/>
      <dgm:spPr/>
    </dgm:pt>
    <dgm:pt modelId="{F956917A-DD79-4903-BF0F-B5FFA1D87EC0}" type="pres">
      <dgm:prSet presAssocID="{1D0522BB-D31C-4C40-B4FD-D2C54A32F76F}" presName="iconRect" presStyleLbl="node1" presStyleIdx="2" presStyleCnt="4"/>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a:noFill/>
        </a:ln>
      </dgm:spPr>
      <dgm:extLst>
        <a:ext uri="{E40237B7-FDA0-4F09-8148-C483321AD2D9}">
          <dgm14:cNvPr xmlns:dgm14="http://schemas.microsoft.com/office/drawing/2010/diagram" id="0" name="" descr="Questions"/>
        </a:ext>
      </dgm:extLst>
    </dgm:pt>
    <dgm:pt modelId="{FDF07E89-8FC9-4C72-804A-22C79990BFF5}" type="pres">
      <dgm:prSet presAssocID="{1D0522BB-D31C-4C40-B4FD-D2C54A32F76F}" presName="spaceRect" presStyleCnt="0"/>
      <dgm:spPr/>
    </dgm:pt>
    <dgm:pt modelId="{34AECDE4-7341-4F78-9B1F-737C9828DC0D}" type="pres">
      <dgm:prSet presAssocID="{1D0522BB-D31C-4C40-B4FD-D2C54A32F76F}" presName="parTx" presStyleLbl="revTx" presStyleIdx="2" presStyleCnt="4">
        <dgm:presLayoutVars>
          <dgm:chMax val="0"/>
          <dgm:chPref val="0"/>
        </dgm:presLayoutVars>
      </dgm:prSet>
      <dgm:spPr/>
    </dgm:pt>
    <dgm:pt modelId="{D1C84B27-7423-45F6-904A-B489775B326D}" type="pres">
      <dgm:prSet presAssocID="{1C6A8D72-7728-425F-BC0C-7622CD4E5F4A}" presName="sibTrans" presStyleCnt="0"/>
      <dgm:spPr/>
    </dgm:pt>
    <dgm:pt modelId="{86CD6AFF-B4A4-4F11-899C-4578C268DEA1}" type="pres">
      <dgm:prSet presAssocID="{7F6BB99F-9415-4794-9C79-D614980E569E}" presName="compNode" presStyleCnt="0"/>
      <dgm:spPr/>
    </dgm:pt>
    <dgm:pt modelId="{9F5010E4-D8B4-4A7F-82DA-93462DF3B8C2}" type="pres">
      <dgm:prSet presAssocID="{7F6BB99F-9415-4794-9C79-D614980E569E}" presName="bgRect" presStyleLbl="bgShp" presStyleIdx="3" presStyleCnt="4"/>
      <dgm:spPr/>
    </dgm:pt>
    <dgm:pt modelId="{03C2C4FF-83E6-49A9-A11D-A106030A82E3}" type="pres">
      <dgm:prSet presAssocID="{7F6BB99F-9415-4794-9C79-D614980E569E}" presName="iconRect" presStyleLbl="node1" presStyleIdx="3" presStyleCnt="4"/>
      <dgm:spPr>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a:noFill/>
        </a:ln>
      </dgm:spPr>
      <dgm:extLst>
        <a:ext uri="{E40237B7-FDA0-4F09-8148-C483321AD2D9}">
          <dgm14:cNvPr xmlns:dgm14="http://schemas.microsoft.com/office/drawing/2010/diagram" id="0" name="" descr="Bitcoin"/>
        </a:ext>
      </dgm:extLst>
    </dgm:pt>
    <dgm:pt modelId="{D3A37174-A779-4A73-AFAC-537F2884656E}" type="pres">
      <dgm:prSet presAssocID="{7F6BB99F-9415-4794-9C79-D614980E569E}" presName="spaceRect" presStyleCnt="0"/>
      <dgm:spPr/>
    </dgm:pt>
    <dgm:pt modelId="{8A1DA6B9-0245-4F25-B026-A14FC495A7DE}" type="pres">
      <dgm:prSet presAssocID="{7F6BB99F-9415-4794-9C79-D614980E569E}" presName="parTx" presStyleLbl="revTx" presStyleIdx="3" presStyleCnt="4">
        <dgm:presLayoutVars>
          <dgm:chMax val="0"/>
          <dgm:chPref val="0"/>
        </dgm:presLayoutVars>
      </dgm:prSet>
      <dgm:spPr/>
    </dgm:pt>
  </dgm:ptLst>
  <dgm:cxnLst>
    <dgm:cxn modelId="{8578AD00-CF7E-4C01-959B-C8F5AD820E0B}" srcId="{D94F12B3-823B-4F36-B053-F83BBCB9F052}" destId="{907EBC89-A121-45F2-825F-95777ED80DAA}" srcOrd="1" destOrd="0" parTransId="{5DF6417B-D701-4B20-B267-E2FD157E7441}" sibTransId="{1A2C8E9C-1C42-40A4-9A0D-599F3B9AEFA7}"/>
    <dgm:cxn modelId="{9A50EA3B-03D0-4FB1-9906-2E4B52129DDD}" type="presOf" srcId="{77A20EAD-9A42-4632-875A-3CC739E7D0A9}" destId="{F2CE1EC9-ADAC-491B-B95C-7458B1E94B58}" srcOrd="0" destOrd="0" presId="urn:microsoft.com/office/officeart/2018/2/layout/IconVerticalSolidList"/>
    <dgm:cxn modelId="{254B4B3F-D744-464A-81C2-71581AD35CBD}" type="presOf" srcId="{D94F12B3-823B-4F36-B053-F83BBCB9F052}" destId="{502EF8DC-4565-4029-B87F-BB50A0077622}" srcOrd="0" destOrd="0" presId="urn:microsoft.com/office/officeart/2018/2/layout/IconVerticalSolidList"/>
    <dgm:cxn modelId="{15996C79-0477-456B-8A60-5E03887A8E19}" type="presOf" srcId="{907EBC89-A121-45F2-825F-95777ED80DAA}" destId="{AD9E0259-76E0-4CA7-A446-94FB122E8CEB}" srcOrd="0" destOrd="0" presId="urn:microsoft.com/office/officeart/2018/2/layout/IconVerticalSolidList"/>
    <dgm:cxn modelId="{FEFA48A8-74DF-4575-85AF-C037BB9FA89F}" type="presOf" srcId="{1D0522BB-D31C-4C40-B4FD-D2C54A32F76F}" destId="{34AECDE4-7341-4F78-9B1F-737C9828DC0D}" srcOrd="0" destOrd="0" presId="urn:microsoft.com/office/officeart/2018/2/layout/IconVerticalSolidList"/>
    <dgm:cxn modelId="{B2A848B1-40C0-4B1F-868A-1A41CAA9BF92}" type="presOf" srcId="{7F6BB99F-9415-4794-9C79-D614980E569E}" destId="{8A1DA6B9-0245-4F25-B026-A14FC495A7DE}" srcOrd="0" destOrd="0" presId="urn:microsoft.com/office/officeart/2018/2/layout/IconVerticalSolidList"/>
    <dgm:cxn modelId="{2119D8EA-7CE3-4D5D-AE4E-A21C864172EB}" srcId="{D94F12B3-823B-4F36-B053-F83BBCB9F052}" destId="{77A20EAD-9A42-4632-875A-3CC739E7D0A9}" srcOrd="0" destOrd="0" parTransId="{4C5346D2-5DD1-4C14-8C2B-4BBCC53CEED3}" sibTransId="{0140E3A9-F0AC-4B0B-B6BA-AFDE5A2999AF}"/>
    <dgm:cxn modelId="{763036F6-E2C6-4299-A544-CC7FD9361C14}" srcId="{D94F12B3-823B-4F36-B053-F83BBCB9F052}" destId="{7F6BB99F-9415-4794-9C79-D614980E569E}" srcOrd="3" destOrd="0" parTransId="{47327ECC-3C7C-4A89-9073-A7CCD850573E}" sibTransId="{CD0164D5-C98F-4C24-A072-C4498882B54D}"/>
    <dgm:cxn modelId="{8B3AFEFF-BE1B-4006-8FB6-8FA48C4D1B19}" srcId="{D94F12B3-823B-4F36-B053-F83BBCB9F052}" destId="{1D0522BB-D31C-4C40-B4FD-D2C54A32F76F}" srcOrd="2" destOrd="0" parTransId="{81E00B2D-8888-459A-8B22-3E764FF35C8D}" sibTransId="{1C6A8D72-7728-425F-BC0C-7622CD4E5F4A}"/>
    <dgm:cxn modelId="{59F27913-4B15-419E-A6C2-FE1F015D5BD3}" type="presParOf" srcId="{502EF8DC-4565-4029-B87F-BB50A0077622}" destId="{6548B516-763F-45CF-B11F-E11EFE456B24}" srcOrd="0" destOrd="0" presId="urn:microsoft.com/office/officeart/2018/2/layout/IconVerticalSolidList"/>
    <dgm:cxn modelId="{CD14DF2A-37B6-48A9-A284-DDE208A95614}" type="presParOf" srcId="{6548B516-763F-45CF-B11F-E11EFE456B24}" destId="{A0F762C5-28FF-4CB7-A855-9A1FF608183F}" srcOrd="0" destOrd="0" presId="urn:microsoft.com/office/officeart/2018/2/layout/IconVerticalSolidList"/>
    <dgm:cxn modelId="{1764AEA6-7992-4CD5-9B31-2436C347828B}" type="presParOf" srcId="{6548B516-763F-45CF-B11F-E11EFE456B24}" destId="{A5823709-919D-4FA2-A5A2-428B8C39A4A2}" srcOrd="1" destOrd="0" presId="urn:microsoft.com/office/officeart/2018/2/layout/IconVerticalSolidList"/>
    <dgm:cxn modelId="{F986A740-D077-4BA6-AF7A-543E2E2E162F}" type="presParOf" srcId="{6548B516-763F-45CF-B11F-E11EFE456B24}" destId="{71A2D803-6A38-4104-8FE8-13D17FBF3D65}" srcOrd="2" destOrd="0" presId="urn:microsoft.com/office/officeart/2018/2/layout/IconVerticalSolidList"/>
    <dgm:cxn modelId="{17EC6827-D3D8-45AC-AD7C-D76A979D1251}" type="presParOf" srcId="{6548B516-763F-45CF-B11F-E11EFE456B24}" destId="{F2CE1EC9-ADAC-491B-B95C-7458B1E94B58}" srcOrd="3" destOrd="0" presId="urn:microsoft.com/office/officeart/2018/2/layout/IconVerticalSolidList"/>
    <dgm:cxn modelId="{A8D4A4F9-BBF9-4A3A-AA89-ACC0384263F3}" type="presParOf" srcId="{502EF8DC-4565-4029-B87F-BB50A0077622}" destId="{EB4AFB4A-82AA-4934-9DAB-7283270D0E6E}" srcOrd="1" destOrd="0" presId="urn:microsoft.com/office/officeart/2018/2/layout/IconVerticalSolidList"/>
    <dgm:cxn modelId="{FB7AAD7B-49F9-48D5-814C-4DCA5106743E}" type="presParOf" srcId="{502EF8DC-4565-4029-B87F-BB50A0077622}" destId="{478846C9-4DD4-47B3-9C01-CE5B48E928D9}" srcOrd="2" destOrd="0" presId="urn:microsoft.com/office/officeart/2018/2/layout/IconVerticalSolidList"/>
    <dgm:cxn modelId="{D6D613C5-C38D-4F2B-9C1C-B493B7547766}" type="presParOf" srcId="{478846C9-4DD4-47B3-9C01-CE5B48E928D9}" destId="{07F232F6-4B48-444C-9733-46660F0706E5}" srcOrd="0" destOrd="0" presId="urn:microsoft.com/office/officeart/2018/2/layout/IconVerticalSolidList"/>
    <dgm:cxn modelId="{07E8B8E5-C486-41F7-AEB8-27DBAD841D1C}" type="presParOf" srcId="{478846C9-4DD4-47B3-9C01-CE5B48E928D9}" destId="{399812FE-06D3-4CDF-8C5C-A004C15FC2F5}" srcOrd="1" destOrd="0" presId="urn:microsoft.com/office/officeart/2018/2/layout/IconVerticalSolidList"/>
    <dgm:cxn modelId="{F1DE9ECD-AA41-42C0-B3ED-959ABA22F51A}" type="presParOf" srcId="{478846C9-4DD4-47B3-9C01-CE5B48E928D9}" destId="{F56040B9-6611-4BB9-BE9A-4F938C34F67E}" srcOrd="2" destOrd="0" presId="urn:microsoft.com/office/officeart/2018/2/layout/IconVerticalSolidList"/>
    <dgm:cxn modelId="{80A5C5C0-9F90-43EA-B03A-F2486B81BA0A}" type="presParOf" srcId="{478846C9-4DD4-47B3-9C01-CE5B48E928D9}" destId="{AD9E0259-76E0-4CA7-A446-94FB122E8CEB}" srcOrd="3" destOrd="0" presId="urn:microsoft.com/office/officeart/2018/2/layout/IconVerticalSolidList"/>
    <dgm:cxn modelId="{8B1D8BC2-7C6F-4CDA-852D-086DF583C125}" type="presParOf" srcId="{502EF8DC-4565-4029-B87F-BB50A0077622}" destId="{7D00CCE7-4647-4CB6-9491-332F07B502EE}" srcOrd="3" destOrd="0" presId="urn:microsoft.com/office/officeart/2018/2/layout/IconVerticalSolidList"/>
    <dgm:cxn modelId="{BBE68821-D35C-4083-AEEA-E9E851555FEC}" type="presParOf" srcId="{502EF8DC-4565-4029-B87F-BB50A0077622}" destId="{2992C45C-101D-4177-A315-7C6085416D07}" srcOrd="4" destOrd="0" presId="urn:microsoft.com/office/officeart/2018/2/layout/IconVerticalSolidList"/>
    <dgm:cxn modelId="{F37BCD14-6AD6-48E7-AFD0-324E478FD3FF}" type="presParOf" srcId="{2992C45C-101D-4177-A315-7C6085416D07}" destId="{82EB7F8A-CDD4-4103-8C08-7D0305823772}" srcOrd="0" destOrd="0" presId="urn:microsoft.com/office/officeart/2018/2/layout/IconVerticalSolidList"/>
    <dgm:cxn modelId="{D4E0F5BE-F287-4B26-B20F-FA0BC7135A05}" type="presParOf" srcId="{2992C45C-101D-4177-A315-7C6085416D07}" destId="{F956917A-DD79-4903-BF0F-B5FFA1D87EC0}" srcOrd="1" destOrd="0" presId="urn:microsoft.com/office/officeart/2018/2/layout/IconVerticalSolidList"/>
    <dgm:cxn modelId="{75CD69FF-1AFC-45D1-A071-3E57DFB301E0}" type="presParOf" srcId="{2992C45C-101D-4177-A315-7C6085416D07}" destId="{FDF07E89-8FC9-4C72-804A-22C79990BFF5}" srcOrd="2" destOrd="0" presId="urn:microsoft.com/office/officeart/2018/2/layout/IconVerticalSolidList"/>
    <dgm:cxn modelId="{A114A779-B3F2-4E44-A1FD-22F5EF5D4C30}" type="presParOf" srcId="{2992C45C-101D-4177-A315-7C6085416D07}" destId="{34AECDE4-7341-4F78-9B1F-737C9828DC0D}" srcOrd="3" destOrd="0" presId="urn:microsoft.com/office/officeart/2018/2/layout/IconVerticalSolidList"/>
    <dgm:cxn modelId="{E966391C-E150-4B8F-A139-0590CDFFA28F}" type="presParOf" srcId="{502EF8DC-4565-4029-B87F-BB50A0077622}" destId="{D1C84B27-7423-45F6-904A-B489775B326D}" srcOrd="5" destOrd="0" presId="urn:microsoft.com/office/officeart/2018/2/layout/IconVerticalSolidList"/>
    <dgm:cxn modelId="{D6B884C1-7A5D-46F2-B6D8-9136150F04FB}" type="presParOf" srcId="{502EF8DC-4565-4029-B87F-BB50A0077622}" destId="{86CD6AFF-B4A4-4F11-899C-4578C268DEA1}" srcOrd="6" destOrd="0" presId="urn:microsoft.com/office/officeart/2018/2/layout/IconVerticalSolidList"/>
    <dgm:cxn modelId="{BCAE7894-A5C8-44CC-9469-97D80928940C}" type="presParOf" srcId="{86CD6AFF-B4A4-4F11-899C-4578C268DEA1}" destId="{9F5010E4-D8B4-4A7F-82DA-93462DF3B8C2}" srcOrd="0" destOrd="0" presId="urn:microsoft.com/office/officeart/2018/2/layout/IconVerticalSolidList"/>
    <dgm:cxn modelId="{D942F8E1-BBBA-4185-9F36-0A73745EDC59}" type="presParOf" srcId="{86CD6AFF-B4A4-4F11-899C-4578C268DEA1}" destId="{03C2C4FF-83E6-49A9-A11D-A106030A82E3}" srcOrd="1" destOrd="0" presId="urn:microsoft.com/office/officeart/2018/2/layout/IconVerticalSolidList"/>
    <dgm:cxn modelId="{9A172294-C977-4267-BBB3-45713D301628}" type="presParOf" srcId="{86CD6AFF-B4A4-4F11-899C-4578C268DEA1}" destId="{D3A37174-A779-4A73-AFAC-537F2884656E}" srcOrd="2" destOrd="0" presId="urn:microsoft.com/office/officeart/2018/2/layout/IconVerticalSolidList"/>
    <dgm:cxn modelId="{8C5880DD-C0CD-48F6-8D41-DE9E51473631}" type="presParOf" srcId="{86CD6AFF-B4A4-4F11-899C-4578C268DEA1}" destId="{8A1DA6B9-0245-4F25-B026-A14FC495A7DE}" srcOrd="3" destOrd="0" presId="urn:microsoft.com/office/officeart/2018/2/layout/IconVerticalSolid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8A2FAF31-24CD-460E-85BE-3D2978F91C05}" type="doc">
      <dgm:prSet loTypeId="urn:microsoft.com/office/officeart/2016/7/layout/RepeatingBendingProcessNew" loCatId="process" qsTypeId="urn:microsoft.com/office/officeart/2005/8/quickstyle/simple1" qsCatId="simple" csTypeId="urn:microsoft.com/office/officeart/2005/8/colors/accent0_3" csCatId="mainScheme" phldr="1"/>
      <dgm:spPr/>
      <dgm:t>
        <a:bodyPr/>
        <a:lstStyle/>
        <a:p>
          <a:endParaRPr lang="en-US"/>
        </a:p>
      </dgm:t>
    </dgm:pt>
    <dgm:pt modelId="{D9BF194E-2B02-499F-BB28-A055C8B5480C}">
      <dgm:prSet/>
      <dgm:spPr/>
      <dgm:t>
        <a:bodyPr/>
        <a:lstStyle/>
        <a:p>
          <a:r>
            <a:rPr lang="en-US" dirty="0"/>
            <a:t>End User</a:t>
          </a:r>
        </a:p>
      </dgm:t>
    </dgm:pt>
    <dgm:pt modelId="{09069BDA-937E-47A7-B2AB-A959A95DDC3B}" type="parTrans" cxnId="{A635898D-7ECE-40B8-928A-1F5121B4CF02}">
      <dgm:prSet/>
      <dgm:spPr/>
      <dgm:t>
        <a:bodyPr/>
        <a:lstStyle/>
        <a:p>
          <a:endParaRPr lang="en-US"/>
        </a:p>
      </dgm:t>
    </dgm:pt>
    <dgm:pt modelId="{3CA7EDF1-006F-4806-888A-9E0BC97ACE7C}" type="sibTrans" cxnId="{A635898D-7ECE-40B8-928A-1F5121B4CF02}">
      <dgm:prSet/>
      <dgm:spPr/>
      <dgm:t>
        <a:bodyPr/>
        <a:lstStyle/>
        <a:p>
          <a:endParaRPr lang="en-US"/>
        </a:p>
      </dgm:t>
    </dgm:pt>
    <dgm:pt modelId="{B04DC20D-56F4-49BB-8DBE-67B6C9152678}">
      <dgm:prSet/>
      <dgm:spPr/>
      <dgm:t>
        <a:bodyPr/>
        <a:lstStyle/>
        <a:p>
          <a:r>
            <a:rPr lang="en-US" dirty="0"/>
            <a:t>Power User</a:t>
          </a:r>
        </a:p>
      </dgm:t>
    </dgm:pt>
    <dgm:pt modelId="{B379E000-CC25-45F0-8CD6-928D82672A7C}" type="parTrans" cxnId="{C237BB26-0ED3-421B-A78A-D742659F70BE}">
      <dgm:prSet/>
      <dgm:spPr/>
      <dgm:t>
        <a:bodyPr/>
        <a:lstStyle/>
        <a:p>
          <a:endParaRPr lang="en-US"/>
        </a:p>
      </dgm:t>
    </dgm:pt>
    <dgm:pt modelId="{A95186B9-6C6F-4A46-9DAE-8ADA17CADCCB}" type="sibTrans" cxnId="{C237BB26-0ED3-421B-A78A-D742659F70BE}">
      <dgm:prSet/>
      <dgm:spPr/>
      <dgm:t>
        <a:bodyPr/>
        <a:lstStyle/>
        <a:p>
          <a:endParaRPr lang="en-US"/>
        </a:p>
      </dgm:t>
    </dgm:pt>
    <dgm:pt modelId="{95C20872-7BF3-4B8F-926D-DB8D29E0DB7A}">
      <dgm:prSet/>
      <dgm:spPr/>
      <dgm:t>
        <a:bodyPr/>
        <a:lstStyle/>
        <a:p>
          <a:r>
            <a:rPr lang="en-US"/>
            <a:t>Administrator</a:t>
          </a:r>
        </a:p>
      </dgm:t>
    </dgm:pt>
    <dgm:pt modelId="{48AB8DE6-79C5-4084-BA81-6A5B6867D338}" type="parTrans" cxnId="{0AF3D858-4369-4240-9856-AC89C3A0CC24}">
      <dgm:prSet/>
      <dgm:spPr/>
      <dgm:t>
        <a:bodyPr/>
        <a:lstStyle/>
        <a:p>
          <a:endParaRPr lang="en-US"/>
        </a:p>
      </dgm:t>
    </dgm:pt>
    <dgm:pt modelId="{360C43CD-39E0-4C81-9417-606F4F88867F}" type="sibTrans" cxnId="{0AF3D858-4369-4240-9856-AC89C3A0CC24}">
      <dgm:prSet/>
      <dgm:spPr/>
      <dgm:t>
        <a:bodyPr/>
        <a:lstStyle/>
        <a:p>
          <a:endParaRPr lang="en-US"/>
        </a:p>
      </dgm:t>
    </dgm:pt>
    <dgm:pt modelId="{5A1050AB-066B-400B-98D6-61BD708B984B}">
      <dgm:prSet/>
      <dgm:spPr/>
      <dgm:t>
        <a:bodyPr/>
        <a:lstStyle/>
        <a:p>
          <a:r>
            <a:rPr lang="en-US"/>
            <a:t>Customizer</a:t>
          </a:r>
        </a:p>
      </dgm:t>
    </dgm:pt>
    <dgm:pt modelId="{63D18CE6-33E6-4F0B-8949-39D193444074}" type="parTrans" cxnId="{05CB6655-1A43-4CEB-B969-60011E459354}">
      <dgm:prSet/>
      <dgm:spPr/>
      <dgm:t>
        <a:bodyPr/>
        <a:lstStyle/>
        <a:p>
          <a:endParaRPr lang="en-US"/>
        </a:p>
      </dgm:t>
    </dgm:pt>
    <dgm:pt modelId="{80ADE611-AF34-4A20-8941-D6F0ECA82707}" type="sibTrans" cxnId="{05CB6655-1A43-4CEB-B969-60011E459354}">
      <dgm:prSet/>
      <dgm:spPr/>
      <dgm:t>
        <a:bodyPr/>
        <a:lstStyle/>
        <a:p>
          <a:endParaRPr lang="en-US"/>
        </a:p>
      </dgm:t>
    </dgm:pt>
    <dgm:pt modelId="{25C22FE9-602A-45E2-A1B5-BACA79F339F9}">
      <dgm:prSet/>
      <dgm:spPr/>
      <dgm:t>
        <a:bodyPr/>
        <a:lstStyle/>
        <a:p>
          <a:r>
            <a:rPr lang="en-US"/>
            <a:t>Developer</a:t>
          </a:r>
        </a:p>
      </dgm:t>
    </dgm:pt>
    <dgm:pt modelId="{9480D328-9A79-41C8-A143-08CF723578E6}" type="parTrans" cxnId="{3CA94B82-B470-4A0C-9AEF-C2A88D38795B}">
      <dgm:prSet/>
      <dgm:spPr/>
      <dgm:t>
        <a:bodyPr/>
        <a:lstStyle/>
        <a:p>
          <a:endParaRPr lang="en-US"/>
        </a:p>
      </dgm:t>
    </dgm:pt>
    <dgm:pt modelId="{A33F28BE-DEFC-44F8-A956-ED50BCF54032}" type="sibTrans" cxnId="{3CA94B82-B470-4A0C-9AEF-C2A88D38795B}">
      <dgm:prSet/>
      <dgm:spPr/>
      <dgm:t>
        <a:bodyPr/>
        <a:lstStyle/>
        <a:p>
          <a:endParaRPr lang="en-US"/>
        </a:p>
      </dgm:t>
    </dgm:pt>
    <dgm:pt modelId="{6FDEFCBF-4AB0-40CB-B077-01167B0456F0}">
      <dgm:prSet/>
      <dgm:spPr/>
      <dgm:t>
        <a:bodyPr/>
        <a:lstStyle/>
        <a:p>
          <a:r>
            <a:rPr lang="en-US"/>
            <a:t>Architect</a:t>
          </a:r>
        </a:p>
      </dgm:t>
    </dgm:pt>
    <dgm:pt modelId="{4814D243-A17C-49FB-BEE3-944679B3FFAE}" type="parTrans" cxnId="{02402F72-82D6-40AF-8D93-D1A48254768A}">
      <dgm:prSet/>
      <dgm:spPr/>
      <dgm:t>
        <a:bodyPr/>
        <a:lstStyle/>
        <a:p>
          <a:endParaRPr lang="en-US"/>
        </a:p>
      </dgm:t>
    </dgm:pt>
    <dgm:pt modelId="{1E7B0E6C-4A33-44F3-BD20-B1D5810FA661}" type="sibTrans" cxnId="{02402F72-82D6-40AF-8D93-D1A48254768A}">
      <dgm:prSet/>
      <dgm:spPr/>
      <dgm:t>
        <a:bodyPr/>
        <a:lstStyle/>
        <a:p>
          <a:endParaRPr lang="en-US"/>
        </a:p>
      </dgm:t>
    </dgm:pt>
    <dgm:pt modelId="{7B237DC3-AC7A-4DCC-9D81-EA0896613B98}" type="pres">
      <dgm:prSet presAssocID="{8A2FAF31-24CD-460E-85BE-3D2978F91C05}" presName="Name0" presStyleCnt="0">
        <dgm:presLayoutVars>
          <dgm:dir/>
          <dgm:resizeHandles val="exact"/>
        </dgm:presLayoutVars>
      </dgm:prSet>
      <dgm:spPr/>
    </dgm:pt>
    <dgm:pt modelId="{9BB4C3DC-74C1-4CF6-A45C-E71C7533702E}" type="pres">
      <dgm:prSet presAssocID="{D9BF194E-2B02-499F-BB28-A055C8B5480C}" presName="node" presStyleLbl="node1" presStyleIdx="0" presStyleCnt="6">
        <dgm:presLayoutVars>
          <dgm:bulletEnabled val="1"/>
        </dgm:presLayoutVars>
      </dgm:prSet>
      <dgm:spPr/>
    </dgm:pt>
    <dgm:pt modelId="{498AE233-F7E7-47EE-9AC4-96C6842B3E00}" type="pres">
      <dgm:prSet presAssocID="{3CA7EDF1-006F-4806-888A-9E0BC97ACE7C}" presName="sibTrans" presStyleLbl="sibTrans1D1" presStyleIdx="0" presStyleCnt="5"/>
      <dgm:spPr/>
    </dgm:pt>
    <dgm:pt modelId="{D5278A59-4EDF-41FC-876D-8EEEDA21292E}" type="pres">
      <dgm:prSet presAssocID="{3CA7EDF1-006F-4806-888A-9E0BC97ACE7C}" presName="connectorText" presStyleLbl="sibTrans1D1" presStyleIdx="0" presStyleCnt="5"/>
      <dgm:spPr/>
    </dgm:pt>
    <dgm:pt modelId="{47A968EE-7EB2-4BCC-A7EB-E4689DD0F836}" type="pres">
      <dgm:prSet presAssocID="{B04DC20D-56F4-49BB-8DBE-67B6C9152678}" presName="node" presStyleLbl="node1" presStyleIdx="1" presStyleCnt="6">
        <dgm:presLayoutVars>
          <dgm:bulletEnabled val="1"/>
        </dgm:presLayoutVars>
      </dgm:prSet>
      <dgm:spPr/>
    </dgm:pt>
    <dgm:pt modelId="{395B291F-6E70-4EEE-BA80-35C09845D1F5}" type="pres">
      <dgm:prSet presAssocID="{A95186B9-6C6F-4A46-9DAE-8ADA17CADCCB}" presName="sibTrans" presStyleLbl="sibTrans1D1" presStyleIdx="1" presStyleCnt="5"/>
      <dgm:spPr/>
    </dgm:pt>
    <dgm:pt modelId="{04820FBA-9E04-432C-8C2C-C6BCDE6D1FC0}" type="pres">
      <dgm:prSet presAssocID="{A95186B9-6C6F-4A46-9DAE-8ADA17CADCCB}" presName="connectorText" presStyleLbl="sibTrans1D1" presStyleIdx="1" presStyleCnt="5"/>
      <dgm:spPr/>
    </dgm:pt>
    <dgm:pt modelId="{288417F4-A7BE-42D1-99D9-1D6E637660F8}" type="pres">
      <dgm:prSet presAssocID="{95C20872-7BF3-4B8F-926D-DB8D29E0DB7A}" presName="node" presStyleLbl="node1" presStyleIdx="2" presStyleCnt="6">
        <dgm:presLayoutVars>
          <dgm:bulletEnabled val="1"/>
        </dgm:presLayoutVars>
      </dgm:prSet>
      <dgm:spPr/>
    </dgm:pt>
    <dgm:pt modelId="{6D1DAA72-13B8-4867-A6C1-762E4E2A7DB6}" type="pres">
      <dgm:prSet presAssocID="{360C43CD-39E0-4C81-9417-606F4F88867F}" presName="sibTrans" presStyleLbl="sibTrans1D1" presStyleIdx="2" presStyleCnt="5"/>
      <dgm:spPr/>
    </dgm:pt>
    <dgm:pt modelId="{F14451C0-9FD9-4F04-B007-E5EFC334894F}" type="pres">
      <dgm:prSet presAssocID="{360C43CD-39E0-4C81-9417-606F4F88867F}" presName="connectorText" presStyleLbl="sibTrans1D1" presStyleIdx="2" presStyleCnt="5"/>
      <dgm:spPr/>
    </dgm:pt>
    <dgm:pt modelId="{CEDC96FC-1994-4105-85A2-D9E490895DB9}" type="pres">
      <dgm:prSet presAssocID="{5A1050AB-066B-400B-98D6-61BD708B984B}" presName="node" presStyleLbl="node1" presStyleIdx="3" presStyleCnt="6">
        <dgm:presLayoutVars>
          <dgm:bulletEnabled val="1"/>
        </dgm:presLayoutVars>
      </dgm:prSet>
      <dgm:spPr/>
    </dgm:pt>
    <dgm:pt modelId="{F6AC8BD8-A2CF-4F9D-81F6-1CF54B2FA2E2}" type="pres">
      <dgm:prSet presAssocID="{80ADE611-AF34-4A20-8941-D6F0ECA82707}" presName="sibTrans" presStyleLbl="sibTrans1D1" presStyleIdx="3" presStyleCnt="5"/>
      <dgm:spPr/>
    </dgm:pt>
    <dgm:pt modelId="{C3E499DB-FB95-4954-B0C8-9D2EEA80E662}" type="pres">
      <dgm:prSet presAssocID="{80ADE611-AF34-4A20-8941-D6F0ECA82707}" presName="connectorText" presStyleLbl="sibTrans1D1" presStyleIdx="3" presStyleCnt="5"/>
      <dgm:spPr/>
    </dgm:pt>
    <dgm:pt modelId="{99199C0C-4E2A-4A5E-B065-477AD20587B8}" type="pres">
      <dgm:prSet presAssocID="{25C22FE9-602A-45E2-A1B5-BACA79F339F9}" presName="node" presStyleLbl="node1" presStyleIdx="4" presStyleCnt="6">
        <dgm:presLayoutVars>
          <dgm:bulletEnabled val="1"/>
        </dgm:presLayoutVars>
      </dgm:prSet>
      <dgm:spPr/>
    </dgm:pt>
    <dgm:pt modelId="{47CC6FD7-87A5-4047-95A5-6D3052F30A50}" type="pres">
      <dgm:prSet presAssocID="{A33F28BE-DEFC-44F8-A956-ED50BCF54032}" presName="sibTrans" presStyleLbl="sibTrans1D1" presStyleIdx="4" presStyleCnt="5"/>
      <dgm:spPr/>
    </dgm:pt>
    <dgm:pt modelId="{05533941-A19C-4018-8DF2-9C41C2577B71}" type="pres">
      <dgm:prSet presAssocID="{A33F28BE-DEFC-44F8-A956-ED50BCF54032}" presName="connectorText" presStyleLbl="sibTrans1D1" presStyleIdx="4" presStyleCnt="5"/>
      <dgm:spPr/>
    </dgm:pt>
    <dgm:pt modelId="{402CCDBB-43DC-4C3E-AA27-46A96FDE55D4}" type="pres">
      <dgm:prSet presAssocID="{6FDEFCBF-4AB0-40CB-B077-01167B0456F0}" presName="node" presStyleLbl="node1" presStyleIdx="5" presStyleCnt="6">
        <dgm:presLayoutVars>
          <dgm:bulletEnabled val="1"/>
        </dgm:presLayoutVars>
      </dgm:prSet>
      <dgm:spPr/>
    </dgm:pt>
  </dgm:ptLst>
  <dgm:cxnLst>
    <dgm:cxn modelId="{95D3DE13-10ED-4CF7-AC9E-AB19B1394A6D}" type="presOf" srcId="{A33F28BE-DEFC-44F8-A956-ED50BCF54032}" destId="{47CC6FD7-87A5-4047-95A5-6D3052F30A50}" srcOrd="0" destOrd="0" presId="urn:microsoft.com/office/officeart/2016/7/layout/RepeatingBendingProcessNew"/>
    <dgm:cxn modelId="{C237BB26-0ED3-421B-A78A-D742659F70BE}" srcId="{8A2FAF31-24CD-460E-85BE-3D2978F91C05}" destId="{B04DC20D-56F4-49BB-8DBE-67B6C9152678}" srcOrd="1" destOrd="0" parTransId="{B379E000-CC25-45F0-8CD6-928D82672A7C}" sibTransId="{A95186B9-6C6F-4A46-9DAE-8ADA17CADCCB}"/>
    <dgm:cxn modelId="{6B596928-2BF3-4309-AF2F-266BBB617968}" type="presOf" srcId="{A95186B9-6C6F-4A46-9DAE-8ADA17CADCCB}" destId="{395B291F-6E70-4EEE-BA80-35C09845D1F5}" srcOrd="0" destOrd="0" presId="urn:microsoft.com/office/officeart/2016/7/layout/RepeatingBendingProcessNew"/>
    <dgm:cxn modelId="{E6387031-B757-4D16-BFF7-CB74FEE8BBE0}" type="presOf" srcId="{95C20872-7BF3-4B8F-926D-DB8D29E0DB7A}" destId="{288417F4-A7BE-42D1-99D9-1D6E637660F8}" srcOrd="0" destOrd="0" presId="urn:microsoft.com/office/officeart/2016/7/layout/RepeatingBendingProcessNew"/>
    <dgm:cxn modelId="{B0A0925F-A662-426F-9E71-12FBE9B1356B}" type="presOf" srcId="{6FDEFCBF-4AB0-40CB-B077-01167B0456F0}" destId="{402CCDBB-43DC-4C3E-AA27-46A96FDE55D4}" srcOrd="0" destOrd="0" presId="urn:microsoft.com/office/officeart/2016/7/layout/RepeatingBendingProcessNew"/>
    <dgm:cxn modelId="{02402F72-82D6-40AF-8D93-D1A48254768A}" srcId="{8A2FAF31-24CD-460E-85BE-3D2978F91C05}" destId="{6FDEFCBF-4AB0-40CB-B077-01167B0456F0}" srcOrd="5" destOrd="0" parTransId="{4814D243-A17C-49FB-BEE3-944679B3FFAE}" sibTransId="{1E7B0E6C-4A33-44F3-BD20-B1D5810FA661}"/>
    <dgm:cxn modelId="{05CB6655-1A43-4CEB-B969-60011E459354}" srcId="{8A2FAF31-24CD-460E-85BE-3D2978F91C05}" destId="{5A1050AB-066B-400B-98D6-61BD708B984B}" srcOrd="3" destOrd="0" parTransId="{63D18CE6-33E6-4F0B-8949-39D193444074}" sibTransId="{80ADE611-AF34-4A20-8941-D6F0ECA82707}"/>
    <dgm:cxn modelId="{0AF3D858-4369-4240-9856-AC89C3A0CC24}" srcId="{8A2FAF31-24CD-460E-85BE-3D2978F91C05}" destId="{95C20872-7BF3-4B8F-926D-DB8D29E0DB7A}" srcOrd="2" destOrd="0" parTransId="{48AB8DE6-79C5-4084-BA81-6A5B6867D338}" sibTransId="{360C43CD-39E0-4C81-9417-606F4F88867F}"/>
    <dgm:cxn modelId="{99921B7D-32D4-47ED-B6F4-56C5D6106B31}" type="presOf" srcId="{A95186B9-6C6F-4A46-9DAE-8ADA17CADCCB}" destId="{04820FBA-9E04-432C-8C2C-C6BCDE6D1FC0}" srcOrd="1" destOrd="0" presId="urn:microsoft.com/office/officeart/2016/7/layout/RepeatingBendingProcessNew"/>
    <dgm:cxn modelId="{3CA94B82-B470-4A0C-9AEF-C2A88D38795B}" srcId="{8A2FAF31-24CD-460E-85BE-3D2978F91C05}" destId="{25C22FE9-602A-45E2-A1B5-BACA79F339F9}" srcOrd="4" destOrd="0" parTransId="{9480D328-9A79-41C8-A143-08CF723578E6}" sibTransId="{A33F28BE-DEFC-44F8-A956-ED50BCF54032}"/>
    <dgm:cxn modelId="{93CBD183-C270-4717-B0E2-3C9EFB56EBDC}" type="presOf" srcId="{A33F28BE-DEFC-44F8-A956-ED50BCF54032}" destId="{05533941-A19C-4018-8DF2-9C41C2577B71}" srcOrd="1" destOrd="0" presId="urn:microsoft.com/office/officeart/2016/7/layout/RepeatingBendingProcessNew"/>
    <dgm:cxn modelId="{5F897F87-DBCE-47DC-8FFB-7B2AD905E586}" type="presOf" srcId="{80ADE611-AF34-4A20-8941-D6F0ECA82707}" destId="{C3E499DB-FB95-4954-B0C8-9D2EEA80E662}" srcOrd="1" destOrd="0" presId="urn:microsoft.com/office/officeart/2016/7/layout/RepeatingBendingProcessNew"/>
    <dgm:cxn modelId="{A635898D-7ECE-40B8-928A-1F5121B4CF02}" srcId="{8A2FAF31-24CD-460E-85BE-3D2978F91C05}" destId="{D9BF194E-2B02-499F-BB28-A055C8B5480C}" srcOrd="0" destOrd="0" parTransId="{09069BDA-937E-47A7-B2AB-A959A95DDC3B}" sibTransId="{3CA7EDF1-006F-4806-888A-9E0BC97ACE7C}"/>
    <dgm:cxn modelId="{7A0AD18F-B0CE-4755-9E4A-1A8B78EF8D0C}" type="presOf" srcId="{25C22FE9-602A-45E2-A1B5-BACA79F339F9}" destId="{99199C0C-4E2A-4A5E-B065-477AD20587B8}" srcOrd="0" destOrd="0" presId="urn:microsoft.com/office/officeart/2016/7/layout/RepeatingBendingProcessNew"/>
    <dgm:cxn modelId="{F6DE08A1-38C5-4CA1-8DBD-013909F9729C}" type="presOf" srcId="{360C43CD-39E0-4C81-9417-606F4F88867F}" destId="{6D1DAA72-13B8-4867-A6C1-762E4E2A7DB6}" srcOrd="0" destOrd="0" presId="urn:microsoft.com/office/officeart/2016/7/layout/RepeatingBendingProcessNew"/>
    <dgm:cxn modelId="{033150B4-D9E8-49B6-B887-952FC590D9C9}" type="presOf" srcId="{360C43CD-39E0-4C81-9417-606F4F88867F}" destId="{F14451C0-9FD9-4F04-B007-E5EFC334894F}" srcOrd="1" destOrd="0" presId="urn:microsoft.com/office/officeart/2016/7/layout/RepeatingBendingProcessNew"/>
    <dgm:cxn modelId="{ACAEA7B5-3475-4FBE-AF83-61FB7A6FF62B}" type="presOf" srcId="{8A2FAF31-24CD-460E-85BE-3D2978F91C05}" destId="{7B237DC3-AC7A-4DCC-9D81-EA0896613B98}" srcOrd="0" destOrd="0" presId="urn:microsoft.com/office/officeart/2016/7/layout/RepeatingBendingProcessNew"/>
    <dgm:cxn modelId="{AC249ED1-3FE3-4FB1-8C82-6E82650734B4}" type="presOf" srcId="{80ADE611-AF34-4A20-8941-D6F0ECA82707}" destId="{F6AC8BD8-A2CF-4F9D-81F6-1CF54B2FA2E2}" srcOrd="0" destOrd="0" presId="urn:microsoft.com/office/officeart/2016/7/layout/RepeatingBendingProcessNew"/>
    <dgm:cxn modelId="{899CC7D7-FA1C-4DE6-ACA2-E184A87C6830}" type="presOf" srcId="{5A1050AB-066B-400B-98D6-61BD708B984B}" destId="{CEDC96FC-1994-4105-85A2-D9E490895DB9}" srcOrd="0" destOrd="0" presId="urn:microsoft.com/office/officeart/2016/7/layout/RepeatingBendingProcessNew"/>
    <dgm:cxn modelId="{515517D9-B3AD-427E-B4E1-5DF7AA48FED6}" type="presOf" srcId="{3CA7EDF1-006F-4806-888A-9E0BC97ACE7C}" destId="{498AE233-F7E7-47EE-9AC4-96C6842B3E00}" srcOrd="0" destOrd="0" presId="urn:microsoft.com/office/officeart/2016/7/layout/RepeatingBendingProcessNew"/>
    <dgm:cxn modelId="{160D9ADE-82F0-4740-AD5F-6641AD7D1155}" type="presOf" srcId="{B04DC20D-56F4-49BB-8DBE-67B6C9152678}" destId="{47A968EE-7EB2-4BCC-A7EB-E4689DD0F836}" srcOrd="0" destOrd="0" presId="urn:microsoft.com/office/officeart/2016/7/layout/RepeatingBendingProcessNew"/>
    <dgm:cxn modelId="{229F65E5-7E65-459B-8212-952247DA5FB2}" type="presOf" srcId="{3CA7EDF1-006F-4806-888A-9E0BC97ACE7C}" destId="{D5278A59-4EDF-41FC-876D-8EEEDA21292E}" srcOrd="1" destOrd="0" presId="urn:microsoft.com/office/officeart/2016/7/layout/RepeatingBendingProcessNew"/>
    <dgm:cxn modelId="{4E0942EC-52D1-4ADE-84D0-D3771B42CAB5}" type="presOf" srcId="{D9BF194E-2B02-499F-BB28-A055C8B5480C}" destId="{9BB4C3DC-74C1-4CF6-A45C-E71C7533702E}" srcOrd="0" destOrd="0" presId="urn:microsoft.com/office/officeart/2016/7/layout/RepeatingBendingProcessNew"/>
    <dgm:cxn modelId="{38BFBCA8-E2CF-4A34-AA51-906BDAC9767B}" type="presParOf" srcId="{7B237DC3-AC7A-4DCC-9D81-EA0896613B98}" destId="{9BB4C3DC-74C1-4CF6-A45C-E71C7533702E}" srcOrd="0" destOrd="0" presId="urn:microsoft.com/office/officeart/2016/7/layout/RepeatingBendingProcessNew"/>
    <dgm:cxn modelId="{6268D066-EFEE-414A-A02A-D6F3A759BE19}" type="presParOf" srcId="{7B237DC3-AC7A-4DCC-9D81-EA0896613B98}" destId="{498AE233-F7E7-47EE-9AC4-96C6842B3E00}" srcOrd="1" destOrd="0" presId="urn:microsoft.com/office/officeart/2016/7/layout/RepeatingBendingProcessNew"/>
    <dgm:cxn modelId="{93E6EC3B-E3A6-47AC-8FD7-EB8AED39D892}" type="presParOf" srcId="{498AE233-F7E7-47EE-9AC4-96C6842B3E00}" destId="{D5278A59-4EDF-41FC-876D-8EEEDA21292E}" srcOrd="0" destOrd="0" presId="urn:microsoft.com/office/officeart/2016/7/layout/RepeatingBendingProcessNew"/>
    <dgm:cxn modelId="{E6BAE773-BC8C-4082-8D37-0877CC4E4CC8}" type="presParOf" srcId="{7B237DC3-AC7A-4DCC-9D81-EA0896613B98}" destId="{47A968EE-7EB2-4BCC-A7EB-E4689DD0F836}" srcOrd="2" destOrd="0" presId="urn:microsoft.com/office/officeart/2016/7/layout/RepeatingBendingProcessNew"/>
    <dgm:cxn modelId="{10DBF3F1-8E6C-4BFE-BC7B-CBFFB5398BAD}" type="presParOf" srcId="{7B237DC3-AC7A-4DCC-9D81-EA0896613B98}" destId="{395B291F-6E70-4EEE-BA80-35C09845D1F5}" srcOrd="3" destOrd="0" presId="urn:microsoft.com/office/officeart/2016/7/layout/RepeatingBendingProcessNew"/>
    <dgm:cxn modelId="{E27A3C98-26B4-4433-8650-68A77C296931}" type="presParOf" srcId="{395B291F-6E70-4EEE-BA80-35C09845D1F5}" destId="{04820FBA-9E04-432C-8C2C-C6BCDE6D1FC0}" srcOrd="0" destOrd="0" presId="urn:microsoft.com/office/officeart/2016/7/layout/RepeatingBendingProcessNew"/>
    <dgm:cxn modelId="{92B0B4EF-011C-471E-9E38-80EE67D18EBE}" type="presParOf" srcId="{7B237DC3-AC7A-4DCC-9D81-EA0896613B98}" destId="{288417F4-A7BE-42D1-99D9-1D6E637660F8}" srcOrd="4" destOrd="0" presId="urn:microsoft.com/office/officeart/2016/7/layout/RepeatingBendingProcessNew"/>
    <dgm:cxn modelId="{41CC0ED9-A49A-4E50-94A7-43F5876D7AFA}" type="presParOf" srcId="{7B237DC3-AC7A-4DCC-9D81-EA0896613B98}" destId="{6D1DAA72-13B8-4867-A6C1-762E4E2A7DB6}" srcOrd="5" destOrd="0" presId="urn:microsoft.com/office/officeart/2016/7/layout/RepeatingBendingProcessNew"/>
    <dgm:cxn modelId="{1A7F4046-6565-40B9-A42F-986135080910}" type="presParOf" srcId="{6D1DAA72-13B8-4867-A6C1-762E4E2A7DB6}" destId="{F14451C0-9FD9-4F04-B007-E5EFC334894F}" srcOrd="0" destOrd="0" presId="urn:microsoft.com/office/officeart/2016/7/layout/RepeatingBendingProcessNew"/>
    <dgm:cxn modelId="{A0A54EE6-8DD9-438B-9D7D-BB8690D95F3F}" type="presParOf" srcId="{7B237DC3-AC7A-4DCC-9D81-EA0896613B98}" destId="{CEDC96FC-1994-4105-85A2-D9E490895DB9}" srcOrd="6" destOrd="0" presId="urn:microsoft.com/office/officeart/2016/7/layout/RepeatingBendingProcessNew"/>
    <dgm:cxn modelId="{D6938567-1CBE-4958-9B97-352AF405BF9D}" type="presParOf" srcId="{7B237DC3-AC7A-4DCC-9D81-EA0896613B98}" destId="{F6AC8BD8-A2CF-4F9D-81F6-1CF54B2FA2E2}" srcOrd="7" destOrd="0" presId="urn:microsoft.com/office/officeart/2016/7/layout/RepeatingBendingProcessNew"/>
    <dgm:cxn modelId="{21BB01A2-B45B-473D-B6A1-C5C9C956F0E4}" type="presParOf" srcId="{F6AC8BD8-A2CF-4F9D-81F6-1CF54B2FA2E2}" destId="{C3E499DB-FB95-4954-B0C8-9D2EEA80E662}" srcOrd="0" destOrd="0" presId="urn:microsoft.com/office/officeart/2016/7/layout/RepeatingBendingProcessNew"/>
    <dgm:cxn modelId="{0A10041B-16D5-4026-9490-0E43F530C3C3}" type="presParOf" srcId="{7B237DC3-AC7A-4DCC-9D81-EA0896613B98}" destId="{99199C0C-4E2A-4A5E-B065-477AD20587B8}" srcOrd="8" destOrd="0" presId="urn:microsoft.com/office/officeart/2016/7/layout/RepeatingBendingProcessNew"/>
    <dgm:cxn modelId="{3C363E60-9196-4084-82FA-E362E9AF82EA}" type="presParOf" srcId="{7B237DC3-AC7A-4DCC-9D81-EA0896613B98}" destId="{47CC6FD7-87A5-4047-95A5-6D3052F30A50}" srcOrd="9" destOrd="0" presId="urn:microsoft.com/office/officeart/2016/7/layout/RepeatingBendingProcessNew"/>
    <dgm:cxn modelId="{5967A884-A508-4BE2-BFED-1E8381F5F6BF}" type="presParOf" srcId="{47CC6FD7-87A5-4047-95A5-6D3052F30A50}" destId="{05533941-A19C-4018-8DF2-9C41C2577B71}" srcOrd="0" destOrd="0" presId="urn:microsoft.com/office/officeart/2016/7/layout/RepeatingBendingProcessNew"/>
    <dgm:cxn modelId="{798076BD-B8F9-4192-B593-0EC547A8C1A4}" type="presParOf" srcId="{7B237DC3-AC7A-4DCC-9D81-EA0896613B98}" destId="{402CCDBB-43DC-4C3E-AA27-46A96FDE55D4}" srcOrd="10" destOrd="0" presId="urn:microsoft.com/office/officeart/2016/7/layout/RepeatingBendingProcessNew"/>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B330E14B-E2E1-4A88-A1A1-5A5F79A4F3D8}" type="doc">
      <dgm:prSet loTypeId="urn:microsoft.com/office/officeart/2018/2/layout/IconVerticalSolidList" loCatId="icon" qsTypeId="urn:microsoft.com/office/officeart/2005/8/quickstyle/simple1" qsCatId="simple" csTypeId="urn:microsoft.com/office/officeart/2018/5/colors/Iconchunking_neutralbg_colorful1" csCatId="colorful" phldr="1"/>
      <dgm:spPr/>
      <dgm:t>
        <a:bodyPr/>
        <a:lstStyle/>
        <a:p>
          <a:endParaRPr lang="en-US"/>
        </a:p>
      </dgm:t>
    </dgm:pt>
    <dgm:pt modelId="{11B20C44-6812-4AB6-A56D-6595DA6CFA2E}">
      <dgm:prSet/>
      <dgm:spPr/>
      <dgm:t>
        <a:bodyPr/>
        <a:lstStyle/>
        <a:p>
          <a:pPr>
            <a:lnSpc>
              <a:spcPct val="100000"/>
            </a:lnSpc>
          </a:pPr>
          <a:r>
            <a:rPr lang="en-US" dirty="0"/>
            <a:t>Know the product</a:t>
          </a:r>
        </a:p>
      </dgm:t>
    </dgm:pt>
    <dgm:pt modelId="{921110B8-10BC-48A3-954E-09D0ED9BB03E}" type="parTrans" cxnId="{D171B8BC-478B-4D11-B5C1-52FF31DA358F}">
      <dgm:prSet/>
      <dgm:spPr/>
      <dgm:t>
        <a:bodyPr/>
        <a:lstStyle/>
        <a:p>
          <a:endParaRPr lang="en-US"/>
        </a:p>
      </dgm:t>
    </dgm:pt>
    <dgm:pt modelId="{C1544AE0-E796-4E1A-84C3-36059C9935D5}" type="sibTrans" cxnId="{D171B8BC-478B-4D11-B5C1-52FF31DA358F}">
      <dgm:prSet/>
      <dgm:spPr/>
      <dgm:t>
        <a:bodyPr/>
        <a:lstStyle/>
        <a:p>
          <a:endParaRPr lang="en-US"/>
        </a:p>
      </dgm:t>
    </dgm:pt>
    <dgm:pt modelId="{47162355-3385-40B0-8D4F-D5541495F5F0}">
      <dgm:prSet/>
      <dgm:spPr/>
      <dgm:t>
        <a:bodyPr/>
        <a:lstStyle/>
        <a:p>
          <a:pPr>
            <a:lnSpc>
              <a:spcPct val="100000"/>
            </a:lnSpc>
          </a:pPr>
          <a:r>
            <a:rPr lang="en-US" dirty="0"/>
            <a:t>Know how to accomplish a task (your job)</a:t>
          </a:r>
        </a:p>
      </dgm:t>
    </dgm:pt>
    <dgm:pt modelId="{15546A17-002E-48D6-91EF-AEDF51D57075}" type="parTrans" cxnId="{F7C1E529-C6AD-4F19-99AE-D012E064172C}">
      <dgm:prSet/>
      <dgm:spPr/>
      <dgm:t>
        <a:bodyPr/>
        <a:lstStyle/>
        <a:p>
          <a:endParaRPr lang="en-US"/>
        </a:p>
      </dgm:t>
    </dgm:pt>
    <dgm:pt modelId="{BDD1B8F4-7919-43CB-8454-DFDBFA8E0DDA}" type="sibTrans" cxnId="{F7C1E529-C6AD-4F19-99AE-D012E064172C}">
      <dgm:prSet/>
      <dgm:spPr/>
      <dgm:t>
        <a:bodyPr/>
        <a:lstStyle/>
        <a:p>
          <a:endParaRPr lang="en-US"/>
        </a:p>
      </dgm:t>
    </dgm:pt>
    <dgm:pt modelId="{1683BF30-90C5-432D-863B-5742C0FDF6DF}">
      <dgm:prSet/>
      <dgm:spPr/>
      <dgm:t>
        <a:bodyPr/>
        <a:lstStyle/>
        <a:p>
          <a:pPr>
            <a:lnSpc>
              <a:spcPct val="100000"/>
            </a:lnSpc>
          </a:pPr>
          <a:r>
            <a:rPr lang="en-US" dirty="0"/>
            <a:t>Know how to accomplish other people’s tasks</a:t>
          </a:r>
        </a:p>
      </dgm:t>
    </dgm:pt>
    <dgm:pt modelId="{C2A1A4AE-9CB5-44BE-A7D0-C2D9EB194C57}" type="parTrans" cxnId="{3E656079-1432-47E9-BECF-269B1F5FE8D2}">
      <dgm:prSet/>
      <dgm:spPr/>
      <dgm:t>
        <a:bodyPr/>
        <a:lstStyle/>
        <a:p>
          <a:endParaRPr lang="en-US"/>
        </a:p>
      </dgm:t>
    </dgm:pt>
    <dgm:pt modelId="{28000943-7A0D-4E10-A370-6D3A2DB4ED0F}" type="sibTrans" cxnId="{3E656079-1432-47E9-BECF-269B1F5FE8D2}">
      <dgm:prSet/>
      <dgm:spPr/>
      <dgm:t>
        <a:bodyPr/>
        <a:lstStyle/>
        <a:p>
          <a:endParaRPr lang="en-US"/>
        </a:p>
      </dgm:t>
    </dgm:pt>
    <dgm:pt modelId="{0DB43755-27B3-4DDC-A11F-36A24058F630}" type="pres">
      <dgm:prSet presAssocID="{B330E14B-E2E1-4A88-A1A1-5A5F79A4F3D8}" presName="root" presStyleCnt="0">
        <dgm:presLayoutVars>
          <dgm:dir/>
          <dgm:resizeHandles val="exact"/>
        </dgm:presLayoutVars>
      </dgm:prSet>
      <dgm:spPr/>
    </dgm:pt>
    <dgm:pt modelId="{300DD56C-5572-4E2F-B3ED-7A0D3F01D30F}" type="pres">
      <dgm:prSet presAssocID="{11B20C44-6812-4AB6-A56D-6595DA6CFA2E}" presName="compNode" presStyleCnt="0"/>
      <dgm:spPr/>
    </dgm:pt>
    <dgm:pt modelId="{403B7EAA-2D9E-4E37-8E1F-ACD957BD76F0}" type="pres">
      <dgm:prSet presAssocID="{11B20C44-6812-4AB6-A56D-6595DA6CFA2E}" presName="bgRect" presStyleLbl="bgShp" presStyleIdx="0" presStyleCnt="3"/>
      <dgm:spPr/>
    </dgm:pt>
    <dgm:pt modelId="{EE208CEF-75D5-4A31-B963-F969BCE1E811}" type="pres">
      <dgm:prSet presAssocID="{11B20C44-6812-4AB6-A56D-6595DA6CFA2E}" presName="iconRect" presStyleLbl="node1" presStyleIdx="0" presStyleCnt="3"/>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a:noFill/>
        </a:ln>
      </dgm:spPr>
      <dgm:extLst>
        <a:ext uri="{E40237B7-FDA0-4F09-8148-C483321AD2D9}">
          <dgm14:cNvPr xmlns:dgm14="http://schemas.microsoft.com/office/drawing/2010/diagram" id="0" name="" descr="Advertising"/>
        </a:ext>
      </dgm:extLst>
    </dgm:pt>
    <dgm:pt modelId="{D3BB0E6D-620F-4CED-8EDE-0F1CC43013DD}" type="pres">
      <dgm:prSet presAssocID="{11B20C44-6812-4AB6-A56D-6595DA6CFA2E}" presName="spaceRect" presStyleCnt="0"/>
      <dgm:spPr/>
    </dgm:pt>
    <dgm:pt modelId="{F866ECB6-D95C-49EF-B880-060600DB5618}" type="pres">
      <dgm:prSet presAssocID="{11B20C44-6812-4AB6-A56D-6595DA6CFA2E}" presName="parTx" presStyleLbl="revTx" presStyleIdx="0" presStyleCnt="3">
        <dgm:presLayoutVars>
          <dgm:chMax val="0"/>
          <dgm:chPref val="0"/>
        </dgm:presLayoutVars>
      </dgm:prSet>
      <dgm:spPr/>
    </dgm:pt>
    <dgm:pt modelId="{5970B47F-F79E-4AE1-8975-85BE0CF81B91}" type="pres">
      <dgm:prSet presAssocID="{C1544AE0-E796-4E1A-84C3-36059C9935D5}" presName="sibTrans" presStyleCnt="0"/>
      <dgm:spPr/>
    </dgm:pt>
    <dgm:pt modelId="{3405971F-81A6-40C1-BB37-61696F9FF382}" type="pres">
      <dgm:prSet presAssocID="{47162355-3385-40B0-8D4F-D5541495F5F0}" presName="compNode" presStyleCnt="0"/>
      <dgm:spPr/>
    </dgm:pt>
    <dgm:pt modelId="{7399DEF7-ACAB-4D61-829C-D49C0A0E14FB}" type="pres">
      <dgm:prSet presAssocID="{47162355-3385-40B0-8D4F-D5541495F5F0}" presName="bgRect" presStyleLbl="bgShp" presStyleIdx="1" presStyleCnt="3"/>
      <dgm:spPr/>
    </dgm:pt>
    <dgm:pt modelId="{435DDFC5-3EE9-4232-89F1-FFEFCF0B4A6F}" type="pres">
      <dgm:prSet presAssocID="{47162355-3385-40B0-8D4F-D5541495F5F0}" presName="iconRect" presStyleLbl="node1" presStyleIdx="1" presStyleCnt="3"/>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dgm:spPr>
      <dgm:extLst>
        <a:ext uri="{E40237B7-FDA0-4F09-8148-C483321AD2D9}">
          <dgm14:cNvPr xmlns:dgm14="http://schemas.microsoft.com/office/drawing/2010/diagram" id="0" name="" descr="Welder"/>
        </a:ext>
      </dgm:extLst>
    </dgm:pt>
    <dgm:pt modelId="{C475351F-B817-4855-A189-F3D0622436CE}" type="pres">
      <dgm:prSet presAssocID="{47162355-3385-40B0-8D4F-D5541495F5F0}" presName="spaceRect" presStyleCnt="0"/>
      <dgm:spPr/>
    </dgm:pt>
    <dgm:pt modelId="{2AADD931-23AB-4C41-819D-B7B033075308}" type="pres">
      <dgm:prSet presAssocID="{47162355-3385-40B0-8D4F-D5541495F5F0}" presName="parTx" presStyleLbl="revTx" presStyleIdx="1" presStyleCnt="3">
        <dgm:presLayoutVars>
          <dgm:chMax val="0"/>
          <dgm:chPref val="0"/>
        </dgm:presLayoutVars>
      </dgm:prSet>
      <dgm:spPr/>
    </dgm:pt>
    <dgm:pt modelId="{AD5CDAFC-F7CC-46CF-A7A8-0E3730EC7554}" type="pres">
      <dgm:prSet presAssocID="{BDD1B8F4-7919-43CB-8454-DFDBFA8E0DDA}" presName="sibTrans" presStyleCnt="0"/>
      <dgm:spPr/>
    </dgm:pt>
    <dgm:pt modelId="{193B917B-7CE7-4DFC-B92A-89A6FC477068}" type="pres">
      <dgm:prSet presAssocID="{1683BF30-90C5-432D-863B-5742C0FDF6DF}" presName="compNode" presStyleCnt="0"/>
      <dgm:spPr/>
    </dgm:pt>
    <dgm:pt modelId="{1B140AEA-9C77-452D-A5F5-22240C465871}" type="pres">
      <dgm:prSet presAssocID="{1683BF30-90C5-432D-863B-5742C0FDF6DF}" presName="bgRect" presStyleLbl="bgShp" presStyleIdx="2" presStyleCnt="3"/>
      <dgm:spPr/>
    </dgm:pt>
    <dgm:pt modelId="{C3CC151D-B8DB-4CD1-86B5-63251529F898}" type="pres">
      <dgm:prSet presAssocID="{1683BF30-90C5-432D-863B-5742C0FDF6DF}" presName="iconRect" presStyleLbl="node1" presStyleIdx="2" presStyleCnt="3"/>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a:noFill/>
        </a:ln>
      </dgm:spPr>
      <dgm:extLst>
        <a:ext uri="{E40237B7-FDA0-4F09-8148-C483321AD2D9}">
          <dgm14:cNvPr xmlns:dgm14="http://schemas.microsoft.com/office/drawing/2010/diagram" id="0" name="" descr="Check List"/>
        </a:ext>
      </dgm:extLst>
    </dgm:pt>
    <dgm:pt modelId="{D2DE3F64-7DAA-424C-BDCE-450C6EDBA98C}" type="pres">
      <dgm:prSet presAssocID="{1683BF30-90C5-432D-863B-5742C0FDF6DF}" presName="spaceRect" presStyleCnt="0"/>
      <dgm:spPr/>
    </dgm:pt>
    <dgm:pt modelId="{6D7F680C-B657-4D13-A3D8-32B7E7E3D0C6}" type="pres">
      <dgm:prSet presAssocID="{1683BF30-90C5-432D-863B-5742C0FDF6DF}" presName="parTx" presStyleLbl="revTx" presStyleIdx="2" presStyleCnt="3">
        <dgm:presLayoutVars>
          <dgm:chMax val="0"/>
          <dgm:chPref val="0"/>
        </dgm:presLayoutVars>
      </dgm:prSet>
      <dgm:spPr/>
    </dgm:pt>
  </dgm:ptLst>
  <dgm:cxnLst>
    <dgm:cxn modelId="{B08AB30F-6AF6-4055-8163-54ABB9D3FDCD}" type="presOf" srcId="{B330E14B-E2E1-4A88-A1A1-5A5F79A4F3D8}" destId="{0DB43755-27B3-4DDC-A11F-36A24058F630}" srcOrd="0" destOrd="0" presId="urn:microsoft.com/office/officeart/2018/2/layout/IconVerticalSolidList"/>
    <dgm:cxn modelId="{F7C1E529-C6AD-4F19-99AE-D012E064172C}" srcId="{B330E14B-E2E1-4A88-A1A1-5A5F79A4F3D8}" destId="{47162355-3385-40B0-8D4F-D5541495F5F0}" srcOrd="1" destOrd="0" parTransId="{15546A17-002E-48D6-91EF-AEDF51D57075}" sibTransId="{BDD1B8F4-7919-43CB-8454-DFDBFA8E0DDA}"/>
    <dgm:cxn modelId="{F5BE0A6B-A797-4A33-BAB1-4B1F8EFDBA0B}" type="presOf" srcId="{11B20C44-6812-4AB6-A56D-6595DA6CFA2E}" destId="{F866ECB6-D95C-49EF-B880-060600DB5618}" srcOrd="0" destOrd="0" presId="urn:microsoft.com/office/officeart/2018/2/layout/IconVerticalSolidList"/>
    <dgm:cxn modelId="{3E656079-1432-47E9-BECF-269B1F5FE8D2}" srcId="{B330E14B-E2E1-4A88-A1A1-5A5F79A4F3D8}" destId="{1683BF30-90C5-432D-863B-5742C0FDF6DF}" srcOrd="2" destOrd="0" parTransId="{C2A1A4AE-9CB5-44BE-A7D0-C2D9EB194C57}" sibTransId="{28000943-7A0D-4E10-A370-6D3A2DB4ED0F}"/>
    <dgm:cxn modelId="{BEA8D07A-699F-4B59-94B5-0CD6702BBF57}" type="presOf" srcId="{47162355-3385-40B0-8D4F-D5541495F5F0}" destId="{2AADD931-23AB-4C41-819D-B7B033075308}" srcOrd="0" destOrd="0" presId="urn:microsoft.com/office/officeart/2018/2/layout/IconVerticalSolidList"/>
    <dgm:cxn modelId="{D171B8BC-478B-4D11-B5C1-52FF31DA358F}" srcId="{B330E14B-E2E1-4A88-A1A1-5A5F79A4F3D8}" destId="{11B20C44-6812-4AB6-A56D-6595DA6CFA2E}" srcOrd="0" destOrd="0" parTransId="{921110B8-10BC-48A3-954E-09D0ED9BB03E}" sibTransId="{C1544AE0-E796-4E1A-84C3-36059C9935D5}"/>
    <dgm:cxn modelId="{9B077EF5-D060-4746-B689-52A39E6DBF6F}" type="presOf" srcId="{1683BF30-90C5-432D-863B-5742C0FDF6DF}" destId="{6D7F680C-B657-4D13-A3D8-32B7E7E3D0C6}" srcOrd="0" destOrd="0" presId="urn:microsoft.com/office/officeart/2018/2/layout/IconVerticalSolidList"/>
    <dgm:cxn modelId="{968A6AA4-7079-4C37-8C74-B3DA35F81D16}" type="presParOf" srcId="{0DB43755-27B3-4DDC-A11F-36A24058F630}" destId="{300DD56C-5572-4E2F-B3ED-7A0D3F01D30F}" srcOrd="0" destOrd="0" presId="urn:microsoft.com/office/officeart/2018/2/layout/IconVerticalSolidList"/>
    <dgm:cxn modelId="{2CD4E157-6746-404E-9408-D6DA55DEEFC2}" type="presParOf" srcId="{300DD56C-5572-4E2F-B3ED-7A0D3F01D30F}" destId="{403B7EAA-2D9E-4E37-8E1F-ACD957BD76F0}" srcOrd="0" destOrd="0" presId="urn:microsoft.com/office/officeart/2018/2/layout/IconVerticalSolidList"/>
    <dgm:cxn modelId="{AC5B5D02-E50C-4CE3-AEFC-ACFCCD11F56B}" type="presParOf" srcId="{300DD56C-5572-4E2F-B3ED-7A0D3F01D30F}" destId="{EE208CEF-75D5-4A31-B963-F969BCE1E811}" srcOrd="1" destOrd="0" presId="urn:microsoft.com/office/officeart/2018/2/layout/IconVerticalSolidList"/>
    <dgm:cxn modelId="{4A82BB96-ABC7-48E3-92E8-F6DB8FBA5256}" type="presParOf" srcId="{300DD56C-5572-4E2F-B3ED-7A0D3F01D30F}" destId="{D3BB0E6D-620F-4CED-8EDE-0F1CC43013DD}" srcOrd="2" destOrd="0" presId="urn:microsoft.com/office/officeart/2018/2/layout/IconVerticalSolidList"/>
    <dgm:cxn modelId="{F53555E7-CFBA-4E45-911E-941A4A10E6E4}" type="presParOf" srcId="{300DD56C-5572-4E2F-B3ED-7A0D3F01D30F}" destId="{F866ECB6-D95C-49EF-B880-060600DB5618}" srcOrd="3" destOrd="0" presId="urn:microsoft.com/office/officeart/2018/2/layout/IconVerticalSolidList"/>
    <dgm:cxn modelId="{CF688D8C-DD78-4B60-87D4-A1D6215A3B1C}" type="presParOf" srcId="{0DB43755-27B3-4DDC-A11F-36A24058F630}" destId="{5970B47F-F79E-4AE1-8975-85BE0CF81B91}" srcOrd="1" destOrd="0" presId="urn:microsoft.com/office/officeart/2018/2/layout/IconVerticalSolidList"/>
    <dgm:cxn modelId="{1760C9E0-F5FC-40FE-BE74-D2C3240304BA}" type="presParOf" srcId="{0DB43755-27B3-4DDC-A11F-36A24058F630}" destId="{3405971F-81A6-40C1-BB37-61696F9FF382}" srcOrd="2" destOrd="0" presId="urn:microsoft.com/office/officeart/2018/2/layout/IconVerticalSolidList"/>
    <dgm:cxn modelId="{32B486A1-BB3E-4F1D-A4E6-BC49F381BD6E}" type="presParOf" srcId="{3405971F-81A6-40C1-BB37-61696F9FF382}" destId="{7399DEF7-ACAB-4D61-829C-D49C0A0E14FB}" srcOrd="0" destOrd="0" presId="urn:microsoft.com/office/officeart/2018/2/layout/IconVerticalSolidList"/>
    <dgm:cxn modelId="{755CEB2E-A307-4623-85FE-34F7B23F641F}" type="presParOf" srcId="{3405971F-81A6-40C1-BB37-61696F9FF382}" destId="{435DDFC5-3EE9-4232-89F1-FFEFCF0B4A6F}" srcOrd="1" destOrd="0" presId="urn:microsoft.com/office/officeart/2018/2/layout/IconVerticalSolidList"/>
    <dgm:cxn modelId="{15E603CA-C888-47C1-AF50-CC8D3A8C6C83}" type="presParOf" srcId="{3405971F-81A6-40C1-BB37-61696F9FF382}" destId="{C475351F-B817-4855-A189-F3D0622436CE}" srcOrd="2" destOrd="0" presId="urn:microsoft.com/office/officeart/2018/2/layout/IconVerticalSolidList"/>
    <dgm:cxn modelId="{3864BF1C-9287-416F-8622-546F3711C862}" type="presParOf" srcId="{3405971F-81A6-40C1-BB37-61696F9FF382}" destId="{2AADD931-23AB-4C41-819D-B7B033075308}" srcOrd="3" destOrd="0" presId="urn:microsoft.com/office/officeart/2018/2/layout/IconVerticalSolidList"/>
    <dgm:cxn modelId="{5BFBD9A7-BD43-406A-B9DC-5DDDB04EE9B3}" type="presParOf" srcId="{0DB43755-27B3-4DDC-A11F-36A24058F630}" destId="{AD5CDAFC-F7CC-46CF-A7A8-0E3730EC7554}" srcOrd="3" destOrd="0" presId="urn:microsoft.com/office/officeart/2018/2/layout/IconVerticalSolidList"/>
    <dgm:cxn modelId="{BD115B24-05D6-407F-A3B5-3EA0513190CE}" type="presParOf" srcId="{0DB43755-27B3-4DDC-A11F-36A24058F630}" destId="{193B917B-7CE7-4DFC-B92A-89A6FC477068}" srcOrd="4" destOrd="0" presId="urn:microsoft.com/office/officeart/2018/2/layout/IconVerticalSolidList"/>
    <dgm:cxn modelId="{DEF5B81E-D4C9-4157-8702-62B27B1E7433}" type="presParOf" srcId="{193B917B-7CE7-4DFC-B92A-89A6FC477068}" destId="{1B140AEA-9C77-452D-A5F5-22240C465871}" srcOrd="0" destOrd="0" presId="urn:microsoft.com/office/officeart/2018/2/layout/IconVerticalSolidList"/>
    <dgm:cxn modelId="{760B992F-71C8-46B5-B4F5-DD0B98936712}" type="presParOf" srcId="{193B917B-7CE7-4DFC-B92A-89A6FC477068}" destId="{C3CC151D-B8DB-4CD1-86B5-63251529F898}" srcOrd="1" destOrd="0" presId="urn:microsoft.com/office/officeart/2018/2/layout/IconVerticalSolidList"/>
    <dgm:cxn modelId="{A1D1399C-972C-4D60-BEE9-7E1B444C8D06}" type="presParOf" srcId="{193B917B-7CE7-4DFC-B92A-89A6FC477068}" destId="{D2DE3F64-7DAA-424C-BDCE-450C6EDBA98C}" srcOrd="2" destOrd="0" presId="urn:microsoft.com/office/officeart/2018/2/layout/IconVerticalSolidList"/>
    <dgm:cxn modelId="{0BEF9586-8F31-48F8-AA8B-EB9AE1B4987E}" type="presParOf" srcId="{193B917B-7CE7-4DFC-B92A-89A6FC477068}" destId="{6D7F680C-B657-4D13-A3D8-32B7E7E3D0C6}" srcOrd="3" destOrd="0" presId="urn:microsoft.com/office/officeart/2018/2/layout/IconVerticalSolid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FAA9A586-F6B9-4824-99A5-AEABC2D90E93}" type="doc">
      <dgm:prSet loTypeId="urn:microsoft.com/office/officeart/2018/2/layout/IconVerticalSolidList" loCatId="icon" qsTypeId="urn:microsoft.com/office/officeart/2005/8/quickstyle/simple1" qsCatId="simple" csTypeId="urn:microsoft.com/office/officeart/2018/5/colors/Iconchunking_neutralbg_colorful1" csCatId="colorful" phldr="1"/>
      <dgm:spPr/>
      <dgm:t>
        <a:bodyPr/>
        <a:lstStyle/>
        <a:p>
          <a:endParaRPr lang="en-US"/>
        </a:p>
      </dgm:t>
    </dgm:pt>
    <dgm:pt modelId="{96BFB9B1-B78E-4CD8-85F1-F313772D8CE1}">
      <dgm:prSet/>
      <dgm:spPr/>
      <dgm:t>
        <a:bodyPr/>
        <a:lstStyle/>
        <a:p>
          <a:pPr>
            <a:lnSpc>
              <a:spcPct val="100000"/>
            </a:lnSpc>
          </a:pPr>
          <a:r>
            <a:rPr lang="en-US"/>
            <a:t>Builds on the end-user skills</a:t>
          </a:r>
        </a:p>
      </dgm:t>
    </dgm:pt>
    <dgm:pt modelId="{1D2490E7-CA25-433C-A218-0412D936F420}" type="parTrans" cxnId="{69CF5FAF-EE1A-4C7F-8758-D97FC3BD4371}">
      <dgm:prSet/>
      <dgm:spPr/>
      <dgm:t>
        <a:bodyPr/>
        <a:lstStyle/>
        <a:p>
          <a:endParaRPr lang="en-US"/>
        </a:p>
      </dgm:t>
    </dgm:pt>
    <dgm:pt modelId="{C7F102B1-8348-49F8-B633-BE6E4835B688}" type="sibTrans" cxnId="{69CF5FAF-EE1A-4C7F-8758-D97FC3BD4371}">
      <dgm:prSet/>
      <dgm:spPr/>
      <dgm:t>
        <a:bodyPr/>
        <a:lstStyle/>
        <a:p>
          <a:endParaRPr lang="en-US"/>
        </a:p>
      </dgm:t>
    </dgm:pt>
    <dgm:pt modelId="{C4245813-66AE-4F5C-80E6-8BC7AB4BA308}">
      <dgm:prSet/>
      <dgm:spPr/>
      <dgm:t>
        <a:bodyPr/>
        <a:lstStyle/>
        <a:p>
          <a:pPr>
            <a:lnSpc>
              <a:spcPct val="100000"/>
            </a:lnSpc>
          </a:pPr>
          <a:r>
            <a:rPr lang="en-US"/>
            <a:t>Knows and understands advanced features</a:t>
          </a:r>
        </a:p>
      </dgm:t>
    </dgm:pt>
    <dgm:pt modelId="{C0FE7621-7728-4231-9437-1481C90F8943}" type="parTrans" cxnId="{226C41D6-F86F-4B7A-AF51-7796AC9DAEC4}">
      <dgm:prSet/>
      <dgm:spPr/>
      <dgm:t>
        <a:bodyPr/>
        <a:lstStyle/>
        <a:p>
          <a:endParaRPr lang="en-US"/>
        </a:p>
      </dgm:t>
    </dgm:pt>
    <dgm:pt modelId="{FBE9095D-4D39-4DE7-9831-BC8F63BB12D5}" type="sibTrans" cxnId="{226C41D6-F86F-4B7A-AF51-7796AC9DAEC4}">
      <dgm:prSet/>
      <dgm:spPr/>
      <dgm:t>
        <a:bodyPr/>
        <a:lstStyle/>
        <a:p>
          <a:endParaRPr lang="en-US"/>
        </a:p>
      </dgm:t>
    </dgm:pt>
    <dgm:pt modelId="{52A676EB-884B-4DAB-8654-537F15DE3DD9}">
      <dgm:prSet/>
      <dgm:spPr/>
      <dgm:t>
        <a:bodyPr/>
        <a:lstStyle/>
        <a:p>
          <a:pPr>
            <a:lnSpc>
              <a:spcPct val="100000"/>
            </a:lnSpc>
          </a:pPr>
          <a:r>
            <a:rPr lang="en-US"/>
            <a:t>Helps others</a:t>
          </a:r>
        </a:p>
      </dgm:t>
    </dgm:pt>
    <dgm:pt modelId="{E4E92E76-73AC-4A45-B9EE-05CDB77650C8}" type="parTrans" cxnId="{4BA75D5D-D74C-4CB0-B2BF-0554C5280D5B}">
      <dgm:prSet/>
      <dgm:spPr/>
      <dgm:t>
        <a:bodyPr/>
        <a:lstStyle/>
        <a:p>
          <a:endParaRPr lang="en-US"/>
        </a:p>
      </dgm:t>
    </dgm:pt>
    <dgm:pt modelId="{B251C4F6-527F-4C72-825C-7EB5E9E1C8C6}" type="sibTrans" cxnId="{4BA75D5D-D74C-4CB0-B2BF-0554C5280D5B}">
      <dgm:prSet/>
      <dgm:spPr/>
      <dgm:t>
        <a:bodyPr/>
        <a:lstStyle/>
        <a:p>
          <a:endParaRPr lang="en-US"/>
        </a:p>
      </dgm:t>
    </dgm:pt>
    <dgm:pt modelId="{D12FDDF0-14E8-4085-B6ED-D2FFE23DBE44}">
      <dgm:prSet/>
      <dgm:spPr/>
      <dgm:t>
        <a:bodyPr/>
        <a:lstStyle/>
        <a:p>
          <a:pPr>
            <a:lnSpc>
              <a:spcPct val="100000"/>
            </a:lnSpc>
          </a:pPr>
          <a:r>
            <a:rPr lang="en-US"/>
            <a:t>Understands the business and it’s processes</a:t>
          </a:r>
        </a:p>
      </dgm:t>
    </dgm:pt>
    <dgm:pt modelId="{383C5BF7-A840-449C-A91B-B9722D4A4566}" type="parTrans" cxnId="{AAD1D2A2-E7C1-4E21-9529-AEA2CEF45283}">
      <dgm:prSet/>
      <dgm:spPr/>
      <dgm:t>
        <a:bodyPr/>
        <a:lstStyle/>
        <a:p>
          <a:endParaRPr lang="en-US"/>
        </a:p>
      </dgm:t>
    </dgm:pt>
    <dgm:pt modelId="{C3C535D8-953F-41C4-B934-47E8B3F1E1C6}" type="sibTrans" cxnId="{AAD1D2A2-E7C1-4E21-9529-AEA2CEF45283}">
      <dgm:prSet/>
      <dgm:spPr/>
      <dgm:t>
        <a:bodyPr/>
        <a:lstStyle/>
        <a:p>
          <a:endParaRPr lang="en-US"/>
        </a:p>
      </dgm:t>
    </dgm:pt>
    <dgm:pt modelId="{EC6AFED1-2984-4FD0-8922-05E2C662663C}">
      <dgm:prSet/>
      <dgm:spPr/>
      <dgm:t>
        <a:bodyPr/>
        <a:lstStyle/>
        <a:p>
          <a:pPr>
            <a:lnSpc>
              <a:spcPct val="100000"/>
            </a:lnSpc>
          </a:pPr>
          <a:r>
            <a:rPr lang="en-US"/>
            <a:t>Can create automation (processes)</a:t>
          </a:r>
        </a:p>
      </dgm:t>
    </dgm:pt>
    <dgm:pt modelId="{8FB3B5D2-FD57-4E80-A583-75AB9725857E}" type="parTrans" cxnId="{F2C32B91-7BEA-4F4E-B6E2-C71A6B486EBA}">
      <dgm:prSet/>
      <dgm:spPr/>
      <dgm:t>
        <a:bodyPr/>
        <a:lstStyle/>
        <a:p>
          <a:endParaRPr lang="en-US"/>
        </a:p>
      </dgm:t>
    </dgm:pt>
    <dgm:pt modelId="{C64BA9BB-4B23-4C46-BB99-F535A9BF7CAF}" type="sibTrans" cxnId="{F2C32B91-7BEA-4F4E-B6E2-C71A6B486EBA}">
      <dgm:prSet/>
      <dgm:spPr/>
      <dgm:t>
        <a:bodyPr/>
        <a:lstStyle/>
        <a:p>
          <a:endParaRPr lang="en-US"/>
        </a:p>
      </dgm:t>
    </dgm:pt>
    <dgm:pt modelId="{BECB0FF8-4417-47C4-8FCA-15191F82B3BD}" type="pres">
      <dgm:prSet presAssocID="{FAA9A586-F6B9-4824-99A5-AEABC2D90E93}" presName="root" presStyleCnt="0">
        <dgm:presLayoutVars>
          <dgm:dir/>
          <dgm:resizeHandles val="exact"/>
        </dgm:presLayoutVars>
      </dgm:prSet>
      <dgm:spPr/>
    </dgm:pt>
    <dgm:pt modelId="{E0622A6B-3824-49BC-955C-9DA6ACB7ACA4}" type="pres">
      <dgm:prSet presAssocID="{96BFB9B1-B78E-4CD8-85F1-F313772D8CE1}" presName="compNode" presStyleCnt="0"/>
      <dgm:spPr/>
    </dgm:pt>
    <dgm:pt modelId="{7C66B254-0967-469B-895E-5EFCBA6E4F4C}" type="pres">
      <dgm:prSet presAssocID="{96BFB9B1-B78E-4CD8-85F1-F313772D8CE1}" presName="bgRect" presStyleLbl="bgShp" presStyleIdx="0" presStyleCnt="5"/>
      <dgm:spPr/>
    </dgm:pt>
    <dgm:pt modelId="{0734F4C8-FA9E-4465-B1EB-315B848E16A3}" type="pres">
      <dgm:prSet presAssocID="{96BFB9B1-B78E-4CD8-85F1-F313772D8CE1}" presName="iconRect" presStyleLbl="node1" presStyleIdx="0" presStyleCnt="5"/>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a:noFill/>
        </a:ln>
      </dgm:spPr>
      <dgm:extLst>
        <a:ext uri="{E40237B7-FDA0-4F09-8148-C483321AD2D9}">
          <dgm14:cNvPr xmlns:dgm14="http://schemas.microsoft.com/office/drawing/2010/diagram" id="0" name="" descr="RopeKnot"/>
        </a:ext>
      </dgm:extLst>
    </dgm:pt>
    <dgm:pt modelId="{CEC15E38-6DE6-47E4-A0E7-3C2ED21983BA}" type="pres">
      <dgm:prSet presAssocID="{96BFB9B1-B78E-4CD8-85F1-F313772D8CE1}" presName="spaceRect" presStyleCnt="0"/>
      <dgm:spPr/>
    </dgm:pt>
    <dgm:pt modelId="{8D4734EE-7BAC-4772-A261-C66882597259}" type="pres">
      <dgm:prSet presAssocID="{96BFB9B1-B78E-4CD8-85F1-F313772D8CE1}" presName="parTx" presStyleLbl="revTx" presStyleIdx="0" presStyleCnt="5">
        <dgm:presLayoutVars>
          <dgm:chMax val="0"/>
          <dgm:chPref val="0"/>
        </dgm:presLayoutVars>
      </dgm:prSet>
      <dgm:spPr/>
    </dgm:pt>
    <dgm:pt modelId="{887D2847-494E-4979-9E1A-4253F20B2C0A}" type="pres">
      <dgm:prSet presAssocID="{C7F102B1-8348-49F8-B633-BE6E4835B688}" presName="sibTrans" presStyleCnt="0"/>
      <dgm:spPr/>
    </dgm:pt>
    <dgm:pt modelId="{0FD51044-C578-4A27-92AD-36873F9A84BE}" type="pres">
      <dgm:prSet presAssocID="{C4245813-66AE-4F5C-80E6-8BC7AB4BA308}" presName="compNode" presStyleCnt="0"/>
      <dgm:spPr/>
    </dgm:pt>
    <dgm:pt modelId="{32F6DC16-1B1B-4DDA-AB8A-55CCE37FD2E9}" type="pres">
      <dgm:prSet presAssocID="{C4245813-66AE-4F5C-80E6-8BC7AB4BA308}" presName="bgRect" presStyleLbl="bgShp" presStyleIdx="1" presStyleCnt="5"/>
      <dgm:spPr/>
    </dgm:pt>
    <dgm:pt modelId="{3439B13C-0EBD-49C3-AAD2-AEC85093945B}" type="pres">
      <dgm:prSet presAssocID="{C4245813-66AE-4F5C-80E6-8BC7AB4BA308}" presName="iconRect" presStyleLbl="node1" presStyleIdx="1" presStyleCnt="5"/>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dgm:spPr>
      <dgm:extLst>
        <a:ext uri="{E40237B7-FDA0-4F09-8148-C483321AD2D9}">
          <dgm14:cNvPr xmlns:dgm14="http://schemas.microsoft.com/office/drawing/2010/diagram" id="0" name="" descr="Head with Gears"/>
        </a:ext>
      </dgm:extLst>
    </dgm:pt>
    <dgm:pt modelId="{4B9E9403-EC3A-4E62-A354-C535697D295B}" type="pres">
      <dgm:prSet presAssocID="{C4245813-66AE-4F5C-80E6-8BC7AB4BA308}" presName="spaceRect" presStyleCnt="0"/>
      <dgm:spPr/>
    </dgm:pt>
    <dgm:pt modelId="{D8334F7F-807E-4BCD-8707-343BE21133B1}" type="pres">
      <dgm:prSet presAssocID="{C4245813-66AE-4F5C-80E6-8BC7AB4BA308}" presName="parTx" presStyleLbl="revTx" presStyleIdx="1" presStyleCnt="5">
        <dgm:presLayoutVars>
          <dgm:chMax val="0"/>
          <dgm:chPref val="0"/>
        </dgm:presLayoutVars>
      </dgm:prSet>
      <dgm:spPr/>
    </dgm:pt>
    <dgm:pt modelId="{1D24B19F-11A3-4A0F-9819-FC6C76C38302}" type="pres">
      <dgm:prSet presAssocID="{FBE9095D-4D39-4DE7-9831-BC8F63BB12D5}" presName="sibTrans" presStyleCnt="0"/>
      <dgm:spPr/>
    </dgm:pt>
    <dgm:pt modelId="{0649A5D6-66C4-4245-9F4A-B78A12260805}" type="pres">
      <dgm:prSet presAssocID="{52A676EB-884B-4DAB-8654-537F15DE3DD9}" presName="compNode" presStyleCnt="0"/>
      <dgm:spPr/>
    </dgm:pt>
    <dgm:pt modelId="{215A8E32-2B79-4F69-B4AB-935A53065F6B}" type="pres">
      <dgm:prSet presAssocID="{52A676EB-884B-4DAB-8654-537F15DE3DD9}" presName="bgRect" presStyleLbl="bgShp" presStyleIdx="2" presStyleCnt="5"/>
      <dgm:spPr/>
    </dgm:pt>
    <dgm:pt modelId="{51456B70-F583-4360-8822-20D27519A95E}" type="pres">
      <dgm:prSet presAssocID="{52A676EB-884B-4DAB-8654-537F15DE3DD9}" presName="iconRect" presStyleLbl="node1" presStyleIdx="2" presStyleCnt="5"/>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a:noFill/>
        </a:ln>
      </dgm:spPr>
      <dgm:extLst>
        <a:ext uri="{E40237B7-FDA0-4F09-8148-C483321AD2D9}">
          <dgm14:cNvPr xmlns:dgm14="http://schemas.microsoft.com/office/drawing/2010/diagram" id="0" name="" descr="Group"/>
        </a:ext>
      </dgm:extLst>
    </dgm:pt>
    <dgm:pt modelId="{542DFA5D-A887-405D-9FB7-25F7F218F74A}" type="pres">
      <dgm:prSet presAssocID="{52A676EB-884B-4DAB-8654-537F15DE3DD9}" presName="spaceRect" presStyleCnt="0"/>
      <dgm:spPr/>
    </dgm:pt>
    <dgm:pt modelId="{B14E4011-ECE9-49FA-BC21-C3211BDE0944}" type="pres">
      <dgm:prSet presAssocID="{52A676EB-884B-4DAB-8654-537F15DE3DD9}" presName="parTx" presStyleLbl="revTx" presStyleIdx="2" presStyleCnt="5">
        <dgm:presLayoutVars>
          <dgm:chMax val="0"/>
          <dgm:chPref val="0"/>
        </dgm:presLayoutVars>
      </dgm:prSet>
      <dgm:spPr/>
    </dgm:pt>
    <dgm:pt modelId="{39447C3F-0AB8-48A9-BB55-D0098A18B843}" type="pres">
      <dgm:prSet presAssocID="{B251C4F6-527F-4C72-825C-7EB5E9E1C8C6}" presName="sibTrans" presStyleCnt="0"/>
      <dgm:spPr/>
    </dgm:pt>
    <dgm:pt modelId="{1B50C6C5-43DD-400C-BFB7-701E4CD93808}" type="pres">
      <dgm:prSet presAssocID="{D12FDDF0-14E8-4085-B6ED-D2FFE23DBE44}" presName="compNode" presStyleCnt="0"/>
      <dgm:spPr/>
    </dgm:pt>
    <dgm:pt modelId="{192DC5DB-6B46-40E0-AC30-C3C4F87867E7}" type="pres">
      <dgm:prSet presAssocID="{D12FDDF0-14E8-4085-B6ED-D2FFE23DBE44}" presName="bgRect" presStyleLbl="bgShp" presStyleIdx="3" presStyleCnt="5"/>
      <dgm:spPr/>
    </dgm:pt>
    <dgm:pt modelId="{62CC14E3-7A44-432F-A38A-680DAC5F3AF6}" type="pres">
      <dgm:prSet presAssocID="{D12FDDF0-14E8-4085-B6ED-D2FFE23DBE44}" presName="iconRect" presStyleLbl="node1" presStyleIdx="3" presStyleCnt="5"/>
      <dgm:spPr>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a:noFill/>
        </a:ln>
      </dgm:spPr>
      <dgm:extLst>
        <a:ext uri="{E40237B7-FDA0-4F09-8148-C483321AD2D9}">
          <dgm14:cNvPr xmlns:dgm14="http://schemas.microsoft.com/office/drawing/2010/diagram" id="0" name="" descr="Gears"/>
        </a:ext>
      </dgm:extLst>
    </dgm:pt>
    <dgm:pt modelId="{C22EA828-E1C4-4C2A-8678-AC7AD2E7FFF6}" type="pres">
      <dgm:prSet presAssocID="{D12FDDF0-14E8-4085-B6ED-D2FFE23DBE44}" presName="spaceRect" presStyleCnt="0"/>
      <dgm:spPr/>
    </dgm:pt>
    <dgm:pt modelId="{7523455E-20EC-4E11-A940-43DCF903B3B5}" type="pres">
      <dgm:prSet presAssocID="{D12FDDF0-14E8-4085-B6ED-D2FFE23DBE44}" presName="parTx" presStyleLbl="revTx" presStyleIdx="3" presStyleCnt="5">
        <dgm:presLayoutVars>
          <dgm:chMax val="0"/>
          <dgm:chPref val="0"/>
        </dgm:presLayoutVars>
      </dgm:prSet>
      <dgm:spPr/>
    </dgm:pt>
    <dgm:pt modelId="{77D26CD6-C01D-4878-AD82-332DB56BC490}" type="pres">
      <dgm:prSet presAssocID="{C3C535D8-953F-41C4-B934-47E8B3F1E1C6}" presName="sibTrans" presStyleCnt="0"/>
      <dgm:spPr/>
    </dgm:pt>
    <dgm:pt modelId="{F2437A16-B881-4D66-B4CA-C0A4F1835766}" type="pres">
      <dgm:prSet presAssocID="{EC6AFED1-2984-4FD0-8922-05E2C662663C}" presName="compNode" presStyleCnt="0"/>
      <dgm:spPr/>
    </dgm:pt>
    <dgm:pt modelId="{CEECAC2C-E6B1-43A7-919E-8796FABB8700}" type="pres">
      <dgm:prSet presAssocID="{EC6AFED1-2984-4FD0-8922-05E2C662663C}" presName="bgRect" presStyleLbl="bgShp" presStyleIdx="4" presStyleCnt="5"/>
      <dgm:spPr/>
    </dgm:pt>
    <dgm:pt modelId="{C6B81338-102A-4814-BAC4-BE66F21BBBFE}" type="pres">
      <dgm:prSet presAssocID="{EC6AFED1-2984-4FD0-8922-05E2C662663C}" presName="iconRect" presStyleLbl="node1" presStyleIdx="4" presStyleCnt="5"/>
      <dgm:spPr>
        <a:blipFill>
          <a:blip xmlns:r="http://schemas.openxmlformats.org/officeDocument/2006/relationships"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a:blipFill>
        <a:ln>
          <a:noFill/>
        </a:ln>
      </dgm:spPr>
      <dgm:extLst>
        <a:ext uri="{E40237B7-FDA0-4F09-8148-C483321AD2D9}">
          <dgm14:cNvPr xmlns:dgm14="http://schemas.microsoft.com/office/drawing/2010/diagram" id="0" name="" descr="Robot"/>
        </a:ext>
      </dgm:extLst>
    </dgm:pt>
    <dgm:pt modelId="{64819F51-4EF8-45EC-B350-2055CED50BBC}" type="pres">
      <dgm:prSet presAssocID="{EC6AFED1-2984-4FD0-8922-05E2C662663C}" presName="spaceRect" presStyleCnt="0"/>
      <dgm:spPr/>
    </dgm:pt>
    <dgm:pt modelId="{B79015ED-2EB4-4B59-BECE-FD1D1DE36623}" type="pres">
      <dgm:prSet presAssocID="{EC6AFED1-2984-4FD0-8922-05E2C662663C}" presName="parTx" presStyleLbl="revTx" presStyleIdx="4" presStyleCnt="5">
        <dgm:presLayoutVars>
          <dgm:chMax val="0"/>
          <dgm:chPref val="0"/>
        </dgm:presLayoutVars>
      </dgm:prSet>
      <dgm:spPr/>
    </dgm:pt>
  </dgm:ptLst>
  <dgm:cxnLst>
    <dgm:cxn modelId="{08438417-38F7-4AAF-8E46-98E9213F941F}" type="presOf" srcId="{EC6AFED1-2984-4FD0-8922-05E2C662663C}" destId="{B79015ED-2EB4-4B59-BECE-FD1D1DE36623}" srcOrd="0" destOrd="0" presId="urn:microsoft.com/office/officeart/2018/2/layout/IconVerticalSolidList"/>
    <dgm:cxn modelId="{11246334-ECDE-4E04-84C8-83F016E8E6D5}" type="presOf" srcId="{FAA9A586-F6B9-4824-99A5-AEABC2D90E93}" destId="{BECB0FF8-4417-47C4-8FCA-15191F82B3BD}" srcOrd="0" destOrd="0" presId="urn:microsoft.com/office/officeart/2018/2/layout/IconVerticalSolidList"/>
    <dgm:cxn modelId="{4BA75D5D-D74C-4CB0-B2BF-0554C5280D5B}" srcId="{FAA9A586-F6B9-4824-99A5-AEABC2D90E93}" destId="{52A676EB-884B-4DAB-8654-537F15DE3DD9}" srcOrd="2" destOrd="0" parTransId="{E4E92E76-73AC-4A45-B9EE-05CDB77650C8}" sibTransId="{B251C4F6-527F-4C72-825C-7EB5E9E1C8C6}"/>
    <dgm:cxn modelId="{77697C66-6D76-4590-AF13-0EA1E39A63C1}" type="presOf" srcId="{C4245813-66AE-4F5C-80E6-8BC7AB4BA308}" destId="{D8334F7F-807E-4BCD-8707-343BE21133B1}" srcOrd="0" destOrd="0" presId="urn:microsoft.com/office/officeart/2018/2/layout/IconVerticalSolidList"/>
    <dgm:cxn modelId="{F2C32B91-7BEA-4F4E-B6E2-C71A6B486EBA}" srcId="{FAA9A586-F6B9-4824-99A5-AEABC2D90E93}" destId="{EC6AFED1-2984-4FD0-8922-05E2C662663C}" srcOrd="4" destOrd="0" parTransId="{8FB3B5D2-FD57-4E80-A583-75AB9725857E}" sibTransId="{C64BA9BB-4B23-4C46-BB99-F535A9BF7CAF}"/>
    <dgm:cxn modelId="{AAD1D2A2-E7C1-4E21-9529-AEA2CEF45283}" srcId="{FAA9A586-F6B9-4824-99A5-AEABC2D90E93}" destId="{D12FDDF0-14E8-4085-B6ED-D2FFE23DBE44}" srcOrd="3" destOrd="0" parTransId="{383C5BF7-A840-449C-A91B-B9722D4A4566}" sibTransId="{C3C535D8-953F-41C4-B934-47E8B3F1E1C6}"/>
    <dgm:cxn modelId="{D342D4A3-2357-41C2-B76C-DDDA63032757}" type="presOf" srcId="{D12FDDF0-14E8-4085-B6ED-D2FFE23DBE44}" destId="{7523455E-20EC-4E11-A940-43DCF903B3B5}" srcOrd="0" destOrd="0" presId="urn:microsoft.com/office/officeart/2018/2/layout/IconVerticalSolidList"/>
    <dgm:cxn modelId="{69CF5FAF-EE1A-4C7F-8758-D97FC3BD4371}" srcId="{FAA9A586-F6B9-4824-99A5-AEABC2D90E93}" destId="{96BFB9B1-B78E-4CD8-85F1-F313772D8CE1}" srcOrd="0" destOrd="0" parTransId="{1D2490E7-CA25-433C-A218-0412D936F420}" sibTransId="{C7F102B1-8348-49F8-B633-BE6E4835B688}"/>
    <dgm:cxn modelId="{226C41D6-F86F-4B7A-AF51-7796AC9DAEC4}" srcId="{FAA9A586-F6B9-4824-99A5-AEABC2D90E93}" destId="{C4245813-66AE-4F5C-80E6-8BC7AB4BA308}" srcOrd="1" destOrd="0" parTransId="{C0FE7621-7728-4231-9437-1481C90F8943}" sibTransId="{FBE9095D-4D39-4DE7-9831-BC8F63BB12D5}"/>
    <dgm:cxn modelId="{D92480E7-6D65-434E-BBD3-C8EA0FB74AC2}" type="presOf" srcId="{96BFB9B1-B78E-4CD8-85F1-F313772D8CE1}" destId="{8D4734EE-7BAC-4772-A261-C66882597259}" srcOrd="0" destOrd="0" presId="urn:microsoft.com/office/officeart/2018/2/layout/IconVerticalSolidList"/>
    <dgm:cxn modelId="{68C1D3EC-5D21-473E-8411-CAA8741C4390}" type="presOf" srcId="{52A676EB-884B-4DAB-8654-537F15DE3DD9}" destId="{B14E4011-ECE9-49FA-BC21-C3211BDE0944}" srcOrd="0" destOrd="0" presId="urn:microsoft.com/office/officeart/2018/2/layout/IconVerticalSolidList"/>
    <dgm:cxn modelId="{A9D1B37A-FE79-456F-AF4A-14F5AED690F3}" type="presParOf" srcId="{BECB0FF8-4417-47C4-8FCA-15191F82B3BD}" destId="{E0622A6B-3824-49BC-955C-9DA6ACB7ACA4}" srcOrd="0" destOrd="0" presId="urn:microsoft.com/office/officeart/2018/2/layout/IconVerticalSolidList"/>
    <dgm:cxn modelId="{F8392A8F-4004-4177-A20F-4A3EFDF2BA33}" type="presParOf" srcId="{E0622A6B-3824-49BC-955C-9DA6ACB7ACA4}" destId="{7C66B254-0967-469B-895E-5EFCBA6E4F4C}" srcOrd="0" destOrd="0" presId="urn:microsoft.com/office/officeart/2018/2/layout/IconVerticalSolidList"/>
    <dgm:cxn modelId="{BA540B72-EA61-4E16-A40B-47425809BF5F}" type="presParOf" srcId="{E0622A6B-3824-49BC-955C-9DA6ACB7ACA4}" destId="{0734F4C8-FA9E-4465-B1EB-315B848E16A3}" srcOrd="1" destOrd="0" presId="urn:microsoft.com/office/officeart/2018/2/layout/IconVerticalSolidList"/>
    <dgm:cxn modelId="{6D385DE4-89FC-4754-965E-D1D1D39F2E6C}" type="presParOf" srcId="{E0622A6B-3824-49BC-955C-9DA6ACB7ACA4}" destId="{CEC15E38-6DE6-47E4-A0E7-3C2ED21983BA}" srcOrd="2" destOrd="0" presId="urn:microsoft.com/office/officeart/2018/2/layout/IconVerticalSolidList"/>
    <dgm:cxn modelId="{527BB314-12D0-4A6C-808F-00199BC468B9}" type="presParOf" srcId="{E0622A6B-3824-49BC-955C-9DA6ACB7ACA4}" destId="{8D4734EE-7BAC-4772-A261-C66882597259}" srcOrd="3" destOrd="0" presId="urn:microsoft.com/office/officeart/2018/2/layout/IconVerticalSolidList"/>
    <dgm:cxn modelId="{BB3F8994-FEE6-42EB-8F4C-AFA8949CE89B}" type="presParOf" srcId="{BECB0FF8-4417-47C4-8FCA-15191F82B3BD}" destId="{887D2847-494E-4979-9E1A-4253F20B2C0A}" srcOrd="1" destOrd="0" presId="urn:microsoft.com/office/officeart/2018/2/layout/IconVerticalSolidList"/>
    <dgm:cxn modelId="{5718F3C2-6A09-4E47-841C-5B074F2DF641}" type="presParOf" srcId="{BECB0FF8-4417-47C4-8FCA-15191F82B3BD}" destId="{0FD51044-C578-4A27-92AD-36873F9A84BE}" srcOrd="2" destOrd="0" presId="urn:microsoft.com/office/officeart/2018/2/layout/IconVerticalSolidList"/>
    <dgm:cxn modelId="{854323A1-4A49-434D-A4E5-3DC8EAD56E0E}" type="presParOf" srcId="{0FD51044-C578-4A27-92AD-36873F9A84BE}" destId="{32F6DC16-1B1B-4DDA-AB8A-55CCE37FD2E9}" srcOrd="0" destOrd="0" presId="urn:microsoft.com/office/officeart/2018/2/layout/IconVerticalSolidList"/>
    <dgm:cxn modelId="{8FEEE164-8C0C-47E1-B928-B11BC419FE90}" type="presParOf" srcId="{0FD51044-C578-4A27-92AD-36873F9A84BE}" destId="{3439B13C-0EBD-49C3-AAD2-AEC85093945B}" srcOrd="1" destOrd="0" presId="urn:microsoft.com/office/officeart/2018/2/layout/IconVerticalSolidList"/>
    <dgm:cxn modelId="{19618E2D-0794-47F9-8710-68E985966823}" type="presParOf" srcId="{0FD51044-C578-4A27-92AD-36873F9A84BE}" destId="{4B9E9403-EC3A-4E62-A354-C535697D295B}" srcOrd="2" destOrd="0" presId="urn:microsoft.com/office/officeart/2018/2/layout/IconVerticalSolidList"/>
    <dgm:cxn modelId="{F09BDFF7-0207-4965-ACFF-84CE25E1714E}" type="presParOf" srcId="{0FD51044-C578-4A27-92AD-36873F9A84BE}" destId="{D8334F7F-807E-4BCD-8707-343BE21133B1}" srcOrd="3" destOrd="0" presId="urn:microsoft.com/office/officeart/2018/2/layout/IconVerticalSolidList"/>
    <dgm:cxn modelId="{D9A24B9A-41AC-44C0-A759-54962C66BF86}" type="presParOf" srcId="{BECB0FF8-4417-47C4-8FCA-15191F82B3BD}" destId="{1D24B19F-11A3-4A0F-9819-FC6C76C38302}" srcOrd="3" destOrd="0" presId="urn:microsoft.com/office/officeart/2018/2/layout/IconVerticalSolidList"/>
    <dgm:cxn modelId="{FFC803A3-9AB6-4038-86E7-3A8F43145FE2}" type="presParOf" srcId="{BECB0FF8-4417-47C4-8FCA-15191F82B3BD}" destId="{0649A5D6-66C4-4245-9F4A-B78A12260805}" srcOrd="4" destOrd="0" presId="urn:microsoft.com/office/officeart/2018/2/layout/IconVerticalSolidList"/>
    <dgm:cxn modelId="{7227FAA9-0784-45EF-B7AB-B67899462919}" type="presParOf" srcId="{0649A5D6-66C4-4245-9F4A-B78A12260805}" destId="{215A8E32-2B79-4F69-B4AB-935A53065F6B}" srcOrd="0" destOrd="0" presId="urn:microsoft.com/office/officeart/2018/2/layout/IconVerticalSolidList"/>
    <dgm:cxn modelId="{BA1B75A9-FDA1-4864-BF0F-4B4AEA4F2077}" type="presParOf" srcId="{0649A5D6-66C4-4245-9F4A-B78A12260805}" destId="{51456B70-F583-4360-8822-20D27519A95E}" srcOrd="1" destOrd="0" presId="urn:microsoft.com/office/officeart/2018/2/layout/IconVerticalSolidList"/>
    <dgm:cxn modelId="{1DA903B3-C10E-455A-9455-E410A219877F}" type="presParOf" srcId="{0649A5D6-66C4-4245-9F4A-B78A12260805}" destId="{542DFA5D-A887-405D-9FB7-25F7F218F74A}" srcOrd="2" destOrd="0" presId="urn:microsoft.com/office/officeart/2018/2/layout/IconVerticalSolidList"/>
    <dgm:cxn modelId="{89FC1A5F-C2B3-46BA-8715-F00140E02509}" type="presParOf" srcId="{0649A5D6-66C4-4245-9F4A-B78A12260805}" destId="{B14E4011-ECE9-49FA-BC21-C3211BDE0944}" srcOrd="3" destOrd="0" presId="urn:microsoft.com/office/officeart/2018/2/layout/IconVerticalSolidList"/>
    <dgm:cxn modelId="{0E52C552-A935-44C4-97FA-24933C1504FE}" type="presParOf" srcId="{BECB0FF8-4417-47C4-8FCA-15191F82B3BD}" destId="{39447C3F-0AB8-48A9-BB55-D0098A18B843}" srcOrd="5" destOrd="0" presId="urn:microsoft.com/office/officeart/2018/2/layout/IconVerticalSolidList"/>
    <dgm:cxn modelId="{D6D8C346-8925-4D19-BD2A-CD6132B07A68}" type="presParOf" srcId="{BECB0FF8-4417-47C4-8FCA-15191F82B3BD}" destId="{1B50C6C5-43DD-400C-BFB7-701E4CD93808}" srcOrd="6" destOrd="0" presId="urn:microsoft.com/office/officeart/2018/2/layout/IconVerticalSolidList"/>
    <dgm:cxn modelId="{8BFD78F2-C5EB-48EC-ACF2-54B6819767ED}" type="presParOf" srcId="{1B50C6C5-43DD-400C-BFB7-701E4CD93808}" destId="{192DC5DB-6B46-40E0-AC30-C3C4F87867E7}" srcOrd="0" destOrd="0" presId="urn:microsoft.com/office/officeart/2018/2/layout/IconVerticalSolidList"/>
    <dgm:cxn modelId="{0E789C00-FC94-4F74-993E-4336651AA3E6}" type="presParOf" srcId="{1B50C6C5-43DD-400C-BFB7-701E4CD93808}" destId="{62CC14E3-7A44-432F-A38A-680DAC5F3AF6}" srcOrd="1" destOrd="0" presId="urn:microsoft.com/office/officeart/2018/2/layout/IconVerticalSolidList"/>
    <dgm:cxn modelId="{27971D47-EA4F-47DE-941C-A6AC36699AD6}" type="presParOf" srcId="{1B50C6C5-43DD-400C-BFB7-701E4CD93808}" destId="{C22EA828-E1C4-4C2A-8678-AC7AD2E7FFF6}" srcOrd="2" destOrd="0" presId="urn:microsoft.com/office/officeart/2018/2/layout/IconVerticalSolidList"/>
    <dgm:cxn modelId="{B0C3B6E4-EA25-473C-A396-10C7FF7ABB21}" type="presParOf" srcId="{1B50C6C5-43DD-400C-BFB7-701E4CD93808}" destId="{7523455E-20EC-4E11-A940-43DCF903B3B5}" srcOrd="3" destOrd="0" presId="urn:microsoft.com/office/officeart/2018/2/layout/IconVerticalSolidList"/>
    <dgm:cxn modelId="{97E5D1BA-F228-4621-9DAB-D965BDAC7D23}" type="presParOf" srcId="{BECB0FF8-4417-47C4-8FCA-15191F82B3BD}" destId="{77D26CD6-C01D-4878-AD82-332DB56BC490}" srcOrd="7" destOrd="0" presId="urn:microsoft.com/office/officeart/2018/2/layout/IconVerticalSolidList"/>
    <dgm:cxn modelId="{90730B06-EBB6-471B-833F-758254768D70}" type="presParOf" srcId="{BECB0FF8-4417-47C4-8FCA-15191F82B3BD}" destId="{F2437A16-B881-4D66-B4CA-C0A4F1835766}" srcOrd="8" destOrd="0" presId="urn:microsoft.com/office/officeart/2018/2/layout/IconVerticalSolidList"/>
    <dgm:cxn modelId="{94564DC9-FF7F-4548-B817-19CAD1E017A1}" type="presParOf" srcId="{F2437A16-B881-4D66-B4CA-C0A4F1835766}" destId="{CEECAC2C-E6B1-43A7-919E-8796FABB8700}" srcOrd="0" destOrd="0" presId="urn:microsoft.com/office/officeart/2018/2/layout/IconVerticalSolidList"/>
    <dgm:cxn modelId="{389361AD-4EB6-4904-A963-1337ADE7E196}" type="presParOf" srcId="{F2437A16-B881-4D66-B4CA-C0A4F1835766}" destId="{C6B81338-102A-4814-BAC4-BE66F21BBBFE}" srcOrd="1" destOrd="0" presId="urn:microsoft.com/office/officeart/2018/2/layout/IconVerticalSolidList"/>
    <dgm:cxn modelId="{C1987110-043C-4527-BE10-5CFB76DAB129}" type="presParOf" srcId="{F2437A16-B881-4D66-B4CA-C0A4F1835766}" destId="{64819F51-4EF8-45EC-B350-2055CED50BBC}" srcOrd="2" destOrd="0" presId="urn:microsoft.com/office/officeart/2018/2/layout/IconVerticalSolidList"/>
    <dgm:cxn modelId="{F57FB6A9-2CA8-486C-8588-3A2E93B2C84E}" type="presParOf" srcId="{F2437A16-B881-4D66-B4CA-C0A4F1835766}" destId="{B79015ED-2EB4-4B59-BECE-FD1D1DE36623}" srcOrd="3" destOrd="0" presId="urn:microsoft.com/office/officeart/2018/2/layout/IconVerticalSolid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C249716E-EF3F-4BC1-93C1-59D0EC4FFC3D}" type="doc">
      <dgm:prSet loTypeId="urn:microsoft.com/office/officeart/2018/2/layout/IconVerticalSolidList" loCatId="icon" qsTypeId="urn:microsoft.com/office/officeart/2005/8/quickstyle/simple1" qsCatId="simple" csTypeId="urn:microsoft.com/office/officeart/2018/5/colors/Iconchunking_neutralbg_colorful5" csCatId="colorful" phldr="1"/>
      <dgm:spPr/>
      <dgm:t>
        <a:bodyPr/>
        <a:lstStyle/>
        <a:p>
          <a:endParaRPr lang="en-US"/>
        </a:p>
      </dgm:t>
    </dgm:pt>
    <dgm:pt modelId="{283A3564-6601-4708-B54A-FFDF02DC6147}">
      <dgm:prSet/>
      <dgm:spPr/>
      <dgm:t>
        <a:bodyPr/>
        <a:lstStyle/>
        <a:p>
          <a:r>
            <a:rPr lang="en-US"/>
            <a:t>Builds on the power-user skills</a:t>
          </a:r>
        </a:p>
      </dgm:t>
    </dgm:pt>
    <dgm:pt modelId="{40318D2D-9E1D-4B9A-B77F-94BEAE92FC95}" type="parTrans" cxnId="{822FA720-92AD-43B9-9E51-BFAC97FB820B}">
      <dgm:prSet/>
      <dgm:spPr/>
      <dgm:t>
        <a:bodyPr/>
        <a:lstStyle/>
        <a:p>
          <a:endParaRPr lang="en-US"/>
        </a:p>
      </dgm:t>
    </dgm:pt>
    <dgm:pt modelId="{507C8B42-3E01-4C68-9DD6-2740D8B3947B}" type="sibTrans" cxnId="{822FA720-92AD-43B9-9E51-BFAC97FB820B}">
      <dgm:prSet/>
      <dgm:spPr/>
      <dgm:t>
        <a:bodyPr/>
        <a:lstStyle/>
        <a:p>
          <a:endParaRPr lang="en-US"/>
        </a:p>
      </dgm:t>
    </dgm:pt>
    <dgm:pt modelId="{3A6EEE5A-4222-4D6C-85C2-BCDB43ED3507}">
      <dgm:prSet/>
      <dgm:spPr/>
      <dgm:t>
        <a:bodyPr/>
        <a:lstStyle/>
        <a:p>
          <a:r>
            <a:rPr lang="en-US"/>
            <a:t>Adds day-to-day administration abilities</a:t>
          </a:r>
        </a:p>
      </dgm:t>
    </dgm:pt>
    <dgm:pt modelId="{3462FB2B-BA3C-42C1-97F4-6FCB89D02E56}" type="parTrans" cxnId="{68ACC4D7-D3BB-4C0D-A335-6970A1F3DDDD}">
      <dgm:prSet/>
      <dgm:spPr/>
      <dgm:t>
        <a:bodyPr/>
        <a:lstStyle/>
        <a:p>
          <a:endParaRPr lang="en-US"/>
        </a:p>
      </dgm:t>
    </dgm:pt>
    <dgm:pt modelId="{E89D0EA5-18D0-46D3-AD4C-400D48F1334E}" type="sibTrans" cxnId="{68ACC4D7-D3BB-4C0D-A335-6970A1F3DDDD}">
      <dgm:prSet/>
      <dgm:spPr/>
      <dgm:t>
        <a:bodyPr/>
        <a:lstStyle/>
        <a:p>
          <a:endParaRPr lang="en-US"/>
        </a:p>
      </dgm:t>
    </dgm:pt>
    <dgm:pt modelId="{63733D38-6095-4394-895D-04C8667BD39C}">
      <dgm:prSet/>
      <dgm:spPr/>
      <dgm:t>
        <a:bodyPr/>
        <a:lstStyle/>
        <a:p>
          <a:r>
            <a:rPr lang="en-US"/>
            <a:t>Finds solutions to problems [you didn’t know you had]</a:t>
          </a:r>
        </a:p>
      </dgm:t>
    </dgm:pt>
    <dgm:pt modelId="{4300ED41-4E47-4D54-9371-2714AB6F0DC8}" type="parTrans" cxnId="{A4C6103F-D523-49FC-9046-0D8BE5A67733}">
      <dgm:prSet/>
      <dgm:spPr/>
      <dgm:t>
        <a:bodyPr/>
        <a:lstStyle/>
        <a:p>
          <a:endParaRPr lang="en-US"/>
        </a:p>
      </dgm:t>
    </dgm:pt>
    <dgm:pt modelId="{3948A488-C244-4850-83D5-1C4EF5760F9E}" type="sibTrans" cxnId="{A4C6103F-D523-49FC-9046-0D8BE5A67733}">
      <dgm:prSet/>
      <dgm:spPr/>
      <dgm:t>
        <a:bodyPr/>
        <a:lstStyle/>
        <a:p>
          <a:endParaRPr lang="en-US"/>
        </a:p>
      </dgm:t>
    </dgm:pt>
    <dgm:pt modelId="{502B2592-DA7E-4B1F-9E70-07950226A565}" type="pres">
      <dgm:prSet presAssocID="{C249716E-EF3F-4BC1-93C1-59D0EC4FFC3D}" presName="root" presStyleCnt="0">
        <dgm:presLayoutVars>
          <dgm:dir/>
          <dgm:resizeHandles val="exact"/>
        </dgm:presLayoutVars>
      </dgm:prSet>
      <dgm:spPr/>
    </dgm:pt>
    <dgm:pt modelId="{5E6E2C0A-7D9E-441F-999F-4F61174F5040}" type="pres">
      <dgm:prSet presAssocID="{283A3564-6601-4708-B54A-FFDF02DC6147}" presName="compNode" presStyleCnt="0"/>
      <dgm:spPr/>
    </dgm:pt>
    <dgm:pt modelId="{48502DB3-55B8-41DF-8F77-04F38680D9B6}" type="pres">
      <dgm:prSet presAssocID="{283A3564-6601-4708-B54A-FFDF02DC6147}" presName="bgRect" presStyleLbl="bgShp" presStyleIdx="0" presStyleCnt="3"/>
      <dgm:spPr/>
    </dgm:pt>
    <dgm:pt modelId="{4F8472E0-8BCD-4F29-9606-289227B4B6FA}" type="pres">
      <dgm:prSet presAssocID="{283A3564-6601-4708-B54A-FFDF02DC6147}" presName="iconRect" presStyleLbl="node1" presStyleIdx="0" presStyleCnt="3"/>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a:noFill/>
        </a:ln>
      </dgm:spPr>
      <dgm:extLst>
        <a:ext uri="{E40237B7-FDA0-4F09-8148-C483321AD2D9}">
          <dgm14:cNvPr xmlns:dgm14="http://schemas.microsoft.com/office/drawing/2010/diagram" id="0" name="" descr="Electrician"/>
        </a:ext>
      </dgm:extLst>
    </dgm:pt>
    <dgm:pt modelId="{52D30F16-1E9D-4DBA-96D3-4F7A35DEDA8D}" type="pres">
      <dgm:prSet presAssocID="{283A3564-6601-4708-B54A-FFDF02DC6147}" presName="spaceRect" presStyleCnt="0"/>
      <dgm:spPr/>
    </dgm:pt>
    <dgm:pt modelId="{8E215BA4-BBD2-4494-9CF1-88BB45B9480E}" type="pres">
      <dgm:prSet presAssocID="{283A3564-6601-4708-B54A-FFDF02DC6147}" presName="parTx" presStyleLbl="revTx" presStyleIdx="0" presStyleCnt="3">
        <dgm:presLayoutVars>
          <dgm:chMax val="0"/>
          <dgm:chPref val="0"/>
        </dgm:presLayoutVars>
      </dgm:prSet>
      <dgm:spPr/>
    </dgm:pt>
    <dgm:pt modelId="{84D3EBE9-BD90-4E45-947C-D793C68F3EC4}" type="pres">
      <dgm:prSet presAssocID="{507C8B42-3E01-4C68-9DD6-2740D8B3947B}" presName="sibTrans" presStyleCnt="0"/>
      <dgm:spPr/>
    </dgm:pt>
    <dgm:pt modelId="{C10F7F22-6248-46EA-BD93-10AE8AEB0098}" type="pres">
      <dgm:prSet presAssocID="{3A6EEE5A-4222-4D6C-85C2-BCDB43ED3507}" presName="compNode" presStyleCnt="0"/>
      <dgm:spPr/>
    </dgm:pt>
    <dgm:pt modelId="{1BF1460B-9DC1-41B7-828E-008031505679}" type="pres">
      <dgm:prSet presAssocID="{3A6EEE5A-4222-4D6C-85C2-BCDB43ED3507}" presName="bgRect" presStyleLbl="bgShp" presStyleIdx="1" presStyleCnt="3"/>
      <dgm:spPr/>
    </dgm:pt>
    <dgm:pt modelId="{97D54578-6195-4B61-9D7C-646088AB2A0E}" type="pres">
      <dgm:prSet presAssocID="{3A6EEE5A-4222-4D6C-85C2-BCDB43ED3507}" presName="iconRect" presStyleLbl="node1" presStyleIdx="1" presStyleCnt="3"/>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dgm:spPr>
      <dgm:extLst>
        <a:ext uri="{E40237B7-FDA0-4F09-8148-C483321AD2D9}">
          <dgm14:cNvPr xmlns:dgm14="http://schemas.microsoft.com/office/drawing/2010/diagram" id="0" name="" descr="Monthly calendar"/>
        </a:ext>
      </dgm:extLst>
    </dgm:pt>
    <dgm:pt modelId="{B9876623-1AE9-42BB-92C2-A22897FA7471}" type="pres">
      <dgm:prSet presAssocID="{3A6EEE5A-4222-4D6C-85C2-BCDB43ED3507}" presName="spaceRect" presStyleCnt="0"/>
      <dgm:spPr/>
    </dgm:pt>
    <dgm:pt modelId="{56A48A03-1F93-442F-A1B8-6D009BB1B278}" type="pres">
      <dgm:prSet presAssocID="{3A6EEE5A-4222-4D6C-85C2-BCDB43ED3507}" presName="parTx" presStyleLbl="revTx" presStyleIdx="1" presStyleCnt="3">
        <dgm:presLayoutVars>
          <dgm:chMax val="0"/>
          <dgm:chPref val="0"/>
        </dgm:presLayoutVars>
      </dgm:prSet>
      <dgm:spPr/>
    </dgm:pt>
    <dgm:pt modelId="{58AE191A-4421-4649-8C69-0B05BBC39595}" type="pres">
      <dgm:prSet presAssocID="{E89D0EA5-18D0-46D3-AD4C-400D48F1334E}" presName="sibTrans" presStyleCnt="0"/>
      <dgm:spPr/>
    </dgm:pt>
    <dgm:pt modelId="{DE6B995F-B2EA-499A-9657-FC2B12EFA6ED}" type="pres">
      <dgm:prSet presAssocID="{63733D38-6095-4394-895D-04C8667BD39C}" presName="compNode" presStyleCnt="0"/>
      <dgm:spPr/>
    </dgm:pt>
    <dgm:pt modelId="{ED28A74F-CCBC-42EA-A848-63780CDB73E9}" type="pres">
      <dgm:prSet presAssocID="{63733D38-6095-4394-895D-04C8667BD39C}" presName="bgRect" presStyleLbl="bgShp" presStyleIdx="2" presStyleCnt="3"/>
      <dgm:spPr/>
    </dgm:pt>
    <dgm:pt modelId="{3B2DA05E-2C27-4BF3-AEC9-719A5478C7AD}" type="pres">
      <dgm:prSet presAssocID="{63733D38-6095-4394-895D-04C8667BD39C}" presName="iconRect" presStyleLbl="node1" presStyleIdx="2" presStyleCnt="3"/>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a:noFill/>
        </a:ln>
      </dgm:spPr>
      <dgm:extLst>
        <a:ext uri="{E40237B7-FDA0-4F09-8148-C483321AD2D9}">
          <dgm14:cNvPr xmlns:dgm14="http://schemas.microsoft.com/office/drawing/2010/diagram" id="0" name="" descr="Questions"/>
        </a:ext>
      </dgm:extLst>
    </dgm:pt>
    <dgm:pt modelId="{80937A20-7615-4AE4-A9FB-8838C295CF3C}" type="pres">
      <dgm:prSet presAssocID="{63733D38-6095-4394-895D-04C8667BD39C}" presName="spaceRect" presStyleCnt="0"/>
      <dgm:spPr/>
    </dgm:pt>
    <dgm:pt modelId="{686E2654-3589-40B5-BB62-E4710382D3EE}" type="pres">
      <dgm:prSet presAssocID="{63733D38-6095-4394-895D-04C8667BD39C}" presName="parTx" presStyleLbl="revTx" presStyleIdx="2" presStyleCnt="3">
        <dgm:presLayoutVars>
          <dgm:chMax val="0"/>
          <dgm:chPref val="0"/>
        </dgm:presLayoutVars>
      </dgm:prSet>
      <dgm:spPr/>
    </dgm:pt>
  </dgm:ptLst>
  <dgm:cxnLst>
    <dgm:cxn modelId="{14F21E16-ACE0-4D31-A9E4-BCCB5609B414}" type="presOf" srcId="{C249716E-EF3F-4BC1-93C1-59D0EC4FFC3D}" destId="{502B2592-DA7E-4B1F-9E70-07950226A565}" srcOrd="0" destOrd="0" presId="urn:microsoft.com/office/officeart/2018/2/layout/IconVerticalSolidList"/>
    <dgm:cxn modelId="{822FA720-92AD-43B9-9E51-BFAC97FB820B}" srcId="{C249716E-EF3F-4BC1-93C1-59D0EC4FFC3D}" destId="{283A3564-6601-4708-B54A-FFDF02DC6147}" srcOrd="0" destOrd="0" parTransId="{40318D2D-9E1D-4B9A-B77F-94BEAE92FC95}" sibTransId="{507C8B42-3E01-4C68-9DD6-2740D8B3947B}"/>
    <dgm:cxn modelId="{A4C6103F-D523-49FC-9046-0D8BE5A67733}" srcId="{C249716E-EF3F-4BC1-93C1-59D0EC4FFC3D}" destId="{63733D38-6095-4394-895D-04C8667BD39C}" srcOrd="2" destOrd="0" parTransId="{4300ED41-4E47-4D54-9371-2714AB6F0DC8}" sibTransId="{3948A488-C244-4850-83D5-1C4EF5760F9E}"/>
    <dgm:cxn modelId="{B1B4636D-5CEF-4960-905A-DBEF79056AC2}" type="presOf" srcId="{3A6EEE5A-4222-4D6C-85C2-BCDB43ED3507}" destId="{56A48A03-1F93-442F-A1B8-6D009BB1B278}" srcOrd="0" destOrd="0" presId="urn:microsoft.com/office/officeart/2018/2/layout/IconVerticalSolidList"/>
    <dgm:cxn modelId="{FD1625A2-2B25-4AA2-8733-F591F4E0D5CF}" type="presOf" srcId="{283A3564-6601-4708-B54A-FFDF02DC6147}" destId="{8E215BA4-BBD2-4494-9CF1-88BB45B9480E}" srcOrd="0" destOrd="0" presId="urn:microsoft.com/office/officeart/2018/2/layout/IconVerticalSolidList"/>
    <dgm:cxn modelId="{D078D5BF-813A-4259-830F-485A1CA8466D}" type="presOf" srcId="{63733D38-6095-4394-895D-04C8667BD39C}" destId="{686E2654-3589-40B5-BB62-E4710382D3EE}" srcOrd="0" destOrd="0" presId="urn:microsoft.com/office/officeart/2018/2/layout/IconVerticalSolidList"/>
    <dgm:cxn modelId="{68ACC4D7-D3BB-4C0D-A335-6970A1F3DDDD}" srcId="{C249716E-EF3F-4BC1-93C1-59D0EC4FFC3D}" destId="{3A6EEE5A-4222-4D6C-85C2-BCDB43ED3507}" srcOrd="1" destOrd="0" parTransId="{3462FB2B-BA3C-42C1-97F4-6FCB89D02E56}" sibTransId="{E89D0EA5-18D0-46D3-AD4C-400D48F1334E}"/>
    <dgm:cxn modelId="{B68FAB72-178A-4BC2-9733-BC02979ABFBD}" type="presParOf" srcId="{502B2592-DA7E-4B1F-9E70-07950226A565}" destId="{5E6E2C0A-7D9E-441F-999F-4F61174F5040}" srcOrd="0" destOrd="0" presId="urn:microsoft.com/office/officeart/2018/2/layout/IconVerticalSolidList"/>
    <dgm:cxn modelId="{BF1E8D3F-2128-4F5D-9161-9D12DE16320B}" type="presParOf" srcId="{5E6E2C0A-7D9E-441F-999F-4F61174F5040}" destId="{48502DB3-55B8-41DF-8F77-04F38680D9B6}" srcOrd="0" destOrd="0" presId="urn:microsoft.com/office/officeart/2018/2/layout/IconVerticalSolidList"/>
    <dgm:cxn modelId="{103DF1BA-2978-4DCE-A5BC-37049737F688}" type="presParOf" srcId="{5E6E2C0A-7D9E-441F-999F-4F61174F5040}" destId="{4F8472E0-8BCD-4F29-9606-289227B4B6FA}" srcOrd="1" destOrd="0" presId="urn:microsoft.com/office/officeart/2018/2/layout/IconVerticalSolidList"/>
    <dgm:cxn modelId="{89A6B040-C6A7-41B4-BFE0-881654CB6664}" type="presParOf" srcId="{5E6E2C0A-7D9E-441F-999F-4F61174F5040}" destId="{52D30F16-1E9D-4DBA-96D3-4F7A35DEDA8D}" srcOrd="2" destOrd="0" presId="urn:microsoft.com/office/officeart/2018/2/layout/IconVerticalSolidList"/>
    <dgm:cxn modelId="{29022FBA-4E2B-4D9F-9D0E-7595D2353373}" type="presParOf" srcId="{5E6E2C0A-7D9E-441F-999F-4F61174F5040}" destId="{8E215BA4-BBD2-4494-9CF1-88BB45B9480E}" srcOrd="3" destOrd="0" presId="urn:microsoft.com/office/officeart/2018/2/layout/IconVerticalSolidList"/>
    <dgm:cxn modelId="{D97F6F88-7966-405E-A17F-C511319850B9}" type="presParOf" srcId="{502B2592-DA7E-4B1F-9E70-07950226A565}" destId="{84D3EBE9-BD90-4E45-947C-D793C68F3EC4}" srcOrd="1" destOrd="0" presId="urn:microsoft.com/office/officeart/2018/2/layout/IconVerticalSolidList"/>
    <dgm:cxn modelId="{CF339808-6C02-4351-AAAF-CAC579832A2B}" type="presParOf" srcId="{502B2592-DA7E-4B1F-9E70-07950226A565}" destId="{C10F7F22-6248-46EA-BD93-10AE8AEB0098}" srcOrd="2" destOrd="0" presId="urn:microsoft.com/office/officeart/2018/2/layout/IconVerticalSolidList"/>
    <dgm:cxn modelId="{97520C10-95CA-480F-84AC-C546F8CF9092}" type="presParOf" srcId="{C10F7F22-6248-46EA-BD93-10AE8AEB0098}" destId="{1BF1460B-9DC1-41B7-828E-008031505679}" srcOrd="0" destOrd="0" presId="urn:microsoft.com/office/officeart/2018/2/layout/IconVerticalSolidList"/>
    <dgm:cxn modelId="{14EE0447-643C-4140-99E0-21EEF25FC8E1}" type="presParOf" srcId="{C10F7F22-6248-46EA-BD93-10AE8AEB0098}" destId="{97D54578-6195-4B61-9D7C-646088AB2A0E}" srcOrd="1" destOrd="0" presId="urn:microsoft.com/office/officeart/2018/2/layout/IconVerticalSolidList"/>
    <dgm:cxn modelId="{A1E39FF0-1D85-43B4-B6FF-7262C524A134}" type="presParOf" srcId="{C10F7F22-6248-46EA-BD93-10AE8AEB0098}" destId="{B9876623-1AE9-42BB-92C2-A22897FA7471}" srcOrd="2" destOrd="0" presId="urn:microsoft.com/office/officeart/2018/2/layout/IconVerticalSolidList"/>
    <dgm:cxn modelId="{0DF5D9A8-8FBD-4B7C-A334-E427C2F57364}" type="presParOf" srcId="{C10F7F22-6248-46EA-BD93-10AE8AEB0098}" destId="{56A48A03-1F93-442F-A1B8-6D009BB1B278}" srcOrd="3" destOrd="0" presId="urn:microsoft.com/office/officeart/2018/2/layout/IconVerticalSolidList"/>
    <dgm:cxn modelId="{3AA631FF-1697-4BCD-B4AC-70AD8053EA82}" type="presParOf" srcId="{502B2592-DA7E-4B1F-9E70-07950226A565}" destId="{58AE191A-4421-4649-8C69-0B05BBC39595}" srcOrd="3" destOrd="0" presId="urn:microsoft.com/office/officeart/2018/2/layout/IconVerticalSolidList"/>
    <dgm:cxn modelId="{68F41FD1-37F3-4D25-B82B-25A0F86C34BE}" type="presParOf" srcId="{502B2592-DA7E-4B1F-9E70-07950226A565}" destId="{DE6B995F-B2EA-499A-9657-FC2B12EFA6ED}" srcOrd="4" destOrd="0" presId="urn:microsoft.com/office/officeart/2018/2/layout/IconVerticalSolidList"/>
    <dgm:cxn modelId="{6DDDA0DC-C0CE-4BB0-93FA-98DA01C0BDEF}" type="presParOf" srcId="{DE6B995F-B2EA-499A-9657-FC2B12EFA6ED}" destId="{ED28A74F-CCBC-42EA-A848-63780CDB73E9}" srcOrd="0" destOrd="0" presId="urn:microsoft.com/office/officeart/2018/2/layout/IconVerticalSolidList"/>
    <dgm:cxn modelId="{9EE9D488-EC3B-4621-A104-C84C0E7EC155}" type="presParOf" srcId="{DE6B995F-B2EA-499A-9657-FC2B12EFA6ED}" destId="{3B2DA05E-2C27-4BF3-AEC9-719A5478C7AD}" srcOrd="1" destOrd="0" presId="urn:microsoft.com/office/officeart/2018/2/layout/IconVerticalSolidList"/>
    <dgm:cxn modelId="{571FDE39-3093-4965-A944-338259B3D229}" type="presParOf" srcId="{DE6B995F-B2EA-499A-9657-FC2B12EFA6ED}" destId="{80937A20-7615-4AE4-A9FB-8838C295CF3C}" srcOrd="2" destOrd="0" presId="urn:microsoft.com/office/officeart/2018/2/layout/IconVerticalSolidList"/>
    <dgm:cxn modelId="{2147A418-9D5B-423B-9D39-9E291686EB02}" type="presParOf" srcId="{DE6B995F-B2EA-499A-9657-FC2B12EFA6ED}" destId="{686E2654-3589-40B5-BB62-E4710382D3EE}" srcOrd="3" destOrd="0" presId="urn:microsoft.com/office/officeart/2018/2/layout/IconVerticalSolid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62AD31F2-88DA-4E22-B1C2-ED074D05876F}" type="doc">
      <dgm:prSet loTypeId="urn:microsoft.com/office/officeart/2018/2/layout/IconVerticalSolidList" loCatId="icon" qsTypeId="urn:microsoft.com/office/officeart/2005/8/quickstyle/simple1" qsCatId="simple" csTypeId="urn:microsoft.com/office/officeart/2018/5/colors/Iconchunking_neutralbg_colorful5" csCatId="colorful" phldr="1"/>
      <dgm:spPr/>
      <dgm:t>
        <a:bodyPr/>
        <a:lstStyle/>
        <a:p>
          <a:endParaRPr lang="en-US"/>
        </a:p>
      </dgm:t>
    </dgm:pt>
    <dgm:pt modelId="{9CB737FA-A236-4A3E-8257-88AC325E89A5}">
      <dgm:prSet/>
      <dgm:spPr/>
      <dgm:t>
        <a:bodyPr/>
        <a:lstStyle/>
        <a:p>
          <a:pPr>
            <a:lnSpc>
              <a:spcPct val="100000"/>
            </a:lnSpc>
          </a:pPr>
          <a:r>
            <a:rPr lang="en-US" i="1"/>
            <a:t>Can</a:t>
          </a:r>
          <a:r>
            <a:rPr lang="en-US"/>
            <a:t> build on administrator skills</a:t>
          </a:r>
        </a:p>
      </dgm:t>
    </dgm:pt>
    <dgm:pt modelId="{4AC7BCF0-A2B2-45A4-9FC3-920EF81D36D0}" type="parTrans" cxnId="{BEF1ABD9-4763-4273-9510-A446BB8C49DE}">
      <dgm:prSet/>
      <dgm:spPr/>
      <dgm:t>
        <a:bodyPr/>
        <a:lstStyle/>
        <a:p>
          <a:endParaRPr lang="en-US"/>
        </a:p>
      </dgm:t>
    </dgm:pt>
    <dgm:pt modelId="{D1DCFF64-40A7-4070-8128-EF4AE1E53694}" type="sibTrans" cxnId="{BEF1ABD9-4763-4273-9510-A446BB8C49DE}">
      <dgm:prSet/>
      <dgm:spPr/>
      <dgm:t>
        <a:bodyPr/>
        <a:lstStyle/>
        <a:p>
          <a:endParaRPr lang="en-US"/>
        </a:p>
      </dgm:t>
    </dgm:pt>
    <dgm:pt modelId="{A6B56D37-44B9-470B-8C8A-AD28C8AC4966}">
      <dgm:prSet/>
      <dgm:spPr/>
      <dgm:t>
        <a:bodyPr/>
        <a:lstStyle/>
        <a:p>
          <a:pPr>
            <a:lnSpc>
              <a:spcPct val="100000"/>
            </a:lnSpc>
          </a:pPr>
          <a:r>
            <a:rPr lang="en-US"/>
            <a:t>Creates new components</a:t>
          </a:r>
        </a:p>
      </dgm:t>
    </dgm:pt>
    <dgm:pt modelId="{44B2958E-9A40-4BD0-8A02-4DDD96E55C0E}" type="parTrans" cxnId="{EE7215CC-525B-4A81-8D91-6EA3C493E6FB}">
      <dgm:prSet/>
      <dgm:spPr/>
      <dgm:t>
        <a:bodyPr/>
        <a:lstStyle/>
        <a:p>
          <a:endParaRPr lang="en-US"/>
        </a:p>
      </dgm:t>
    </dgm:pt>
    <dgm:pt modelId="{6642CA84-2AEE-43C2-8BDE-F61BA9622C02}" type="sibTrans" cxnId="{EE7215CC-525B-4A81-8D91-6EA3C493E6FB}">
      <dgm:prSet/>
      <dgm:spPr/>
      <dgm:t>
        <a:bodyPr/>
        <a:lstStyle/>
        <a:p>
          <a:endParaRPr lang="en-US"/>
        </a:p>
      </dgm:t>
    </dgm:pt>
    <dgm:pt modelId="{01D88A99-E101-4928-BAD5-2514321E376C}">
      <dgm:prSet/>
      <dgm:spPr/>
      <dgm:t>
        <a:bodyPr/>
        <a:lstStyle/>
        <a:p>
          <a:pPr>
            <a:lnSpc>
              <a:spcPct val="100000"/>
            </a:lnSpc>
          </a:pPr>
          <a:r>
            <a:rPr lang="en-US"/>
            <a:t>Basic development skills using JavaScript</a:t>
          </a:r>
        </a:p>
      </dgm:t>
    </dgm:pt>
    <dgm:pt modelId="{0CC92444-7D9D-44EC-A78E-659DC6E35DDE}" type="parTrans" cxnId="{99451B82-F8BD-4C0A-BDF5-8C8FFCAA3D41}">
      <dgm:prSet/>
      <dgm:spPr/>
      <dgm:t>
        <a:bodyPr/>
        <a:lstStyle/>
        <a:p>
          <a:endParaRPr lang="en-US"/>
        </a:p>
      </dgm:t>
    </dgm:pt>
    <dgm:pt modelId="{B3F64525-818D-461B-BCC0-C2915631B152}" type="sibTrans" cxnId="{99451B82-F8BD-4C0A-BDF5-8C8FFCAA3D41}">
      <dgm:prSet/>
      <dgm:spPr/>
      <dgm:t>
        <a:bodyPr/>
        <a:lstStyle/>
        <a:p>
          <a:endParaRPr lang="en-US"/>
        </a:p>
      </dgm:t>
    </dgm:pt>
    <dgm:pt modelId="{F0CC4B3B-555B-4D3F-BA65-81FC2A8CEC23}">
      <dgm:prSet/>
      <dgm:spPr/>
      <dgm:t>
        <a:bodyPr/>
        <a:lstStyle/>
        <a:p>
          <a:pPr>
            <a:lnSpc>
              <a:spcPct val="100000"/>
            </a:lnSpc>
          </a:pPr>
          <a:r>
            <a:rPr lang="en-US"/>
            <a:t>Uses Power Automate</a:t>
          </a:r>
        </a:p>
      </dgm:t>
    </dgm:pt>
    <dgm:pt modelId="{100225B5-5D85-40C9-8620-20DCB3E76B96}" type="parTrans" cxnId="{4C3CE266-FBC9-4653-B37A-5BD97157FB84}">
      <dgm:prSet/>
      <dgm:spPr/>
      <dgm:t>
        <a:bodyPr/>
        <a:lstStyle/>
        <a:p>
          <a:endParaRPr lang="en-US"/>
        </a:p>
      </dgm:t>
    </dgm:pt>
    <dgm:pt modelId="{7653DC68-AA0B-4668-85CB-65F6226CCAB3}" type="sibTrans" cxnId="{4C3CE266-FBC9-4653-B37A-5BD97157FB84}">
      <dgm:prSet/>
      <dgm:spPr/>
      <dgm:t>
        <a:bodyPr/>
        <a:lstStyle/>
        <a:p>
          <a:endParaRPr lang="en-US"/>
        </a:p>
      </dgm:t>
    </dgm:pt>
    <dgm:pt modelId="{50E7C040-2776-4DEA-BB98-A1AB669B2591}" type="pres">
      <dgm:prSet presAssocID="{62AD31F2-88DA-4E22-B1C2-ED074D05876F}" presName="root" presStyleCnt="0">
        <dgm:presLayoutVars>
          <dgm:dir/>
          <dgm:resizeHandles val="exact"/>
        </dgm:presLayoutVars>
      </dgm:prSet>
      <dgm:spPr/>
    </dgm:pt>
    <dgm:pt modelId="{8E033519-F41C-41D4-91E2-D90330630A97}" type="pres">
      <dgm:prSet presAssocID="{9CB737FA-A236-4A3E-8257-88AC325E89A5}" presName="compNode" presStyleCnt="0"/>
      <dgm:spPr/>
    </dgm:pt>
    <dgm:pt modelId="{E8256E65-F0F8-488E-A2F3-84C1418E2C39}" type="pres">
      <dgm:prSet presAssocID="{9CB737FA-A236-4A3E-8257-88AC325E89A5}" presName="bgRect" presStyleLbl="bgShp" presStyleIdx="0" presStyleCnt="4"/>
      <dgm:spPr/>
    </dgm:pt>
    <dgm:pt modelId="{BC32A277-65B3-4DE3-9AB6-6CA3BF8F1EF0}" type="pres">
      <dgm:prSet presAssocID="{9CB737FA-A236-4A3E-8257-88AC325E89A5}" presName="iconRect" presStyleLbl="node1" presStyleIdx="0" presStyleCnt="4"/>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a:noFill/>
        </a:ln>
      </dgm:spPr>
      <dgm:extLst>
        <a:ext uri="{E40237B7-FDA0-4F09-8148-C483321AD2D9}">
          <dgm14:cNvPr xmlns:dgm14="http://schemas.microsoft.com/office/drawing/2010/diagram" id="0" name="" descr="Tools"/>
        </a:ext>
      </dgm:extLst>
    </dgm:pt>
    <dgm:pt modelId="{BD6C3616-A288-4300-991E-E084631D46B4}" type="pres">
      <dgm:prSet presAssocID="{9CB737FA-A236-4A3E-8257-88AC325E89A5}" presName="spaceRect" presStyleCnt="0"/>
      <dgm:spPr/>
    </dgm:pt>
    <dgm:pt modelId="{5DE64924-516C-40D1-8218-1DCCDC031CE1}" type="pres">
      <dgm:prSet presAssocID="{9CB737FA-A236-4A3E-8257-88AC325E89A5}" presName="parTx" presStyleLbl="revTx" presStyleIdx="0" presStyleCnt="4">
        <dgm:presLayoutVars>
          <dgm:chMax val="0"/>
          <dgm:chPref val="0"/>
        </dgm:presLayoutVars>
      </dgm:prSet>
      <dgm:spPr/>
    </dgm:pt>
    <dgm:pt modelId="{BB3782E3-DBF6-43B5-BBDC-32CE5B0B427D}" type="pres">
      <dgm:prSet presAssocID="{D1DCFF64-40A7-4070-8128-EF4AE1E53694}" presName="sibTrans" presStyleCnt="0"/>
      <dgm:spPr/>
    </dgm:pt>
    <dgm:pt modelId="{9BC51916-E5EE-4A17-8E2A-1225F75D28D8}" type="pres">
      <dgm:prSet presAssocID="{A6B56D37-44B9-470B-8C8A-AD28C8AC4966}" presName="compNode" presStyleCnt="0"/>
      <dgm:spPr/>
    </dgm:pt>
    <dgm:pt modelId="{7646B446-80A5-453A-84A0-3635397B7123}" type="pres">
      <dgm:prSet presAssocID="{A6B56D37-44B9-470B-8C8A-AD28C8AC4966}" presName="bgRect" presStyleLbl="bgShp" presStyleIdx="1" presStyleCnt="4"/>
      <dgm:spPr/>
    </dgm:pt>
    <dgm:pt modelId="{53B78311-328C-4FB4-A580-9F8D7C9E20FC}" type="pres">
      <dgm:prSet presAssocID="{A6B56D37-44B9-470B-8C8A-AD28C8AC4966}" presName="iconRect" presStyleLbl="node1" presStyleIdx="1" presStyleCnt="4"/>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dgm:spPr>
      <dgm:extLst>
        <a:ext uri="{E40237B7-FDA0-4F09-8148-C483321AD2D9}">
          <dgm14:cNvPr xmlns:dgm14="http://schemas.microsoft.com/office/drawing/2010/diagram" id="0" name="" descr="User"/>
        </a:ext>
      </dgm:extLst>
    </dgm:pt>
    <dgm:pt modelId="{22CB96F6-336E-4229-86FE-9408D44E4D05}" type="pres">
      <dgm:prSet presAssocID="{A6B56D37-44B9-470B-8C8A-AD28C8AC4966}" presName="spaceRect" presStyleCnt="0"/>
      <dgm:spPr/>
    </dgm:pt>
    <dgm:pt modelId="{55AC7080-3ED5-4ACB-858E-330078DCA809}" type="pres">
      <dgm:prSet presAssocID="{A6B56D37-44B9-470B-8C8A-AD28C8AC4966}" presName="parTx" presStyleLbl="revTx" presStyleIdx="1" presStyleCnt="4">
        <dgm:presLayoutVars>
          <dgm:chMax val="0"/>
          <dgm:chPref val="0"/>
        </dgm:presLayoutVars>
      </dgm:prSet>
      <dgm:spPr/>
    </dgm:pt>
    <dgm:pt modelId="{64C3AE99-D749-40E8-87D3-62CE0D71FC9F}" type="pres">
      <dgm:prSet presAssocID="{6642CA84-2AEE-43C2-8BDE-F61BA9622C02}" presName="sibTrans" presStyleCnt="0"/>
      <dgm:spPr/>
    </dgm:pt>
    <dgm:pt modelId="{0126B359-CE1A-44DB-8173-0374BCD116AB}" type="pres">
      <dgm:prSet presAssocID="{01D88A99-E101-4928-BAD5-2514321E376C}" presName="compNode" presStyleCnt="0"/>
      <dgm:spPr/>
    </dgm:pt>
    <dgm:pt modelId="{9E3AC9A5-8790-4A97-8E4A-6CF32A951C83}" type="pres">
      <dgm:prSet presAssocID="{01D88A99-E101-4928-BAD5-2514321E376C}" presName="bgRect" presStyleLbl="bgShp" presStyleIdx="2" presStyleCnt="4"/>
      <dgm:spPr/>
    </dgm:pt>
    <dgm:pt modelId="{7F992D43-A40C-402B-ADF4-D22923097187}" type="pres">
      <dgm:prSet presAssocID="{01D88A99-E101-4928-BAD5-2514321E376C}" presName="iconRect" presStyleLbl="node1" presStyleIdx="2" presStyleCnt="4"/>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a:noFill/>
        </a:ln>
      </dgm:spPr>
      <dgm:extLst>
        <a:ext uri="{E40237B7-FDA0-4F09-8148-C483321AD2D9}">
          <dgm14:cNvPr xmlns:dgm14="http://schemas.microsoft.com/office/drawing/2010/diagram" id="0" name="" descr="Head with Gears"/>
        </a:ext>
      </dgm:extLst>
    </dgm:pt>
    <dgm:pt modelId="{848536E8-536F-4AC3-88A8-040DC895B35E}" type="pres">
      <dgm:prSet presAssocID="{01D88A99-E101-4928-BAD5-2514321E376C}" presName="spaceRect" presStyleCnt="0"/>
      <dgm:spPr/>
    </dgm:pt>
    <dgm:pt modelId="{4ADDC749-DD4A-4D05-8787-210AE8802D91}" type="pres">
      <dgm:prSet presAssocID="{01D88A99-E101-4928-BAD5-2514321E376C}" presName="parTx" presStyleLbl="revTx" presStyleIdx="2" presStyleCnt="4">
        <dgm:presLayoutVars>
          <dgm:chMax val="0"/>
          <dgm:chPref val="0"/>
        </dgm:presLayoutVars>
      </dgm:prSet>
      <dgm:spPr/>
    </dgm:pt>
    <dgm:pt modelId="{B2F66C91-DB79-4328-9F38-A6B8109F1157}" type="pres">
      <dgm:prSet presAssocID="{B3F64525-818D-461B-BCC0-C2915631B152}" presName="sibTrans" presStyleCnt="0"/>
      <dgm:spPr/>
    </dgm:pt>
    <dgm:pt modelId="{D886713F-E590-4D1F-89B0-56CC7C1676F1}" type="pres">
      <dgm:prSet presAssocID="{F0CC4B3B-555B-4D3F-BA65-81FC2A8CEC23}" presName="compNode" presStyleCnt="0"/>
      <dgm:spPr/>
    </dgm:pt>
    <dgm:pt modelId="{541E1C2A-5EBD-4DB3-AB48-05EAD425AE60}" type="pres">
      <dgm:prSet presAssocID="{F0CC4B3B-555B-4D3F-BA65-81FC2A8CEC23}" presName="bgRect" presStyleLbl="bgShp" presStyleIdx="3" presStyleCnt="4"/>
      <dgm:spPr/>
    </dgm:pt>
    <dgm:pt modelId="{6A66939C-F7F1-4AC5-B5DE-A8FCF41192F5}" type="pres">
      <dgm:prSet presAssocID="{F0CC4B3B-555B-4D3F-BA65-81FC2A8CEC23}" presName="iconRect" presStyleLbl="node1" presStyleIdx="3" presStyleCnt="4"/>
      <dgm:spPr>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a:noFill/>
        </a:ln>
      </dgm:spPr>
      <dgm:extLst>
        <a:ext uri="{E40237B7-FDA0-4F09-8148-C483321AD2D9}">
          <dgm14:cNvPr xmlns:dgm14="http://schemas.microsoft.com/office/drawing/2010/diagram" id="0" name="" descr="Robot"/>
        </a:ext>
      </dgm:extLst>
    </dgm:pt>
    <dgm:pt modelId="{38559BC4-87C5-432C-9B46-F109D82537DB}" type="pres">
      <dgm:prSet presAssocID="{F0CC4B3B-555B-4D3F-BA65-81FC2A8CEC23}" presName="spaceRect" presStyleCnt="0"/>
      <dgm:spPr/>
    </dgm:pt>
    <dgm:pt modelId="{556202EC-6667-4E95-8DB8-C226406472FE}" type="pres">
      <dgm:prSet presAssocID="{F0CC4B3B-555B-4D3F-BA65-81FC2A8CEC23}" presName="parTx" presStyleLbl="revTx" presStyleIdx="3" presStyleCnt="4">
        <dgm:presLayoutVars>
          <dgm:chMax val="0"/>
          <dgm:chPref val="0"/>
        </dgm:presLayoutVars>
      </dgm:prSet>
      <dgm:spPr/>
    </dgm:pt>
  </dgm:ptLst>
  <dgm:cxnLst>
    <dgm:cxn modelId="{6665580A-EB1E-4D9E-90AD-9A344289CA99}" type="presOf" srcId="{A6B56D37-44B9-470B-8C8A-AD28C8AC4966}" destId="{55AC7080-3ED5-4ACB-858E-330078DCA809}" srcOrd="0" destOrd="0" presId="urn:microsoft.com/office/officeart/2018/2/layout/IconVerticalSolidList"/>
    <dgm:cxn modelId="{88876635-0C54-4EB8-A3CF-952FFC3ED8DA}" type="presOf" srcId="{9CB737FA-A236-4A3E-8257-88AC325E89A5}" destId="{5DE64924-516C-40D1-8218-1DCCDC031CE1}" srcOrd="0" destOrd="0" presId="urn:microsoft.com/office/officeart/2018/2/layout/IconVerticalSolidList"/>
    <dgm:cxn modelId="{4C3CE266-FBC9-4653-B37A-5BD97157FB84}" srcId="{62AD31F2-88DA-4E22-B1C2-ED074D05876F}" destId="{F0CC4B3B-555B-4D3F-BA65-81FC2A8CEC23}" srcOrd="3" destOrd="0" parTransId="{100225B5-5D85-40C9-8620-20DCB3E76B96}" sibTransId="{7653DC68-AA0B-4668-85CB-65F6226CCAB3}"/>
    <dgm:cxn modelId="{99451B82-F8BD-4C0A-BDF5-8C8FFCAA3D41}" srcId="{62AD31F2-88DA-4E22-B1C2-ED074D05876F}" destId="{01D88A99-E101-4928-BAD5-2514321E376C}" srcOrd="2" destOrd="0" parTransId="{0CC92444-7D9D-44EC-A78E-659DC6E35DDE}" sibTransId="{B3F64525-818D-461B-BCC0-C2915631B152}"/>
    <dgm:cxn modelId="{B165EF88-92F4-4209-BD02-25BB0D6D8DE3}" type="presOf" srcId="{62AD31F2-88DA-4E22-B1C2-ED074D05876F}" destId="{50E7C040-2776-4DEA-BB98-A1AB669B2591}" srcOrd="0" destOrd="0" presId="urn:microsoft.com/office/officeart/2018/2/layout/IconVerticalSolidList"/>
    <dgm:cxn modelId="{10CF60B6-3966-45A4-A9EB-D6F4089E8D7B}" type="presOf" srcId="{01D88A99-E101-4928-BAD5-2514321E376C}" destId="{4ADDC749-DD4A-4D05-8787-210AE8802D91}" srcOrd="0" destOrd="0" presId="urn:microsoft.com/office/officeart/2018/2/layout/IconVerticalSolidList"/>
    <dgm:cxn modelId="{EE7215CC-525B-4A81-8D91-6EA3C493E6FB}" srcId="{62AD31F2-88DA-4E22-B1C2-ED074D05876F}" destId="{A6B56D37-44B9-470B-8C8A-AD28C8AC4966}" srcOrd="1" destOrd="0" parTransId="{44B2958E-9A40-4BD0-8A02-4DDD96E55C0E}" sibTransId="{6642CA84-2AEE-43C2-8BDE-F61BA9622C02}"/>
    <dgm:cxn modelId="{BEF1ABD9-4763-4273-9510-A446BB8C49DE}" srcId="{62AD31F2-88DA-4E22-B1C2-ED074D05876F}" destId="{9CB737FA-A236-4A3E-8257-88AC325E89A5}" srcOrd="0" destOrd="0" parTransId="{4AC7BCF0-A2B2-45A4-9FC3-920EF81D36D0}" sibTransId="{D1DCFF64-40A7-4070-8128-EF4AE1E53694}"/>
    <dgm:cxn modelId="{414111F9-694B-4E07-99E5-157690A25667}" type="presOf" srcId="{F0CC4B3B-555B-4D3F-BA65-81FC2A8CEC23}" destId="{556202EC-6667-4E95-8DB8-C226406472FE}" srcOrd="0" destOrd="0" presId="urn:microsoft.com/office/officeart/2018/2/layout/IconVerticalSolidList"/>
    <dgm:cxn modelId="{55C54987-3AAC-45C9-92FC-D96A2362BA33}" type="presParOf" srcId="{50E7C040-2776-4DEA-BB98-A1AB669B2591}" destId="{8E033519-F41C-41D4-91E2-D90330630A97}" srcOrd="0" destOrd="0" presId="urn:microsoft.com/office/officeart/2018/2/layout/IconVerticalSolidList"/>
    <dgm:cxn modelId="{D6C90A3C-E060-4692-A061-05F553BD2744}" type="presParOf" srcId="{8E033519-F41C-41D4-91E2-D90330630A97}" destId="{E8256E65-F0F8-488E-A2F3-84C1418E2C39}" srcOrd="0" destOrd="0" presId="urn:microsoft.com/office/officeart/2018/2/layout/IconVerticalSolidList"/>
    <dgm:cxn modelId="{14504F44-8D79-47BA-9558-E204BBE44EB8}" type="presParOf" srcId="{8E033519-F41C-41D4-91E2-D90330630A97}" destId="{BC32A277-65B3-4DE3-9AB6-6CA3BF8F1EF0}" srcOrd="1" destOrd="0" presId="urn:microsoft.com/office/officeart/2018/2/layout/IconVerticalSolidList"/>
    <dgm:cxn modelId="{9743AEC1-7744-42B6-911E-DC897002BBED}" type="presParOf" srcId="{8E033519-F41C-41D4-91E2-D90330630A97}" destId="{BD6C3616-A288-4300-991E-E084631D46B4}" srcOrd="2" destOrd="0" presId="urn:microsoft.com/office/officeart/2018/2/layout/IconVerticalSolidList"/>
    <dgm:cxn modelId="{A686CF19-67E2-466E-8A4A-9A31C563A257}" type="presParOf" srcId="{8E033519-F41C-41D4-91E2-D90330630A97}" destId="{5DE64924-516C-40D1-8218-1DCCDC031CE1}" srcOrd="3" destOrd="0" presId="urn:microsoft.com/office/officeart/2018/2/layout/IconVerticalSolidList"/>
    <dgm:cxn modelId="{D9AF85A6-3C09-4437-B479-A14A03F65549}" type="presParOf" srcId="{50E7C040-2776-4DEA-BB98-A1AB669B2591}" destId="{BB3782E3-DBF6-43B5-BBDC-32CE5B0B427D}" srcOrd="1" destOrd="0" presId="urn:microsoft.com/office/officeart/2018/2/layout/IconVerticalSolidList"/>
    <dgm:cxn modelId="{1C057981-E325-40E7-8045-B59E977D1D90}" type="presParOf" srcId="{50E7C040-2776-4DEA-BB98-A1AB669B2591}" destId="{9BC51916-E5EE-4A17-8E2A-1225F75D28D8}" srcOrd="2" destOrd="0" presId="urn:microsoft.com/office/officeart/2018/2/layout/IconVerticalSolidList"/>
    <dgm:cxn modelId="{43B94571-7ED3-464E-BE8B-1EA4563267B6}" type="presParOf" srcId="{9BC51916-E5EE-4A17-8E2A-1225F75D28D8}" destId="{7646B446-80A5-453A-84A0-3635397B7123}" srcOrd="0" destOrd="0" presId="urn:microsoft.com/office/officeart/2018/2/layout/IconVerticalSolidList"/>
    <dgm:cxn modelId="{E2A86FC3-E001-4919-9909-38AA65B23AC8}" type="presParOf" srcId="{9BC51916-E5EE-4A17-8E2A-1225F75D28D8}" destId="{53B78311-328C-4FB4-A580-9F8D7C9E20FC}" srcOrd="1" destOrd="0" presId="urn:microsoft.com/office/officeart/2018/2/layout/IconVerticalSolidList"/>
    <dgm:cxn modelId="{1E8D06F0-3DC9-4C1C-B6FC-56FB9C590A19}" type="presParOf" srcId="{9BC51916-E5EE-4A17-8E2A-1225F75D28D8}" destId="{22CB96F6-336E-4229-86FE-9408D44E4D05}" srcOrd="2" destOrd="0" presId="urn:microsoft.com/office/officeart/2018/2/layout/IconVerticalSolidList"/>
    <dgm:cxn modelId="{D995DE6A-212A-472B-ABFC-65B9AC8EEAF6}" type="presParOf" srcId="{9BC51916-E5EE-4A17-8E2A-1225F75D28D8}" destId="{55AC7080-3ED5-4ACB-858E-330078DCA809}" srcOrd="3" destOrd="0" presId="urn:microsoft.com/office/officeart/2018/2/layout/IconVerticalSolidList"/>
    <dgm:cxn modelId="{07F8728C-6728-46F8-B73C-F6B698251C72}" type="presParOf" srcId="{50E7C040-2776-4DEA-BB98-A1AB669B2591}" destId="{64C3AE99-D749-40E8-87D3-62CE0D71FC9F}" srcOrd="3" destOrd="0" presId="urn:microsoft.com/office/officeart/2018/2/layout/IconVerticalSolidList"/>
    <dgm:cxn modelId="{71D1AD69-7A0F-40A9-A2E4-D7978CE22159}" type="presParOf" srcId="{50E7C040-2776-4DEA-BB98-A1AB669B2591}" destId="{0126B359-CE1A-44DB-8173-0374BCD116AB}" srcOrd="4" destOrd="0" presId="urn:microsoft.com/office/officeart/2018/2/layout/IconVerticalSolidList"/>
    <dgm:cxn modelId="{9D51A78C-2A3B-425F-BAC1-0E5BA7BE2860}" type="presParOf" srcId="{0126B359-CE1A-44DB-8173-0374BCD116AB}" destId="{9E3AC9A5-8790-4A97-8E4A-6CF32A951C83}" srcOrd="0" destOrd="0" presId="urn:microsoft.com/office/officeart/2018/2/layout/IconVerticalSolidList"/>
    <dgm:cxn modelId="{B48A0462-64C7-4A3F-ACC8-58901DAB4C59}" type="presParOf" srcId="{0126B359-CE1A-44DB-8173-0374BCD116AB}" destId="{7F992D43-A40C-402B-ADF4-D22923097187}" srcOrd="1" destOrd="0" presId="urn:microsoft.com/office/officeart/2018/2/layout/IconVerticalSolidList"/>
    <dgm:cxn modelId="{4CC04C1C-36C6-41ED-869E-4E231976A7EC}" type="presParOf" srcId="{0126B359-CE1A-44DB-8173-0374BCD116AB}" destId="{848536E8-536F-4AC3-88A8-040DC895B35E}" srcOrd="2" destOrd="0" presId="urn:microsoft.com/office/officeart/2018/2/layout/IconVerticalSolidList"/>
    <dgm:cxn modelId="{7E3CC4C3-DC66-4DDE-A084-57DB59FC11FC}" type="presParOf" srcId="{0126B359-CE1A-44DB-8173-0374BCD116AB}" destId="{4ADDC749-DD4A-4D05-8787-210AE8802D91}" srcOrd="3" destOrd="0" presId="urn:microsoft.com/office/officeart/2018/2/layout/IconVerticalSolidList"/>
    <dgm:cxn modelId="{E8A9CB7C-8CE8-4736-B56F-DCF57249FFF0}" type="presParOf" srcId="{50E7C040-2776-4DEA-BB98-A1AB669B2591}" destId="{B2F66C91-DB79-4328-9F38-A6B8109F1157}" srcOrd="5" destOrd="0" presId="urn:microsoft.com/office/officeart/2018/2/layout/IconVerticalSolidList"/>
    <dgm:cxn modelId="{4FD70E68-8A58-4914-8292-CD201288B566}" type="presParOf" srcId="{50E7C040-2776-4DEA-BB98-A1AB669B2591}" destId="{D886713F-E590-4D1F-89B0-56CC7C1676F1}" srcOrd="6" destOrd="0" presId="urn:microsoft.com/office/officeart/2018/2/layout/IconVerticalSolidList"/>
    <dgm:cxn modelId="{41992733-4E4C-4913-9931-2E72339B6075}" type="presParOf" srcId="{D886713F-E590-4D1F-89B0-56CC7C1676F1}" destId="{541E1C2A-5EBD-4DB3-AB48-05EAD425AE60}" srcOrd="0" destOrd="0" presId="urn:microsoft.com/office/officeart/2018/2/layout/IconVerticalSolidList"/>
    <dgm:cxn modelId="{A013003B-7C08-4AFD-BD10-CE79477985D6}" type="presParOf" srcId="{D886713F-E590-4D1F-89B0-56CC7C1676F1}" destId="{6A66939C-F7F1-4AC5-B5DE-A8FCF41192F5}" srcOrd="1" destOrd="0" presId="urn:microsoft.com/office/officeart/2018/2/layout/IconVerticalSolidList"/>
    <dgm:cxn modelId="{C01931FC-1875-43DC-9E41-9433C813E3F9}" type="presParOf" srcId="{D886713F-E590-4D1F-89B0-56CC7C1676F1}" destId="{38559BC4-87C5-432C-9B46-F109D82537DB}" srcOrd="2" destOrd="0" presId="urn:microsoft.com/office/officeart/2018/2/layout/IconVerticalSolidList"/>
    <dgm:cxn modelId="{1DECF5DD-6354-4B1A-8B8A-413BE1FE5B4A}" type="presParOf" srcId="{D886713F-E590-4D1F-89B0-56CC7C1676F1}" destId="{556202EC-6667-4E95-8DB8-C226406472FE}" srcOrd="3" destOrd="0" presId="urn:microsoft.com/office/officeart/2018/2/layout/IconVerticalSolid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E8A9A05B-8B35-4656-A7C2-1864A6A689B4}" type="doc">
      <dgm:prSet loTypeId="urn:microsoft.com/office/officeart/2018/2/layout/IconVerticalSolidList" loCatId="icon" qsTypeId="urn:microsoft.com/office/officeart/2005/8/quickstyle/simple1" qsCatId="simple" csTypeId="urn:microsoft.com/office/officeart/2018/5/colors/Iconchunking_neutralbg_colorful1" csCatId="colorful" phldr="1"/>
      <dgm:spPr/>
      <dgm:t>
        <a:bodyPr/>
        <a:lstStyle/>
        <a:p>
          <a:endParaRPr lang="en-US"/>
        </a:p>
      </dgm:t>
    </dgm:pt>
    <dgm:pt modelId="{A14D7DCC-3093-418C-B8D3-ABF0B4E9D5AB}">
      <dgm:prSet/>
      <dgm:spPr/>
      <dgm:t>
        <a:bodyPr/>
        <a:lstStyle/>
        <a:p>
          <a:pPr>
            <a:lnSpc>
              <a:spcPct val="100000"/>
            </a:lnSpc>
          </a:pPr>
          <a:r>
            <a:rPr lang="en-US"/>
            <a:t>Builds on customizer skills</a:t>
          </a:r>
        </a:p>
      </dgm:t>
    </dgm:pt>
    <dgm:pt modelId="{1E2811D8-C65C-4B6D-854C-670A86C87A25}" type="parTrans" cxnId="{A3445CCC-198F-4F37-8E77-A1F31B3C8DB1}">
      <dgm:prSet/>
      <dgm:spPr/>
      <dgm:t>
        <a:bodyPr/>
        <a:lstStyle/>
        <a:p>
          <a:endParaRPr lang="en-US"/>
        </a:p>
      </dgm:t>
    </dgm:pt>
    <dgm:pt modelId="{F2D197BF-E148-42F0-86F7-163EF01A619A}" type="sibTrans" cxnId="{A3445CCC-198F-4F37-8E77-A1F31B3C8DB1}">
      <dgm:prSet/>
      <dgm:spPr/>
      <dgm:t>
        <a:bodyPr/>
        <a:lstStyle/>
        <a:p>
          <a:endParaRPr lang="en-US"/>
        </a:p>
      </dgm:t>
    </dgm:pt>
    <dgm:pt modelId="{E4AC8A64-55F4-443E-B0BA-5318A6B29154}">
      <dgm:prSet/>
      <dgm:spPr/>
      <dgm:t>
        <a:bodyPr/>
        <a:lstStyle/>
        <a:p>
          <a:pPr>
            <a:lnSpc>
              <a:spcPct val="100000"/>
            </a:lnSpc>
          </a:pPr>
          <a:r>
            <a:rPr lang="en-US"/>
            <a:t>Fluent in the Dynamics 365 JavaScript object model</a:t>
          </a:r>
        </a:p>
      </dgm:t>
    </dgm:pt>
    <dgm:pt modelId="{6F6669A2-3E22-43BC-BDDD-DA9DECDC8DF6}" type="parTrans" cxnId="{F10A6076-72D1-4A03-96B1-47A320233E3B}">
      <dgm:prSet/>
      <dgm:spPr/>
      <dgm:t>
        <a:bodyPr/>
        <a:lstStyle/>
        <a:p>
          <a:endParaRPr lang="en-US"/>
        </a:p>
      </dgm:t>
    </dgm:pt>
    <dgm:pt modelId="{55C8D161-AB5E-46D3-9037-24F4132C659D}" type="sibTrans" cxnId="{F10A6076-72D1-4A03-96B1-47A320233E3B}">
      <dgm:prSet/>
      <dgm:spPr/>
      <dgm:t>
        <a:bodyPr/>
        <a:lstStyle/>
        <a:p>
          <a:endParaRPr lang="en-US"/>
        </a:p>
      </dgm:t>
    </dgm:pt>
    <dgm:pt modelId="{4305907E-5F2E-4CA3-B36A-1462E6F7006F}">
      <dgm:prSet/>
      <dgm:spPr/>
      <dgm:t>
        <a:bodyPr/>
        <a:lstStyle/>
        <a:p>
          <a:pPr>
            <a:lnSpc>
              <a:spcPct val="100000"/>
            </a:lnSpc>
          </a:pPr>
          <a:r>
            <a:rPr lang="en-US"/>
            <a:t>Can create plugins</a:t>
          </a:r>
        </a:p>
      </dgm:t>
    </dgm:pt>
    <dgm:pt modelId="{F3479617-3E61-4A55-B14A-0844071B105E}" type="parTrans" cxnId="{2F3095DD-8C7E-47B1-B528-1304D35FD2E1}">
      <dgm:prSet/>
      <dgm:spPr/>
      <dgm:t>
        <a:bodyPr/>
        <a:lstStyle/>
        <a:p>
          <a:endParaRPr lang="en-US"/>
        </a:p>
      </dgm:t>
    </dgm:pt>
    <dgm:pt modelId="{43201800-6033-4C7C-9C8E-91C1E49FA24C}" type="sibTrans" cxnId="{2F3095DD-8C7E-47B1-B528-1304D35FD2E1}">
      <dgm:prSet/>
      <dgm:spPr/>
      <dgm:t>
        <a:bodyPr/>
        <a:lstStyle/>
        <a:p>
          <a:endParaRPr lang="en-US"/>
        </a:p>
      </dgm:t>
    </dgm:pt>
    <dgm:pt modelId="{AB444AA0-43DF-4881-AD84-4E13E85985EB}">
      <dgm:prSet/>
      <dgm:spPr/>
      <dgm:t>
        <a:bodyPr/>
        <a:lstStyle/>
        <a:p>
          <a:pPr>
            <a:lnSpc>
              <a:spcPct val="100000"/>
            </a:lnSpc>
          </a:pPr>
          <a:r>
            <a:rPr lang="en-US"/>
            <a:t>Understands business processes and how to map them to Dynamics 365</a:t>
          </a:r>
        </a:p>
      </dgm:t>
    </dgm:pt>
    <dgm:pt modelId="{305C1EE4-527A-48B9-9C6C-10FFB6630989}" type="parTrans" cxnId="{54A1D91C-142D-472F-A20B-35126C39A4C2}">
      <dgm:prSet/>
      <dgm:spPr/>
      <dgm:t>
        <a:bodyPr/>
        <a:lstStyle/>
        <a:p>
          <a:endParaRPr lang="en-US"/>
        </a:p>
      </dgm:t>
    </dgm:pt>
    <dgm:pt modelId="{7C51E932-744F-4E8B-B82F-3FF1D48494C5}" type="sibTrans" cxnId="{54A1D91C-142D-472F-A20B-35126C39A4C2}">
      <dgm:prSet/>
      <dgm:spPr/>
      <dgm:t>
        <a:bodyPr/>
        <a:lstStyle/>
        <a:p>
          <a:endParaRPr lang="en-US"/>
        </a:p>
      </dgm:t>
    </dgm:pt>
    <dgm:pt modelId="{8A09766F-DE5B-4D39-A256-134DBEDB7ECF}" type="pres">
      <dgm:prSet presAssocID="{E8A9A05B-8B35-4656-A7C2-1864A6A689B4}" presName="root" presStyleCnt="0">
        <dgm:presLayoutVars>
          <dgm:dir/>
          <dgm:resizeHandles val="exact"/>
        </dgm:presLayoutVars>
      </dgm:prSet>
      <dgm:spPr/>
    </dgm:pt>
    <dgm:pt modelId="{ABAA03BC-8E16-4E2B-9739-EE60B4235FEE}" type="pres">
      <dgm:prSet presAssocID="{A14D7DCC-3093-418C-B8D3-ABF0B4E9D5AB}" presName="compNode" presStyleCnt="0"/>
      <dgm:spPr/>
    </dgm:pt>
    <dgm:pt modelId="{040847F7-ABD7-4D3F-8251-7756384D6399}" type="pres">
      <dgm:prSet presAssocID="{A14D7DCC-3093-418C-B8D3-ABF0B4E9D5AB}" presName="bgRect" presStyleLbl="bgShp" presStyleIdx="0" presStyleCnt="4"/>
      <dgm:spPr/>
    </dgm:pt>
    <dgm:pt modelId="{B0C530FD-A7BF-4DE8-959E-3D1972C3A7E6}" type="pres">
      <dgm:prSet presAssocID="{A14D7DCC-3093-418C-B8D3-ABF0B4E9D5AB}" presName="iconRect" presStyleLbl="node1" presStyleIdx="0" presStyleCnt="4"/>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a:noFill/>
        </a:ln>
      </dgm:spPr>
      <dgm:extLst>
        <a:ext uri="{E40237B7-FDA0-4F09-8148-C483321AD2D9}">
          <dgm14:cNvPr xmlns:dgm14="http://schemas.microsoft.com/office/drawing/2010/diagram" id="0" name="" descr="Tools"/>
        </a:ext>
      </dgm:extLst>
    </dgm:pt>
    <dgm:pt modelId="{CD3F862F-29B9-400B-82CA-F848D6471DC6}" type="pres">
      <dgm:prSet presAssocID="{A14D7DCC-3093-418C-B8D3-ABF0B4E9D5AB}" presName="spaceRect" presStyleCnt="0"/>
      <dgm:spPr/>
    </dgm:pt>
    <dgm:pt modelId="{41F5D721-4493-47EE-AEE2-3DACBB61E43C}" type="pres">
      <dgm:prSet presAssocID="{A14D7DCC-3093-418C-B8D3-ABF0B4E9D5AB}" presName="parTx" presStyleLbl="revTx" presStyleIdx="0" presStyleCnt="4">
        <dgm:presLayoutVars>
          <dgm:chMax val="0"/>
          <dgm:chPref val="0"/>
        </dgm:presLayoutVars>
      </dgm:prSet>
      <dgm:spPr/>
    </dgm:pt>
    <dgm:pt modelId="{0C551CB0-B56F-4F25-B4A9-B6EAAE85C48D}" type="pres">
      <dgm:prSet presAssocID="{F2D197BF-E148-42F0-86F7-163EF01A619A}" presName="sibTrans" presStyleCnt="0"/>
      <dgm:spPr/>
    </dgm:pt>
    <dgm:pt modelId="{2184DDCD-3985-4D32-B0A1-0A6AEDF64E3B}" type="pres">
      <dgm:prSet presAssocID="{E4AC8A64-55F4-443E-B0BA-5318A6B29154}" presName="compNode" presStyleCnt="0"/>
      <dgm:spPr/>
    </dgm:pt>
    <dgm:pt modelId="{E189E3F5-86D3-4930-B618-635F2E1F4630}" type="pres">
      <dgm:prSet presAssocID="{E4AC8A64-55F4-443E-B0BA-5318A6B29154}" presName="bgRect" presStyleLbl="bgShp" presStyleIdx="1" presStyleCnt="4"/>
      <dgm:spPr/>
    </dgm:pt>
    <dgm:pt modelId="{9410E50B-32F7-499E-A74E-903ADADF1A75}" type="pres">
      <dgm:prSet presAssocID="{E4AC8A64-55F4-443E-B0BA-5318A6B29154}" presName="iconRect" presStyleLbl="node1" presStyleIdx="1" presStyleCnt="4"/>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dgm:spPr>
      <dgm:extLst>
        <a:ext uri="{E40237B7-FDA0-4F09-8148-C483321AD2D9}">
          <dgm14:cNvPr xmlns:dgm14="http://schemas.microsoft.com/office/drawing/2010/diagram" id="0" name="" descr="Gears"/>
        </a:ext>
      </dgm:extLst>
    </dgm:pt>
    <dgm:pt modelId="{AB531C86-B4E5-4710-B085-ED556C704031}" type="pres">
      <dgm:prSet presAssocID="{E4AC8A64-55F4-443E-B0BA-5318A6B29154}" presName="spaceRect" presStyleCnt="0"/>
      <dgm:spPr/>
    </dgm:pt>
    <dgm:pt modelId="{4656DA59-A7F1-41E6-8C91-4213832BD4A8}" type="pres">
      <dgm:prSet presAssocID="{E4AC8A64-55F4-443E-B0BA-5318A6B29154}" presName="parTx" presStyleLbl="revTx" presStyleIdx="1" presStyleCnt="4">
        <dgm:presLayoutVars>
          <dgm:chMax val="0"/>
          <dgm:chPref val="0"/>
        </dgm:presLayoutVars>
      </dgm:prSet>
      <dgm:spPr/>
    </dgm:pt>
    <dgm:pt modelId="{8F341BE1-C9AB-4A85-895C-64DB8B1E6AF8}" type="pres">
      <dgm:prSet presAssocID="{55C8D161-AB5E-46D3-9037-24F4132C659D}" presName="sibTrans" presStyleCnt="0"/>
      <dgm:spPr/>
    </dgm:pt>
    <dgm:pt modelId="{88F3F88E-40FF-4D08-A590-9A5BA6896755}" type="pres">
      <dgm:prSet presAssocID="{4305907E-5F2E-4CA3-B36A-1462E6F7006F}" presName="compNode" presStyleCnt="0"/>
      <dgm:spPr/>
    </dgm:pt>
    <dgm:pt modelId="{E4DB5741-70E7-4254-8CCD-5F45EE730167}" type="pres">
      <dgm:prSet presAssocID="{4305907E-5F2E-4CA3-B36A-1462E6F7006F}" presName="bgRect" presStyleLbl="bgShp" presStyleIdx="2" presStyleCnt="4"/>
      <dgm:spPr/>
    </dgm:pt>
    <dgm:pt modelId="{971922AD-4B2F-4084-ACF8-048593612C24}" type="pres">
      <dgm:prSet presAssocID="{4305907E-5F2E-4CA3-B36A-1462E6F7006F}" presName="iconRect" presStyleLbl="node1" presStyleIdx="2" presStyleCnt="4"/>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a:noFill/>
        </a:ln>
      </dgm:spPr>
      <dgm:extLst>
        <a:ext uri="{E40237B7-FDA0-4F09-8148-C483321AD2D9}">
          <dgm14:cNvPr xmlns:dgm14="http://schemas.microsoft.com/office/drawing/2010/diagram" id="0" name="" descr="Web Design"/>
        </a:ext>
      </dgm:extLst>
    </dgm:pt>
    <dgm:pt modelId="{D99AE7A8-2B2D-4EDC-A041-AA2A242D8917}" type="pres">
      <dgm:prSet presAssocID="{4305907E-5F2E-4CA3-B36A-1462E6F7006F}" presName="spaceRect" presStyleCnt="0"/>
      <dgm:spPr/>
    </dgm:pt>
    <dgm:pt modelId="{7C54499F-9617-46F2-BB39-A2D1DED78FAF}" type="pres">
      <dgm:prSet presAssocID="{4305907E-5F2E-4CA3-B36A-1462E6F7006F}" presName="parTx" presStyleLbl="revTx" presStyleIdx="2" presStyleCnt="4">
        <dgm:presLayoutVars>
          <dgm:chMax val="0"/>
          <dgm:chPref val="0"/>
        </dgm:presLayoutVars>
      </dgm:prSet>
      <dgm:spPr/>
    </dgm:pt>
    <dgm:pt modelId="{7443F30E-BB9D-4D3E-8494-0BAD6424A7EE}" type="pres">
      <dgm:prSet presAssocID="{43201800-6033-4C7C-9C8E-91C1E49FA24C}" presName="sibTrans" presStyleCnt="0"/>
      <dgm:spPr/>
    </dgm:pt>
    <dgm:pt modelId="{A91DDE38-5270-4CF5-ABB2-0D7C02EDFE21}" type="pres">
      <dgm:prSet presAssocID="{AB444AA0-43DF-4881-AD84-4E13E85985EB}" presName="compNode" presStyleCnt="0"/>
      <dgm:spPr/>
    </dgm:pt>
    <dgm:pt modelId="{A15ECB6D-3CF2-4474-B329-61917B97AA92}" type="pres">
      <dgm:prSet presAssocID="{AB444AA0-43DF-4881-AD84-4E13E85985EB}" presName="bgRect" presStyleLbl="bgShp" presStyleIdx="3" presStyleCnt="4"/>
      <dgm:spPr/>
    </dgm:pt>
    <dgm:pt modelId="{ECA8F3F4-7A04-44C7-B55E-988A8DC69393}" type="pres">
      <dgm:prSet presAssocID="{AB444AA0-43DF-4881-AD84-4E13E85985EB}" presName="iconRect" presStyleLbl="node1" presStyleIdx="3" presStyleCnt="4"/>
      <dgm:spPr>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a:noFill/>
        </a:ln>
      </dgm:spPr>
      <dgm:extLst>
        <a:ext uri="{E40237B7-FDA0-4F09-8148-C483321AD2D9}">
          <dgm14:cNvPr xmlns:dgm14="http://schemas.microsoft.com/office/drawing/2010/diagram" id="0" name="" descr="Playbook"/>
        </a:ext>
      </dgm:extLst>
    </dgm:pt>
    <dgm:pt modelId="{F31E6034-0625-49F3-BC47-D36B181D954E}" type="pres">
      <dgm:prSet presAssocID="{AB444AA0-43DF-4881-AD84-4E13E85985EB}" presName="spaceRect" presStyleCnt="0"/>
      <dgm:spPr/>
    </dgm:pt>
    <dgm:pt modelId="{7F25B222-F51B-4652-9921-E144C59393EE}" type="pres">
      <dgm:prSet presAssocID="{AB444AA0-43DF-4881-AD84-4E13E85985EB}" presName="parTx" presStyleLbl="revTx" presStyleIdx="3" presStyleCnt="4">
        <dgm:presLayoutVars>
          <dgm:chMax val="0"/>
          <dgm:chPref val="0"/>
        </dgm:presLayoutVars>
      </dgm:prSet>
      <dgm:spPr/>
    </dgm:pt>
  </dgm:ptLst>
  <dgm:cxnLst>
    <dgm:cxn modelId="{85B4C904-7DF7-4847-8FE1-A1B95714B2FC}" type="presOf" srcId="{E4AC8A64-55F4-443E-B0BA-5318A6B29154}" destId="{4656DA59-A7F1-41E6-8C91-4213832BD4A8}" srcOrd="0" destOrd="0" presId="urn:microsoft.com/office/officeart/2018/2/layout/IconVerticalSolidList"/>
    <dgm:cxn modelId="{8E42EC13-0340-4C79-A32C-52277B459457}" type="presOf" srcId="{4305907E-5F2E-4CA3-B36A-1462E6F7006F}" destId="{7C54499F-9617-46F2-BB39-A2D1DED78FAF}" srcOrd="0" destOrd="0" presId="urn:microsoft.com/office/officeart/2018/2/layout/IconVerticalSolidList"/>
    <dgm:cxn modelId="{54A1D91C-142D-472F-A20B-35126C39A4C2}" srcId="{E8A9A05B-8B35-4656-A7C2-1864A6A689B4}" destId="{AB444AA0-43DF-4881-AD84-4E13E85985EB}" srcOrd="3" destOrd="0" parTransId="{305C1EE4-527A-48B9-9C6C-10FFB6630989}" sibTransId="{7C51E932-744F-4E8B-B82F-3FF1D48494C5}"/>
    <dgm:cxn modelId="{F10A6076-72D1-4A03-96B1-47A320233E3B}" srcId="{E8A9A05B-8B35-4656-A7C2-1864A6A689B4}" destId="{E4AC8A64-55F4-443E-B0BA-5318A6B29154}" srcOrd="1" destOrd="0" parTransId="{6F6669A2-3E22-43BC-BDDD-DA9DECDC8DF6}" sibTransId="{55C8D161-AB5E-46D3-9037-24F4132C659D}"/>
    <dgm:cxn modelId="{48798F9B-3414-4219-B792-43AACE6CBAEF}" type="presOf" srcId="{E8A9A05B-8B35-4656-A7C2-1864A6A689B4}" destId="{8A09766F-DE5B-4D39-A256-134DBEDB7ECF}" srcOrd="0" destOrd="0" presId="urn:microsoft.com/office/officeart/2018/2/layout/IconVerticalSolidList"/>
    <dgm:cxn modelId="{51D024BB-544C-4E17-9A1A-68C6FED986CD}" type="presOf" srcId="{AB444AA0-43DF-4881-AD84-4E13E85985EB}" destId="{7F25B222-F51B-4652-9921-E144C59393EE}" srcOrd="0" destOrd="0" presId="urn:microsoft.com/office/officeart/2018/2/layout/IconVerticalSolidList"/>
    <dgm:cxn modelId="{A3445CCC-198F-4F37-8E77-A1F31B3C8DB1}" srcId="{E8A9A05B-8B35-4656-A7C2-1864A6A689B4}" destId="{A14D7DCC-3093-418C-B8D3-ABF0B4E9D5AB}" srcOrd="0" destOrd="0" parTransId="{1E2811D8-C65C-4B6D-854C-670A86C87A25}" sibTransId="{F2D197BF-E148-42F0-86F7-163EF01A619A}"/>
    <dgm:cxn modelId="{286D82D4-996B-4755-AE5B-0A3F60939734}" type="presOf" srcId="{A14D7DCC-3093-418C-B8D3-ABF0B4E9D5AB}" destId="{41F5D721-4493-47EE-AEE2-3DACBB61E43C}" srcOrd="0" destOrd="0" presId="urn:microsoft.com/office/officeart/2018/2/layout/IconVerticalSolidList"/>
    <dgm:cxn modelId="{2F3095DD-8C7E-47B1-B528-1304D35FD2E1}" srcId="{E8A9A05B-8B35-4656-A7C2-1864A6A689B4}" destId="{4305907E-5F2E-4CA3-B36A-1462E6F7006F}" srcOrd="2" destOrd="0" parTransId="{F3479617-3E61-4A55-B14A-0844071B105E}" sibTransId="{43201800-6033-4C7C-9C8E-91C1E49FA24C}"/>
    <dgm:cxn modelId="{0969D112-BD8D-4CA3-BFE0-208C897049B4}" type="presParOf" srcId="{8A09766F-DE5B-4D39-A256-134DBEDB7ECF}" destId="{ABAA03BC-8E16-4E2B-9739-EE60B4235FEE}" srcOrd="0" destOrd="0" presId="urn:microsoft.com/office/officeart/2018/2/layout/IconVerticalSolidList"/>
    <dgm:cxn modelId="{E08B7AB8-8087-4D3F-9AA5-60B919BAA5BF}" type="presParOf" srcId="{ABAA03BC-8E16-4E2B-9739-EE60B4235FEE}" destId="{040847F7-ABD7-4D3F-8251-7756384D6399}" srcOrd="0" destOrd="0" presId="urn:microsoft.com/office/officeart/2018/2/layout/IconVerticalSolidList"/>
    <dgm:cxn modelId="{F5C95EBB-C782-479B-AA14-972FEEEC355C}" type="presParOf" srcId="{ABAA03BC-8E16-4E2B-9739-EE60B4235FEE}" destId="{B0C530FD-A7BF-4DE8-959E-3D1972C3A7E6}" srcOrd="1" destOrd="0" presId="urn:microsoft.com/office/officeart/2018/2/layout/IconVerticalSolidList"/>
    <dgm:cxn modelId="{D9335407-5DDC-436A-B5EA-702086DA75B4}" type="presParOf" srcId="{ABAA03BC-8E16-4E2B-9739-EE60B4235FEE}" destId="{CD3F862F-29B9-400B-82CA-F848D6471DC6}" srcOrd="2" destOrd="0" presId="urn:microsoft.com/office/officeart/2018/2/layout/IconVerticalSolidList"/>
    <dgm:cxn modelId="{85284FD7-DD9F-4C93-9D44-45A8AE83568A}" type="presParOf" srcId="{ABAA03BC-8E16-4E2B-9739-EE60B4235FEE}" destId="{41F5D721-4493-47EE-AEE2-3DACBB61E43C}" srcOrd="3" destOrd="0" presId="urn:microsoft.com/office/officeart/2018/2/layout/IconVerticalSolidList"/>
    <dgm:cxn modelId="{4E299128-7EE6-4E56-A45C-2AEBD223DE5A}" type="presParOf" srcId="{8A09766F-DE5B-4D39-A256-134DBEDB7ECF}" destId="{0C551CB0-B56F-4F25-B4A9-B6EAAE85C48D}" srcOrd="1" destOrd="0" presId="urn:microsoft.com/office/officeart/2018/2/layout/IconVerticalSolidList"/>
    <dgm:cxn modelId="{FD298AD4-17ED-4302-8543-D34F3C047182}" type="presParOf" srcId="{8A09766F-DE5B-4D39-A256-134DBEDB7ECF}" destId="{2184DDCD-3985-4D32-B0A1-0A6AEDF64E3B}" srcOrd="2" destOrd="0" presId="urn:microsoft.com/office/officeart/2018/2/layout/IconVerticalSolidList"/>
    <dgm:cxn modelId="{E69A114C-5F9C-4288-8F61-CBB9801D5A07}" type="presParOf" srcId="{2184DDCD-3985-4D32-B0A1-0A6AEDF64E3B}" destId="{E189E3F5-86D3-4930-B618-635F2E1F4630}" srcOrd="0" destOrd="0" presId="urn:microsoft.com/office/officeart/2018/2/layout/IconVerticalSolidList"/>
    <dgm:cxn modelId="{FBA47D32-B3F4-45CF-80AF-76B261DA299F}" type="presParOf" srcId="{2184DDCD-3985-4D32-B0A1-0A6AEDF64E3B}" destId="{9410E50B-32F7-499E-A74E-903ADADF1A75}" srcOrd="1" destOrd="0" presId="urn:microsoft.com/office/officeart/2018/2/layout/IconVerticalSolidList"/>
    <dgm:cxn modelId="{92B53B14-D2C5-41AD-800F-ADB54F4CA4EA}" type="presParOf" srcId="{2184DDCD-3985-4D32-B0A1-0A6AEDF64E3B}" destId="{AB531C86-B4E5-4710-B085-ED556C704031}" srcOrd="2" destOrd="0" presId="urn:microsoft.com/office/officeart/2018/2/layout/IconVerticalSolidList"/>
    <dgm:cxn modelId="{433CE8DE-6232-4BED-8C99-BF12EDC368AF}" type="presParOf" srcId="{2184DDCD-3985-4D32-B0A1-0A6AEDF64E3B}" destId="{4656DA59-A7F1-41E6-8C91-4213832BD4A8}" srcOrd="3" destOrd="0" presId="urn:microsoft.com/office/officeart/2018/2/layout/IconVerticalSolidList"/>
    <dgm:cxn modelId="{CEB23556-C6C7-40CC-8061-2D805F2DD8AC}" type="presParOf" srcId="{8A09766F-DE5B-4D39-A256-134DBEDB7ECF}" destId="{8F341BE1-C9AB-4A85-895C-64DB8B1E6AF8}" srcOrd="3" destOrd="0" presId="urn:microsoft.com/office/officeart/2018/2/layout/IconVerticalSolidList"/>
    <dgm:cxn modelId="{2356C388-CE1C-43D3-ACEC-3C1B3F3269E5}" type="presParOf" srcId="{8A09766F-DE5B-4D39-A256-134DBEDB7ECF}" destId="{88F3F88E-40FF-4D08-A590-9A5BA6896755}" srcOrd="4" destOrd="0" presId="urn:microsoft.com/office/officeart/2018/2/layout/IconVerticalSolidList"/>
    <dgm:cxn modelId="{E91B3C0C-5276-4088-905F-CDA54CAEBA82}" type="presParOf" srcId="{88F3F88E-40FF-4D08-A590-9A5BA6896755}" destId="{E4DB5741-70E7-4254-8CCD-5F45EE730167}" srcOrd="0" destOrd="0" presId="urn:microsoft.com/office/officeart/2018/2/layout/IconVerticalSolidList"/>
    <dgm:cxn modelId="{E2A3E21B-A4DB-457C-89BE-070B071F38A5}" type="presParOf" srcId="{88F3F88E-40FF-4D08-A590-9A5BA6896755}" destId="{971922AD-4B2F-4084-ACF8-048593612C24}" srcOrd="1" destOrd="0" presId="urn:microsoft.com/office/officeart/2018/2/layout/IconVerticalSolidList"/>
    <dgm:cxn modelId="{CD30F67A-EE3B-4F85-A865-1D946010DE00}" type="presParOf" srcId="{88F3F88E-40FF-4D08-A590-9A5BA6896755}" destId="{D99AE7A8-2B2D-4EDC-A041-AA2A242D8917}" srcOrd="2" destOrd="0" presId="urn:microsoft.com/office/officeart/2018/2/layout/IconVerticalSolidList"/>
    <dgm:cxn modelId="{D547E01A-5DAA-4516-955D-AD38A834A6A6}" type="presParOf" srcId="{88F3F88E-40FF-4D08-A590-9A5BA6896755}" destId="{7C54499F-9617-46F2-BB39-A2D1DED78FAF}" srcOrd="3" destOrd="0" presId="urn:microsoft.com/office/officeart/2018/2/layout/IconVerticalSolidList"/>
    <dgm:cxn modelId="{CD9BF100-0BC1-446B-87A6-1C58B5A0C835}" type="presParOf" srcId="{8A09766F-DE5B-4D39-A256-134DBEDB7ECF}" destId="{7443F30E-BB9D-4D3E-8494-0BAD6424A7EE}" srcOrd="5" destOrd="0" presId="urn:microsoft.com/office/officeart/2018/2/layout/IconVerticalSolidList"/>
    <dgm:cxn modelId="{BF9E2FDB-6941-46DE-9975-25E235ED5D41}" type="presParOf" srcId="{8A09766F-DE5B-4D39-A256-134DBEDB7ECF}" destId="{A91DDE38-5270-4CF5-ABB2-0D7C02EDFE21}" srcOrd="6" destOrd="0" presId="urn:microsoft.com/office/officeart/2018/2/layout/IconVerticalSolidList"/>
    <dgm:cxn modelId="{43331A92-F3D5-4DC1-BD89-2793DA4E64EA}" type="presParOf" srcId="{A91DDE38-5270-4CF5-ABB2-0D7C02EDFE21}" destId="{A15ECB6D-3CF2-4474-B329-61917B97AA92}" srcOrd="0" destOrd="0" presId="urn:microsoft.com/office/officeart/2018/2/layout/IconVerticalSolidList"/>
    <dgm:cxn modelId="{4EB68EB8-4DA1-464D-A334-40AD849E3096}" type="presParOf" srcId="{A91DDE38-5270-4CF5-ABB2-0D7C02EDFE21}" destId="{ECA8F3F4-7A04-44C7-B55E-988A8DC69393}" srcOrd="1" destOrd="0" presId="urn:microsoft.com/office/officeart/2018/2/layout/IconVerticalSolidList"/>
    <dgm:cxn modelId="{182D6336-1978-4D83-A558-2B6A96CE0820}" type="presParOf" srcId="{A91DDE38-5270-4CF5-ABB2-0D7C02EDFE21}" destId="{F31E6034-0625-49F3-BC47-D36B181D954E}" srcOrd="2" destOrd="0" presId="urn:microsoft.com/office/officeart/2018/2/layout/IconVerticalSolidList"/>
    <dgm:cxn modelId="{4BF947DF-DDC7-4709-B7F0-C3D59608FBC8}" type="presParOf" srcId="{A91DDE38-5270-4CF5-ABB2-0D7C02EDFE21}" destId="{7F25B222-F51B-4652-9921-E144C59393EE}" srcOrd="3" destOrd="0" presId="urn:microsoft.com/office/officeart/2018/2/layout/IconVerticalSolid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9.xml><?xml version="1.0" encoding="utf-8"?>
<dgm:dataModel xmlns:dgm="http://schemas.openxmlformats.org/drawingml/2006/diagram" xmlns:a="http://schemas.openxmlformats.org/drawingml/2006/main">
  <dgm:ptLst>
    <dgm:pt modelId="{55DAB2A4-55DE-4262-845C-F258A4503C87}" type="doc">
      <dgm:prSet loTypeId="urn:microsoft.com/office/officeart/2018/2/layout/IconVerticalSolidList" loCatId="icon" qsTypeId="urn:microsoft.com/office/officeart/2005/8/quickstyle/simple1" qsCatId="simple" csTypeId="urn:microsoft.com/office/officeart/2018/5/colors/Iconchunking_neutralbg_colorful1" csCatId="colorful" phldr="1"/>
      <dgm:spPr/>
      <dgm:t>
        <a:bodyPr/>
        <a:lstStyle/>
        <a:p>
          <a:endParaRPr lang="en-US"/>
        </a:p>
      </dgm:t>
    </dgm:pt>
    <dgm:pt modelId="{B7252588-C45A-4067-A35C-1F5575CEF97F}">
      <dgm:prSet/>
      <dgm:spPr/>
      <dgm:t>
        <a:bodyPr/>
        <a:lstStyle/>
        <a:p>
          <a:pPr>
            <a:lnSpc>
              <a:spcPct val="100000"/>
            </a:lnSpc>
          </a:pPr>
          <a:r>
            <a:rPr lang="en-US"/>
            <a:t>Builds on all of the previous skillsets</a:t>
          </a:r>
        </a:p>
      </dgm:t>
    </dgm:pt>
    <dgm:pt modelId="{ADBE3122-EFF3-46DA-9BD8-5EBA8FBB00F7}" type="parTrans" cxnId="{2C989600-F2BF-4CEA-8E50-BB817C6F760E}">
      <dgm:prSet/>
      <dgm:spPr/>
      <dgm:t>
        <a:bodyPr/>
        <a:lstStyle/>
        <a:p>
          <a:endParaRPr lang="en-US"/>
        </a:p>
      </dgm:t>
    </dgm:pt>
    <dgm:pt modelId="{625D9190-9FBA-477A-BF4B-ABB9B0D2FAB1}" type="sibTrans" cxnId="{2C989600-F2BF-4CEA-8E50-BB817C6F760E}">
      <dgm:prSet/>
      <dgm:spPr/>
      <dgm:t>
        <a:bodyPr/>
        <a:lstStyle/>
        <a:p>
          <a:endParaRPr lang="en-US"/>
        </a:p>
      </dgm:t>
    </dgm:pt>
    <dgm:pt modelId="{207C8BB3-9BA2-4AEE-A29F-9AE20A296747}">
      <dgm:prSet/>
      <dgm:spPr/>
      <dgm:t>
        <a:bodyPr/>
        <a:lstStyle/>
        <a:p>
          <a:pPr>
            <a:lnSpc>
              <a:spcPct val="100000"/>
            </a:lnSpc>
          </a:pPr>
          <a:r>
            <a:rPr lang="en-US"/>
            <a:t>Knows the product inside and out</a:t>
          </a:r>
        </a:p>
      </dgm:t>
    </dgm:pt>
    <dgm:pt modelId="{8F9290AD-D6E2-4B06-BD53-7E22A7F9143D}" type="parTrans" cxnId="{168C3147-93E1-40EB-AD66-DAAD4773DCF5}">
      <dgm:prSet/>
      <dgm:spPr/>
      <dgm:t>
        <a:bodyPr/>
        <a:lstStyle/>
        <a:p>
          <a:endParaRPr lang="en-US"/>
        </a:p>
      </dgm:t>
    </dgm:pt>
    <dgm:pt modelId="{66379297-9425-450C-8450-AA376AFBB02F}" type="sibTrans" cxnId="{168C3147-93E1-40EB-AD66-DAAD4773DCF5}">
      <dgm:prSet/>
      <dgm:spPr/>
      <dgm:t>
        <a:bodyPr/>
        <a:lstStyle/>
        <a:p>
          <a:endParaRPr lang="en-US"/>
        </a:p>
      </dgm:t>
    </dgm:pt>
    <dgm:pt modelId="{33964FB1-4006-4DAA-9564-7120B032FE93}">
      <dgm:prSet/>
      <dgm:spPr/>
      <dgm:t>
        <a:bodyPr/>
        <a:lstStyle/>
        <a:p>
          <a:pPr>
            <a:lnSpc>
              <a:spcPct val="100000"/>
            </a:lnSpc>
          </a:pPr>
          <a:r>
            <a:rPr lang="en-US"/>
            <a:t>Knows what features are generally best for any given requirement</a:t>
          </a:r>
        </a:p>
      </dgm:t>
    </dgm:pt>
    <dgm:pt modelId="{105FBE78-115F-4C3F-8A34-44C68064EC15}" type="parTrans" cxnId="{9210F124-1C22-4692-9F73-159583828FC3}">
      <dgm:prSet/>
      <dgm:spPr/>
      <dgm:t>
        <a:bodyPr/>
        <a:lstStyle/>
        <a:p>
          <a:endParaRPr lang="en-US"/>
        </a:p>
      </dgm:t>
    </dgm:pt>
    <dgm:pt modelId="{D2422038-5519-4ACB-A9DA-FDCE2C8ACDC1}" type="sibTrans" cxnId="{9210F124-1C22-4692-9F73-159583828FC3}">
      <dgm:prSet/>
      <dgm:spPr/>
      <dgm:t>
        <a:bodyPr/>
        <a:lstStyle/>
        <a:p>
          <a:endParaRPr lang="en-US"/>
        </a:p>
      </dgm:t>
    </dgm:pt>
    <dgm:pt modelId="{9FB38EF1-E415-4A77-B30B-034B0F273A01}">
      <dgm:prSet/>
      <dgm:spPr/>
      <dgm:t>
        <a:bodyPr/>
        <a:lstStyle/>
        <a:p>
          <a:pPr>
            <a:lnSpc>
              <a:spcPct val="100000"/>
            </a:lnSpc>
          </a:pPr>
          <a:r>
            <a:rPr lang="en-US"/>
            <a:t>Can translate business requirements into functional requirements</a:t>
          </a:r>
        </a:p>
      </dgm:t>
    </dgm:pt>
    <dgm:pt modelId="{6971D484-912D-42E8-B7DC-C25DB2FF817E}" type="parTrans" cxnId="{636BAF64-270B-40F5-A69D-5D9FA6AAF4F4}">
      <dgm:prSet/>
      <dgm:spPr/>
      <dgm:t>
        <a:bodyPr/>
        <a:lstStyle/>
        <a:p>
          <a:endParaRPr lang="en-US"/>
        </a:p>
      </dgm:t>
    </dgm:pt>
    <dgm:pt modelId="{7947D531-43A5-4BFC-8291-38637CD2F5F9}" type="sibTrans" cxnId="{636BAF64-270B-40F5-A69D-5D9FA6AAF4F4}">
      <dgm:prSet/>
      <dgm:spPr/>
      <dgm:t>
        <a:bodyPr/>
        <a:lstStyle/>
        <a:p>
          <a:endParaRPr lang="en-US"/>
        </a:p>
      </dgm:t>
    </dgm:pt>
    <dgm:pt modelId="{6948CCA8-C879-4881-8403-4AB17A67B224}">
      <dgm:prSet/>
      <dgm:spPr/>
      <dgm:t>
        <a:bodyPr/>
        <a:lstStyle/>
        <a:p>
          <a:pPr>
            <a:lnSpc>
              <a:spcPct val="100000"/>
            </a:lnSpc>
          </a:pPr>
          <a:r>
            <a:rPr lang="en-US"/>
            <a:t>Can work with end-users and developers to define a solution</a:t>
          </a:r>
        </a:p>
      </dgm:t>
    </dgm:pt>
    <dgm:pt modelId="{1E801913-699A-443F-867D-89CF02979B8E}" type="parTrans" cxnId="{EC14A34C-E4F6-42E8-9A02-57A025A060A0}">
      <dgm:prSet/>
      <dgm:spPr/>
      <dgm:t>
        <a:bodyPr/>
        <a:lstStyle/>
        <a:p>
          <a:endParaRPr lang="en-US"/>
        </a:p>
      </dgm:t>
    </dgm:pt>
    <dgm:pt modelId="{1D9A40E3-B088-42D4-9E4A-0ABD30CD82C0}" type="sibTrans" cxnId="{EC14A34C-E4F6-42E8-9A02-57A025A060A0}">
      <dgm:prSet/>
      <dgm:spPr/>
      <dgm:t>
        <a:bodyPr/>
        <a:lstStyle/>
        <a:p>
          <a:endParaRPr lang="en-US"/>
        </a:p>
      </dgm:t>
    </dgm:pt>
    <dgm:pt modelId="{75EB3B8B-36E0-4EC5-A6FF-ADCD5D6829A6}" type="pres">
      <dgm:prSet presAssocID="{55DAB2A4-55DE-4262-845C-F258A4503C87}" presName="root" presStyleCnt="0">
        <dgm:presLayoutVars>
          <dgm:dir/>
          <dgm:resizeHandles val="exact"/>
        </dgm:presLayoutVars>
      </dgm:prSet>
      <dgm:spPr/>
    </dgm:pt>
    <dgm:pt modelId="{5FD11312-09BD-481C-8927-3BABA466A607}" type="pres">
      <dgm:prSet presAssocID="{B7252588-C45A-4067-A35C-1F5575CEF97F}" presName="compNode" presStyleCnt="0"/>
      <dgm:spPr/>
    </dgm:pt>
    <dgm:pt modelId="{57387913-A106-41F9-ACE3-09EDA15CF525}" type="pres">
      <dgm:prSet presAssocID="{B7252588-C45A-4067-A35C-1F5575CEF97F}" presName="bgRect" presStyleLbl="bgShp" presStyleIdx="0" presStyleCnt="5"/>
      <dgm:spPr/>
    </dgm:pt>
    <dgm:pt modelId="{DE74E767-B3E0-4D36-81C2-A457AE0F6760}" type="pres">
      <dgm:prSet presAssocID="{B7252588-C45A-4067-A35C-1F5575CEF97F}" presName="iconRect" presStyleLbl="node1" presStyleIdx="0" presStyleCnt="5"/>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a:noFill/>
        </a:ln>
      </dgm:spPr>
      <dgm:extLst>
        <a:ext uri="{E40237B7-FDA0-4F09-8148-C483321AD2D9}">
          <dgm14:cNvPr xmlns:dgm14="http://schemas.microsoft.com/office/drawing/2010/diagram" id="0" name="" descr="Windmill"/>
        </a:ext>
      </dgm:extLst>
    </dgm:pt>
    <dgm:pt modelId="{2C37520E-6908-4A0D-99A2-8A3074206526}" type="pres">
      <dgm:prSet presAssocID="{B7252588-C45A-4067-A35C-1F5575CEF97F}" presName="spaceRect" presStyleCnt="0"/>
      <dgm:spPr/>
    </dgm:pt>
    <dgm:pt modelId="{4A80B5A4-D74B-4DEC-8AEC-FE77FD68BE63}" type="pres">
      <dgm:prSet presAssocID="{B7252588-C45A-4067-A35C-1F5575CEF97F}" presName="parTx" presStyleLbl="revTx" presStyleIdx="0" presStyleCnt="5">
        <dgm:presLayoutVars>
          <dgm:chMax val="0"/>
          <dgm:chPref val="0"/>
        </dgm:presLayoutVars>
      </dgm:prSet>
      <dgm:spPr/>
    </dgm:pt>
    <dgm:pt modelId="{21668BAA-0ED7-4458-B8CA-C7B858156EFF}" type="pres">
      <dgm:prSet presAssocID="{625D9190-9FBA-477A-BF4B-ABB9B0D2FAB1}" presName="sibTrans" presStyleCnt="0"/>
      <dgm:spPr/>
    </dgm:pt>
    <dgm:pt modelId="{E9C0B852-28F6-418B-9964-9AF3DE2958F6}" type="pres">
      <dgm:prSet presAssocID="{207C8BB3-9BA2-4AEE-A29F-9AE20A296747}" presName="compNode" presStyleCnt="0"/>
      <dgm:spPr/>
    </dgm:pt>
    <dgm:pt modelId="{0356B307-3B7C-4D05-BE93-4D713B5D22CB}" type="pres">
      <dgm:prSet presAssocID="{207C8BB3-9BA2-4AEE-A29F-9AE20A296747}" presName="bgRect" presStyleLbl="bgShp" presStyleIdx="1" presStyleCnt="5"/>
      <dgm:spPr/>
    </dgm:pt>
    <dgm:pt modelId="{78D6FC8F-9CCA-4A81-AA9F-7D5BD12DBCC3}" type="pres">
      <dgm:prSet presAssocID="{207C8BB3-9BA2-4AEE-A29F-9AE20A296747}" presName="iconRect" presStyleLbl="node1" presStyleIdx="1" presStyleCnt="5"/>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dgm:spPr>
      <dgm:extLst>
        <a:ext uri="{E40237B7-FDA0-4F09-8148-C483321AD2D9}">
          <dgm14:cNvPr xmlns:dgm14="http://schemas.microsoft.com/office/drawing/2010/diagram" id="0" name="" descr="Advertising"/>
        </a:ext>
      </dgm:extLst>
    </dgm:pt>
    <dgm:pt modelId="{990377C9-0F19-4DB2-89D9-4A045B204CF7}" type="pres">
      <dgm:prSet presAssocID="{207C8BB3-9BA2-4AEE-A29F-9AE20A296747}" presName="spaceRect" presStyleCnt="0"/>
      <dgm:spPr/>
    </dgm:pt>
    <dgm:pt modelId="{517C0F44-77D3-4ADF-9164-0BF8AA4C22D9}" type="pres">
      <dgm:prSet presAssocID="{207C8BB3-9BA2-4AEE-A29F-9AE20A296747}" presName="parTx" presStyleLbl="revTx" presStyleIdx="1" presStyleCnt="5">
        <dgm:presLayoutVars>
          <dgm:chMax val="0"/>
          <dgm:chPref val="0"/>
        </dgm:presLayoutVars>
      </dgm:prSet>
      <dgm:spPr/>
    </dgm:pt>
    <dgm:pt modelId="{C1EAA35A-5D46-4815-AEEE-FB9639AC8C3D}" type="pres">
      <dgm:prSet presAssocID="{66379297-9425-450C-8450-AA376AFBB02F}" presName="sibTrans" presStyleCnt="0"/>
      <dgm:spPr/>
    </dgm:pt>
    <dgm:pt modelId="{84B66663-718C-42C7-8B1C-3F27AAA5A0AF}" type="pres">
      <dgm:prSet presAssocID="{33964FB1-4006-4DAA-9564-7120B032FE93}" presName="compNode" presStyleCnt="0"/>
      <dgm:spPr/>
    </dgm:pt>
    <dgm:pt modelId="{5AA64216-0C46-4149-A750-E69C469CBF02}" type="pres">
      <dgm:prSet presAssocID="{33964FB1-4006-4DAA-9564-7120B032FE93}" presName="bgRect" presStyleLbl="bgShp" presStyleIdx="2" presStyleCnt="5"/>
      <dgm:spPr/>
    </dgm:pt>
    <dgm:pt modelId="{EBBD1DE7-0479-4F24-AC88-B8257789D7FB}" type="pres">
      <dgm:prSet presAssocID="{33964FB1-4006-4DAA-9564-7120B032FE93}" presName="iconRect" presStyleLbl="node1" presStyleIdx="2" presStyleCnt="5"/>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a:noFill/>
        </a:ln>
      </dgm:spPr>
      <dgm:extLst>
        <a:ext uri="{E40237B7-FDA0-4F09-8148-C483321AD2D9}">
          <dgm14:cNvPr xmlns:dgm14="http://schemas.microsoft.com/office/drawing/2010/diagram" id="0" name="" descr="Influencer"/>
        </a:ext>
      </dgm:extLst>
    </dgm:pt>
    <dgm:pt modelId="{7058FCC4-E877-4CF0-939C-FD8E921198A0}" type="pres">
      <dgm:prSet presAssocID="{33964FB1-4006-4DAA-9564-7120B032FE93}" presName="spaceRect" presStyleCnt="0"/>
      <dgm:spPr/>
    </dgm:pt>
    <dgm:pt modelId="{7231974B-92E7-4FE4-B3BA-01A3F4170E75}" type="pres">
      <dgm:prSet presAssocID="{33964FB1-4006-4DAA-9564-7120B032FE93}" presName="parTx" presStyleLbl="revTx" presStyleIdx="2" presStyleCnt="5">
        <dgm:presLayoutVars>
          <dgm:chMax val="0"/>
          <dgm:chPref val="0"/>
        </dgm:presLayoutVars>
      </dgm:prSet>
      <dgm:spPr/>
    </dgm:pt>
    <dgm:pt modelId="{8C17B146-36CD-482F-ADD1-867719FB6FEC}" type="pres">
      <dgm:prSet presAssocID="{D2422038-5519-4ACB-A9DA-FDCE2C8ACDC1}" presName="sibTrans" presStyleCnt="0"/>
      <dgm:spPr/>
    </dgm:pt>
    <dgm:pt modelId="{9B424DD5-8BE3-424B-8C74-0A0D82A2EDD9}" type="pres">
      <dgm:prSet presAssocID="{9FB38EF1-E415-4A77-B30B-034B0F273A01}" presName="compNode" presStyleCnt="0"/>
      <dgm:spPr/>
    </dgm:pt>
    <dgm:pt modelId="{E4CAA327-A246-4FEC-98AF-4D1A7A183B0A}" type="pres">
      <dgm:prSet presAssocID="{9FB38EF1-E415-4A77-B30B-034B0F273A01}" presName="bgRect" presStyleLbl="bgShp" presStyleIdx="3" presStyleCnt="5"/>
      <dgm:spPr/>
    </dgm:pt>
    <dgm:pt modelId="{586EF4C5-62EA-4694-A5A2-2D00EC68DB50}" type="pres">
      <dgm:prSet presAssocID="{9FB38EF1-E415-4A77-B30B-034B0F273A01}" presName="iconRect" presStyleLbl="node1" presStyleIdx="3" presStyleCnt="5"/>
      <dgm:spPr>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a:noFill/>
        </a:ln>
      </dgm:spPr>
      <dgm:extLst>
        <a:ext uri="{E40237B7-FDA0-4F09-8148-C483321AD2D9}">
          <dgm14:cNvPr xmlns:dgm14="http://schemas.microsoft.com/office/drawing/2010/diagram" id="0" name="" descr="Check List"/>
        </a:ext>
      </dgm:extLst>
    </dgm:pt>
    <dgm:pt modelId="{4979ED9A-83C3-4D10-BFA1-9CABFA7407EC}" type="pres">
      <dgm:prSet presAssocID="{9FB38EF1-E415-4A77-B30B-034B0F273A01}" presName="spaceRect" presStyleCnt="0"/>
      <dgm:spPr/>
    </dgm:pt>
    <dgm:pt modelId="{4466571C-2626-43E3-A15E-3B44C27C530A}" type="pres">
      <dgm:prSet presAssocID="{9FB38EF1-E415-4A77-B30B-034B0F273A01}" presName="parTx" presStyleLbl="revTx" presStyleIdx="3" presStyleCnt="5">
        <dgm:presLayoutVars>
          <dgm:chMax val="0"/>
          <dgm:chPref val="0"/>
        </dgm:presLayoutVars>
      </dgm:prSet>
      <dgm:spPr/>
    </dgm:pt>
    <dgm:pt modelId="{C306CD91-450B-426D-9363-AA2460C68F56}" type="pres">
      <dgm:prSet presAssocID="{7947D531-43A5-4BFC-8291-38637CD2F5F9}" presName="sibTrans" presStyleCnt="0"/>
      <dgm:spPr/>
    </dgm:pt>
    <dgm:pt modelId="{02AA08E9-96C1-4FF0-825D-3F9FE802A3A7}" type="pres">
      <dgm:prSet presAssocID="{6948CCA8-C879-4881-8403-4AB17A67B224}" presName="compNode" presStyleCnt="0"/>
      <dgm:spPr/>
    </dgm:pt>
    <dgm:pt modelId="{6F25A872-AEF5-4330-87C0-51E88647002B}" type="pres">
      <dgm:prSet presAssocID="{6948CCA8-C879-4881-8403-4AB17A67B224}" presName="bgRect" presStyleLbl="bgShp" presStyleIdx="4" presStyleCnt="5"/>
      <dgm:spPr/>
    </dgm:pt>
    <dgm:pt modelId="{DEE1F829-DD06-41C0-BDB4-C80A9AB0C54F}" type="pres">
      <dgm:prSet presAssocID="{6948CCA8-C879-4881-8403-4AB17A67B224}" presName="iconRect" presStyleLbl="node1" presStyleIdx="4" presStyleCnt="5"/>
      <dgm:spPr>
        <a:blipFill>
          <a:blip xmlns:r="http://schemas.openxmlformats.org/officeDocument/2006/relationships"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a:blipFill>
        <a:ln>
          <a:noFill/>
        </a:ln>
      </dgm:spPr>
      <dgm:extLst>
        <a:ext uri="{E40237B7-FDA0-4F09-8148-C483321AD2D9}">
          <dgm14:cNvPr xmlns:dgm14="http://schemas.microsoft.com/office/drawing/2010/diagram" id="0" name="" descr="Users"/>
        </a:ext>
      </dgm:extLst>
    </dgm:pt>
    <dgm:pt modelId="{083012B4-8B19-4084-A7E2-8C3D892E1ADC}" type="pres">
      <dgm:prSet presAssocID="{6948CCA8-C879-4881-8403-4AB17A67B224}" presName="spaceRect" presStyleCnt="0"/>
      <dgm:spPr/>
    </dgm:pt>
    <dgm:pt modelId="{78461CA3-B497-45B4-9779-2ED784664EA4}" type="pres">
      <dgm:prSet presAssocID="{6948CCA8-C879-4881-8403-4AB17A67B224}" presName="parTx" presStyleLbl="revTx" presStyleIdx="4" presStyleCnt="5">
        <dgm:presLayoutVars>
          <dgm:chMax val="0"/>
          <dgm:chPref val="0"/>
        </dgm:presLayoutVars>
      </dgm:prSet>
      <dgm:spPr/>
    </dgm:pt>
  </dgm:ptLst>
  <dgm:cxnLst>
    <dgm:cxn modelId="{2C989600-F2BF-4CEA-8E50-BB817C6F760E}" srcId="{55DAB2A4-55DE-4262-845C-F258A4503C87}" destId="{B7252588-C45A-4067-A35C-1F5575CEF97F}" srcOrd="0" destOrd="0" parTransId="{ADBE3122-EFF3-46DA-9BD8-5EBA8FBB00F7}" sibTransId="{625D9190-9FBA-477A-BF4B-ABB9B0D2FAB1}"/>
    <dgm:cxn modelId="{9210F124-1C22-4692-9F73-159583828FC3}" srcId="{55DAB2A4-55DE-4262-845C-F258A4503C87}" destId="{33964FB1-4006-4DAA-9564-7120B032FE93}" srcOrd="2" destOrd="0" parTransId="{105FBE78-115F-4C3F-8A34-44C68064EC15}" sibTransId="{D2422038-5519-4ACB-A9DA-FDCE2C8ACDC1}"/>
    <dgm:cxn modelId="{357E5836-DF99-47A1-BC39-F6537D51D7D5}" type="presOf" srcId="{6948CCA8-C879-4881-8403-4AB17A67B224}" destId="{78461CA3-B497-45B4-9779-2ED784664EA4}" srcOrd="0" destOrd="0" presId="urn:microsoft.com/office/officeart/2018/2/layout/IconVerticalSolidList"/>
    <dgm:cxn modelId="{636BAF64-270B-40F5-A69D-5D9FA6AAF4F4}" srcId="{55DAB2A4-55DE-4262-845C-F258A4503C87}" destId="{9FB38EF1-E415-4A77-B30B-034B0F273A01}" srcOrd="3" destOrd="0" parTransId="{6971D484-912D-42E8-B7DC-C25DB2FF817E}" sibTransId="{7947D531-43A5-4BFC-8291-38637CD2F5F9}"/>
    <dgm:cxn modelId="{168C3147-93E1-40EB-AD66-DAAD4773DCF5}" srcId="{55DAB2A4-55DE-4262-845C-F258A4503C87}" destId="{207C8BB3-9BA2-4AEE-A29F-9AE20A296747}" srcOrd="1" destOrd="0" parTransId="{8F9290AD-D6E2-4B06-BD53-7E22A7F9143D}" sibTransId="{66379297-9425-450C-8450-AA376AFBB02F}"/>
    <dgm:cxn modelId="{EC14A34C-E4F6-42E8-9A02-57A025A060A0}" srcId="{55DAB2A4-55DE-4262-845C-F258A4503C87}" destId="{6948CCA8-C879-4881-8403-4AB17A67B224}" srcOrd="4" destOrd="0" parTransId="{1E801913-699A-443F-867D-89CF02979B8E}" sibTransId="{1D9A40E3-B088-42D4-9E4A-0ABD30CD82C0}"/>
    <dgm:cxn modelId="{3192495A-8C37-4193-A494-D04BFCEB9C3A}" type="presOf" srcId="{207C8BB3-9BA2-4AEE-A29F-9AE20A296747}" destId="{517C0F44-77D3-4ADF-9164-0BF8AA4C22D9}" srcOrd="0" destOrd="0" presId="urn:microsoft.com/office/officeart/2018/2/layout/IconVerticalSolidList"/>
    <dgm:cxn modelId="{BF3D8B94-BCFC-4393-9D47-DD2828B13392}" type="presOf" srcId="{B7252588-C45A-4067-A35C-1F5575CEF97F}" destId="{4A80B5A4-D74B-4DEC-8AEC-FE77FD68BE63}" srcOrd="0" destOrd="0" presId="urn:microsoft.com/office/officeart/2018/2/layout/IconVerticalSolidList"/>
    <dgm:cxn modelId="{36F258AA-8600-4F94-90FA-D6CC80A7D387}" type="presOf" srcId="{9FB38EF1-E415-4A77-B30B-034B0F273A01}" destId="{4466571C-2626-43E3-A15E-3B44C27C530A}" srcOrd="0" destOrd="0" presId="urn:microsoft.com/office/officeart/2018/2/layout/IconVerticalSolidList"/>
    <dgm:cxn modelId="{4DB603B2-A5F6-4B14-B5F1-F88E2072D326}" type="presOf" srcId="{55DAB2A4-55DE-4262-845C-F258A4503C87}" destId="{75EB3B8B-36E0-4EC5-A6FF-ADCD5D6829A6}" srcOrd="0" destOrd="0" presId="urn:microsoft.com/office/officeart/2018/2/layout/IconVerticalSolidList"/>
    <dgm:cxn modelId="{5B8E46F9-CEDC-4C20-AEB2-970FC99CFA1E}" type="presOf" srcId="{33964FB1-4006-4DAA-9564-7120B032FE93}" destId="{7231974B-92E7-4FE4-B3BA-01A3F4170E75}" srcOrd="0" destOrd="0" presId="urn:microsoft.com/office/officeart/2018/2/layout/IconVerticalSolidList"/>
    <dgm:cxn modelId="{1A4E2DE1-2D6C-4F8F-A90C-E63E9ABED19D}" type="presParOf" srcId="{75EB3B8B-36E0-4EC5-A6FF-ADCD5D6829A6}" destId="{5FD11312-09BD-481C-8927-3BABA466A607}" srcOrd="0" destOrd="0" presId="urn:microsoft.com/office/officeart/2018/2/layout/IconVerticalSolidList"/>
    <dgm:cxn modelId="{59C28206-74B6-4434-9E12-8FF673A64C76}" type="presParOf" srcId="{5FD11312-09BD-481C-8927-3BABA466A607}" destId="{57387913-A106-41F9-ACE3-09EDA15CF525}" srcOrd="0" destOrd="0" presId="urn:microsoft.com/office/officeart/2018/2/layout/IconVerticalSolidList"/>
    <dgm:cxn modelId="{775F5707-95CC-41A4-9D1B-EA3CE238186E}" type="presParOf" srcId="{5FD11312-09BD-481C-8927-3BABA466A607}" destId="{DE74E767-B3E0-4D36-81C2-A457AE0F6760}" srcOrd="1" destOrd="0" presId="urn:microsoft.com/office/officeart/2018/2/layout/IconVerticalSolidList"/>
    <dgm:cxn modelId="{DA403BF7-5668-41E5-B080-179C34731047}" type="presParOf" srcId="{5FD11312-09BD-481C-8927-3BABA466A607}" destId="{2C37520E-6908-4A0D-99A2-8A3074206526}" srcOrd="2" destOrd="0" presId="urn:microsoft.com/office/officeart/2018/2/layout/IconVerticalSolidList"/>
    <dgm:cxn modelId="{ECA2DD42-51CC-45FA-8705-3B30ACC527AB}" type="presParOf" srcId="{5FD11312-09BD-481C-8927-3BABA466A607}" destId="{4A80B5A4-D74B-4DEC-8AEC-FE77FD68BE63}" srcOrd="3" destOrd="0" presId="urn:microsoft.com/office/officeart/2018/2/layout/IconVerticalSolidList"/>
    <dgm:cxn modelId="{06297145-840B-4CE6-8918-1C7CB1DF2DA1}" type="presParOf" srcId="{75EB3B8B-36E0-4EC5-A6FF-ADCD5D6829A6}" destId="{21668BAA-0ED7-4458-B8CA-C7B858156EFF}" srcOrd="1" destOrd="0" presId="urn:microsoft.com/office/officeart/2018/2/layout/IconVerticalSolidList"/>
    <dgm:cxn modelId="{5CFC0422-155A-466A-9329-CB061EA0A2F6}" type="presParOf" srcId="{75EB3B8B-36E0-4EC5-A6FF-ADCD5D6829A6}" destId="{E9C0B852-28F6-418B-9964-9AF3DE2958F6}" srcOrd="2" destOrd="0" presId="urn:microsoft.com/office/officeart/2018/2/layout/IconVerticalSolidList"/>
    <dgm:cxn modelId="{D24D459B-E121-43EF-877A-0268CE762B7B}" type="presParOf" srcId="{E9C0B852-28F6-418B-9964-9AF3DE2958F6}" destId="{0356B307-3B7C-4D05-BE93-4D713B5D22CB}" srcOrd="0" destOrd="0" presId="urn:microsoft.com/office/officeart/2018/2/layout/IconVerticalSolidList"/>
    <dgm:cxn modelId="{95E562AA-9D7F-43D7-9629-B980288EB9C8}" type="presParOf" srcId="{E9C0B852-28F6-418B-9964-9AF3DE2958F6}" destId="{78D6FC8F-9CCA-4A81-AA9F-7D5BD12DBCC3}" srcOrd="1" destOrd="0" presId="urn:microsoft.com/office/officeart/2018/2/layout/IconVerticalSolidList"/>
    <dgm:cxn modelId="{C499E9B3-853A-4BF3-844C-21C530A11996}" type="presParOf" srcId="{E9C0B852-28F6-418B-9964-9AF3DE2958F6}" destId="{990377C9-0F19-4DB2-89D9-4A045B204CF7}" srcOrd="2" destOrd="0" presId="urn:microsoft.com/office/officeart/2018/2/layout/IconVerticalSolidList"/>
    <dgm:cxn modelId="{B54EAA64-36EF-47D3-B5DE-6E54423DC828}" type="presParOf" srcId="{E9C0B852-28F6-418B-9964-9AF3DE2958F6}" destId="{517C0F44-77D3-4ADF-9164-0BF8AA4C22D9}" srcOrd="3" destOrd="0" presId="urn:microsoft.com/office/officeart/2018/2/layout/IconVerticalSolidList"/>
    <dgm:cxn modelId="{05851D0B-E605-468A-B5A3-3DB18F22A376}" type="presParOf" srcId="{75EB3B8B-36E0-4EC5-A6FF-ADCD5D6829A6}" destId="{C1EAA35A-5D46-4815-AEEE-FB9639AC8C3D}" srcOrd="3" destOrd="0" presId="urn:microsoft.com/office/officeart/2018/2/layout/IconVerticalSolidList"/>
    <dgm:cxn modelId="{EFD53E66-632E-4F7D-A427-790BC2D00A21}" type="presParOf" srcId="{75EB3B8B-36E0-4EC5-A6FF-ADCD5D6829A6}" destId="{84B66663-718C-42C7-8B1C-3F27AAA5A0AF}" srcOrd="4" destOrd="0" presId="urn:microsoft.com/office/officeart/2018/2/layout/IconVerticalSolidList"/>
    <dgm:cxn modelId="{65659E40-CB9B-47FA-92BB-4D60F0450F10}" type="presParOf" srcId="{84B66663-718C-42C7-8B1C-3F27AAA5A0AF}" destId="{5AA64216-0C46-4149-A750-E69C469CBF02}" srcOrd="0" destOrd="0" presId="urn:microsoft.com/office/officeart/2018/2/layout/IconVerticalSolidList"/>
    <dgm:cxn modelId="{A48393ED-BF56-47BF-8211-55682EBB3CF8}" type="presParOf" srcId="{84B66663-718C-42C7-8B1C-3F27AAA5A0AF}" destId="{EBBD1DE7-0479-4F24-AC88-B8257789D7FB}" srcOrd="1" destOrd="0" presId="urn:microsoft.com/office/officeart/2018/2/layout/IconVerticalSolidList"/>
    <dgm:cxn modelId="{6F4741B2-AF14-4195-AD70-185C9DB2A63D}" type="presParOf" srcId="{84B66663-718C-42C7-8B1C-3F27AAA5A0AF}" destId="{7058FCC4-E877-4CF0-939C-FD8E921198A0}" srcOrd="2" destOrd="0" presId="urn:microsoft.com/office/officeart/2018/2/layout/IconVerticalSolidList"/>
    <dgm:cxn modelId="{04A98785-E21F-4B65-BCFA-8EB28AD9BD30}" type="presParOf" srcId="{84B66663-718C-42C7-8B1C-3F27AAA5A0AF}" destId="{7231974B-92E7-4FE4-B3BA-01A3F4170E75}" srcOrd="3" destOrd="0" presId="urn:microsoft.com/office/officeart/2018/2/layout/IconVerticalSolidList"/>
    <dgm:cxn modelId="{7C60ADDE-3A9D-4445-B160-166358053650}" type="presParOf" srcId="{75EB3B8B-36E0-4EC5-A6FF-ADCD5D6829A6}" destId="{8C17B146-36CD-482F-ADD1-867719FB6FEC}" srcOrd="5" destOrd="0" presId="urn:microsoft.com/office/officeart/2018/2/layout/IconVerticalSolidList"/>
    <dgm:cxn modelId="{3635A62B-332D-4B4C-A851-6FB57BF0204A}" type="presParOf" srcId="{75EB3B8B-36E0-4EC5-A6FF-ADCD5D6829A6}" destId="{9B424DD5-8BE3-424B-8C74-0A0D82A2EDD9}" srcOrd="6" destOrd="0" presId="urn:microsoft.com/office/officeart/2018/2/layout/IconVerticalSolidList"/>
    <dgm:cxn modelId="{F79B8B07-DF61-4022-859B-E217CBCE5120}" type="presParOf" srcId="{9B424DD5-8BE3-424B-8C74-0A0D82A2EDD9}" destId="{E4CAA327-A246-4FEC-98AF-4D1A7A183B0A}" srcOrd="0" destOrd="0" presId="urn:microsoft.com/office/officeart/2018/2/layout/IconVerticalSolidList"/>
    <dgm:cxn modelId="{049325F3-1C9E-4BF2-AD8A-208CA783BD48}" type="presParOf" srcId="{9B424DD5-8BE3-424B-8C74-0A0D82A2EDD9}" destId="{586EF4C5-62EA-4694-A5A2-2D00EC68DB50}" srcOrd="1" destOrd="0" presId="urn:microsoft.com/office/officeart/2018/2/layout/IconVerticalSolidList"/>
    <dgm:cxn modelId="{4269F646-6393-40DF-B494-20E329981A2F}" type="presParOf" srcId="{9B424DD5-8BE3-424B-8C74-0A0D82A2EDD9}" destId="{4979ED9A-83C3-4D10-BFA1-9CABFA7407EC}" srcOrd="2" destOrd="0" presId="urn:microsoft.com/office/officeart/2018/2/layout/IconVerticalSolidList"/>
    <dgm:cxn modelId="{A54BE9D6-0C4B-4D2A-A53F-B487BA835CFD}" type="presParOf" srcId="{9B424DD5-8BE3-424B-8C74-0A0D82A2EDD9}" destId="{4466571C-2626-43E3-A15E-3B44C27C530A}" srcOrd="3" destOrd="0" presId="urn:microsoft.com/office/officeart/2018/2/layout/IconVerticalSolidList"/>
    <dgm:cxn modelId="{C5A51A48-665A-45A9-8F45-7F1398B5D4B5}" type="presParOf" srcId="{75EB3B8B-36E0-4EC5-A6FF-ADCD5D6829A6}" destId="{C306CD91-450B-426D-9363-AA2460C68F56}" srcOrd="7" destOrd="0" presId="urn:microsoft.com/office/officeart/2018/2/layout/IconVerticalSolidList"/>
    <dgm:cxn modelId="{B36F0820-063D-4C96-9A8E-95D18D674075}" type="presParOf" srcId="{75EB3B8B-36E0-4EC5-A6FF-ADCD5D6829A6}" destId="{02AA08E9-96C1-4FF0-825D-3F9FE802A3A7}" srcOrd="8" destOrd="0" presId="urn:microsoft.com/office/officeart/2018/2/layout/IconVerticalSolidList"/>
    <dgm:cxn modelId="{89189EC6-57F7-42A0-A458-40E834714C89}" type="presParOf" srcId="{02AA08E9-96C1-4FF0-825D-3F9FE802A3A7}" destId="{6F25A872-AEF5-4330-87C0-51E88647002B}" srcOrd="0" destOrd="0" presId="urn:microsoft.com/office/officeart/2018/2/layout/IconVerticalSolidList"/>
    <dgm:cxn modelId="{98C9A574-F14D-49BC-A9E1-10A9FD312CE8}" type="presParOf" srcId="{02AA08E9-96C1-4FF0-825D-3F9FE802A3A7}" destId="{DEE1F829-DD06-41C0-BDB4-C80A9AB0C54F}" srcOrd="1" destOrd="0" presId="urn:microsoft.com/office/officeart/2018/2/layout/IconVerticalSolidList"/>
    <dgm:cxn modelId="{2C927AB9-9A46-4BC8-9378-5467960805C1}" type="presParOf" srcId="{02AA08E9-96C1-4FF0-825D-3F9FE802A3A7}" destId="{083012B4-8B19-4084-A7E2-8C3D892E1ADC}" srcOrd="2" destOrd="0" presId="urn:microsoft.com/office/officeart/2018/2/layout/IconVerticalSolidList"/>
    <dgm:cxn modelId="{3B6592F2-44AC-4B5A-845B-CA9E938808B5}" type="presParOf" srcId="{02AA08E9-96C1-4FF0-825D-3F9FE802A3A7}" destId="{78461CA3-B497-45B4-9779-2ED784664EA4}" srcOrd="3" destOrd="0" presId="urn:microsoft.com/office/officeart/2018/2/layout/IconVerticalSolid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9DD0293-7514-408A-8B5E-75A95EC3A70E}">
      <dsp:nvSpPr>
        <dsp:cNvPr id="0" name=""/>
        <dsp:cNvSpPr/>
      </dsp:nvSpPr>
      <dsp:spPr>
        <a:xfrm>
          <a:off x="0" y="0"/>
          <a:ext cx="3040158" cy="0"/>
        </a:xfrm>
        <a:prstGeom prst="line">
          <a:avLst/>
        </a:prstGeom>
        <a:gradFill rotWithShape="0">
          <a:gsLst>
            <a:gs pos="0">
              <a:schemeClr val="accent4">
                <a:hueOff val="0"/>
                <a:satOff val="0"/>
                <a:lumOff val="0"/>
                <a:alphaOff val="0"/>
                <a:shade val="51000"/>
                <a:satMod val="130000"/>
              </a:schemeClr>
            </a:gs>
            <a:gs pos="80000">
              <a:schemeClr val="accent4">
                <a:hueOff val="0"/>
                <a:satOff val="0"/>
                <a:lumOff val="0"/>
                <a:alphaOff val="0"/>
                <a:shade val="93000"/>
                <a:satMod val="130000"/>
              </a:schemeClr>
            </a:gs>
            <a:gs pos="100000">
              <a:schemeClr val="accent4">
                <a:hueOff val="0"/>
                <a:satOff val="0"/>
                <a:lumOff val="0"/>
                <a:alphaOff val="0"/>
                <a:shade val="94000"/>
                <a:satMod val="135000"/>
              </a:schemeClr>
            </a:gs>
          </a:gsLst>
          <a:lin ang="16200000" scaled="0"/>
        </a:gradFill>
        <a:ln w="9525" cap="flat" cmpd="sng" algn="ctr">
          <a:solidFill>
            <a:schemeClr val="accent4">
              <a:hueOff val="0"/>
              <a:satOff val="0"/>
              <a:lumOff val="0"/>
              <a:alphaOff val="0"/>
            </a:schemeClr>
          </a:solidFill>
          <a:prstDash val="solid"/>
        </a:ln>
        <a:effectLst>
          <a:outerShdw blurRad="40000" dist="23000" dir="5400000" rotWithShape="0">
            <a:srgbClr val="000000">
              <a:alpha val="35000"/>
            </a:srgbClr>
          </a:outerShdw>
        </a:effectLst>
      </dsp:spPr>
      <dsp:style>
        <a:lnRef idx="1">
          <a:scrgbClr r="0" g="0" b="0"/>
        </a:lnRef>
        <a:fillRef idx="3">
          <a:scrgbClr r="0" g="0" b="0"/>
        </a:fillRef>
        <a:effectRef idx="2">
          <a:scrgbClr r="0" g="0" b="0"/>
        </a:effectRef>
        <a:fontRef idx="minor">
          <a:schemeClr val="lt1"/>
        </a:fontRef>
      </dsp:style>
    </dsp:sp>
    <dsp:sp modelId="{414DC4A8-1964-45BC-901B-52463C74CC8F}">
      <dsp:nvSpPr>
        <dsp:cNvPr id="0" name=""/>
        <dsp:cNvSpPr/>
      </dsp:nvSpPr>
      <dsp:spPr>
        <a:xfrm>
          <a:off x="0" y="0"/>
          <a:ext cx="3040158" cy="66809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2390" tIns="72390" rIns="72390" bIns="72390" numCol="1" spcCol="1270" anchor="t" anchorCtr="0">
          <a:noAutofit/>
        </a:bodyPr>
        <a:lstStyle/>
        <a:p>
          <a:pPr marL="0" lvl="0" indent="0" algn="l" defTabSz="844550">
            <a:lnSpc>
              <a:spcPct val="90000"/>
            </a:lnSpc>
            <a:spcBef>
              <a:spcPct val="0"/>
            </a:spcBef>
            <a:spcAft>
              <a:spcPct val="35000"/>
            </a:spcAft>
            <a:buNone/>
          </a:pPr>
          <a:r>
            <a:rPr lang="en-US" sz="1900" b="1" kern="1200" dirty="0"/>
            <a:t>mitch@xrmcoaches.com</a:t>
          </a:r>
        </a:p>
      </dsp:txBody>
      <dsp:txXfrm>
        <a:off x="0" y="0"/>
        <a:ext cx="3040158" cy="668092"/>
      </dsp:txXfrm>
    </dsp:sp>
    <dsp:sp modelId="{231A45E0-246A-476F-97BD-B030E40B70A3}">
      <dsp:nvSpPr>
        <dsp:cNvPr id="0" name=""/>
        <dsp:cNvSpPr/>
      </dsp:nvSpPr>
      <dsp:spPr>
        <a:xfrm>
          <a:off x="0" y="668092"/>
          <a:ext cx="3040158" cy="0"/>
        </a:xfrm>
        <a:prstGeom prst="line">
          <a:avLst/>
        </a:prstGeom>
        <a:gradFill rotWithShape="0">
          <a:gsLst>
            <a:gs pos="0">
              <a:schemeClr val="accent4">
                <a:hueOff val="0"/>
                <a:satOff val="0"/>
                <a:lumOff val="0"/>
                <a:alphaOff val="0"/>
                <a:shade val="51000"/>
                <a:satMod val="130000"/>
              </a:schemeClr>
            </a:gs>
            <a:gs pos="80000">
              <a:schemeClr val="accent4">
                <a:hueOff val="0"/>
                <a:satOff val="0"/>
                <a:lumOff val="0"/>
                <a:alphaOff val="0"/>
                <a:shade val="93000"/>
                <a:satMod val="130000"/>
              </a:schemeClr>
            </a:gs>
            <a:gs pos="100000">
              <a:schemeClr val="accent4">
                <a:hueOff val="0"/>
                <a:satOff val="0"/>
                <a:lumOff val="0"/>
                <a:alphaOff val="0"/>
                <a:shade val="94000"/>
                <a:satMod val="135000"/>
              </a:schemeClr>
            </a:gs>
          </a:gsLst>
          <a:lin ang="16200000" scaled="0"/>
        </a:gradFill>
        <a:ln w="9525" cap="flat" cmpd="sng" algn="ctr">
          <a:solidFill>
            <a:schemeClr val="accent4">
              <a:hueOff val="0"/>
              <a:satOff val="0"/>
              <a:lumOff val="0"/>
              <a:alphaOff val="0"/>
            </a:schemeClr>
          </a:solidFill>
          <a:prstDash val="solid"/>
        </a:ln>
        <a:effectLst>
          <a:outerShdw blurRad="40000" dist="23000" dir="5400000" rotWithShape="0">
            <a:srgbClr val="000000">
              <a:alpha val="35000"/>
            </a:srgbClr>
          </a:outerShdw>
        </a:effectLst>
      </dsp:spPr>
      <dsp:style>
        <a:lnRef idx="1">
          <a:scrgbClr r="0" g="0" b="0"/>
        </a:lnRef>
        <a:fillRef idx="3">
          <a:scrgbClr r="0" g="0" b="0"/>
        </a:fillRef>
        <a:effectRef idx="2">
          <a:scrgbClr r="0" g="0" b="0"/>
        </a:effectRef>
        <a:fontRef idx="minor">
          <a:schemeClr val="lt1"/>
        </a:fontRef>
      </dsp:style>
    </dsp:sp>
    <dsp:sp modelId="{7C0DC3F6-522E-4AE0-86CE-CCB39AF725C9}">
      <dsp:nvSpPr>
        <dsp:cNvPr id="0" name=""/>
        <dsp:cNvSpPr/>
      </dsp:nvSpPr>
      <dsp:spPr>
        <a:xfrm>
          <a:off x="0" y="668092"/>
          <a:ext cx="3040158" cy="66809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2390" tIns="72390" rIns="72390" bIns="72390" numCol="1" spcCol="1270" anchor="t" anchorCtr="0">
          <a:noAutofit/>
        </a:bodyPr>
        <a:lstStyle/>
        <a:p>
          <a:pPr marL="0" lvl="0" indent="0" algn="l" defTabSz="844550">
            <a:lnSpc>
              <a:spcPct val="90000"/>
            </a:lnSpc>
            <a:spcBef>
              <a:spcPct val="0"/>
            </a:spcBef>
            <a:spcAft>
              <a:spcPct val="35000"/>
            </a:spcAft>
            <a:buNone/>
          </a:pPr>
          <a:r>
            <a:rPr lang="en-US" sz="1900" b="1" kern="1200" dirty="0"/>
            <a:t>@</a:t>
          </a:r>
          <a:r>
            <a:rPr lang="en-US" sz="1900" b="1" kern="1200" dirty="0" err="1"/>
            <a:t>mitchmilam</a:t>
          </a:r>
          <a:endParaRPr lang="en-US" sz="1900" b="1" kern="1200" dirty="0"/>
        </a:p>
      </dsp:txBody>
      <dsp:txXfrm>
        <a:off x="0" y="668092"/>
        <a:ext cx="3040158" cy="668092"/>
      </dsp:txXfrm>
    </dsp:sp>
    <dsp:sp modelId="{B5A67A0F-B2CF-46A7-ABE8-9EDDF17475C8}">
      <dsp:nvSpPr>
        <dsp:cNvPr id="0" name=""/>
        <dsp:cNvSpPr/>
      </dsp:nvSpPr>
      <dsp:spPr>
        <a:xfrm>
          <a:off x="0" y="1336184"/>
          <a:ext cx="3040158" cy="0"/>
        </a:xfrm>
        <a:prstGeom prst="line">
          <a:avLst/>
        </a:prstGeom>
        <a:gradFill rotWithShape="0">
          <a:gsLst>
            <a:gs pos="0">
              <a:schemeClr val="accent4">
                <a:hueOff val="0"/>
                <a:satOff val="0"/>
                <a:lumOff val="0"/>
                <a:alphaOff val="0"/>
                <a:shade val="51000"/>
                <a:satMod val="130000"/>
              </a:schemeClr>
            </a:gs>
            <a:gs pos="80000">
              <a:schemeClr val="accent4">
                <a:hueOff val="0"/>
                <a:satOff val="0"/>
                <a:lumOff val="0"/>
                <a:alphaOff val="0"/>
                <a:shade val="93000"/>
                <a:satMod val="130000"/>
              </a:schemeClr>
            </a:gs>
            <a:gs pos="100000">
              <a:schemeClr val="accent4">
                <a:hueOff val="0"/>
                <a:satOff val="0"/>
                <a:lumOff val="0"/>
                <a:alphaOff val="0"/>
                <a:shade val="94000"/>
                <a:satMod val="135000"/>
              </a:schemeClr>
            </a:gs>
          </a:gsLst>
          <a:lin ang="16200000" scaled="0"/>
        </a:gradFill>
        <a:ln w="9525" cap="flat" cmpd="sng" algn="ctr">
          <a:solidFill>
            <a:schemeClr val="accent4">
              <a:hueOff val="0"/>
              <a:satOff val="0"/>
              <a:lumOff val="0"/>
              <a:alphaOff val="0"/>
            </a:schemeClr>
          </a:solidFill>
          <a:prstDash val="solid"/>
        </a:ln>
        <a:effectLst>
          <a:outerShdw blurRad="40000" dist="23000" dir="5400000" rotWithShape="0">
            <a:srgbClr val="000000">
              <a:alpha val="35000"/>
            </a:srgbClr>
          </a:outerShdw>
        </a:effectLst>
      </dsp:spPr>
      <dsp:style>
        <a:lnRef idx="1">
          <a:scrgbClr r="0" g="0" b="0"/>
        </a:lnRef>
        <a:fillRef idx="3">
          <a:scrgbClr r="0" g="0" b="0"/>
        </a:fillRef>
        <a:effectRef idx="2">
          <a:scrgbClr r="0" g="0" b="0"/>
        </a:effectRef>
        <a:fontRef idx="minor">
          <a:schemeClr val="lt1"/>
        </a:fontRef>
      </dsp:style>
    </dsp:sp>
    <dsp:sp modelId="{29A4991B-7739-48D4-9DA6-FC3F454F785D}">
      <dsp:nvSpPr>
        <dsp:cNvPr id="0" name=""/>
        <dsp:cNvSpPr/>
      </dsp:nvSpPr>
      <dsp:spPr>
        <a:xfrm>
          <a:off x="0" y="1336184"/>
          <a:ext cx="3040158" cy="66809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2390" tIns="72390" rIns="72390" bIns="72390" numCol="1" spcCol="1270" anchor="t" anchorCtr="0">
          <a:noAutofit/>
        </a:bodyPr>
        <a:lstStyle/>
        <a:p>
          <a:pPr marL="0" lvl="0" indent="0" algn="l" defTabSz="844550">
            <a:lnSpc>
              <a:spcPct val="90000"/>
            </a:lnSpc>
            <a:spcBef>
              <a:spcPct val="0"/>
            </a:spcBef>
            <a:spcAft>
              <a:spcPct val="35000"/>
            </a:spcAft>
            <a:buNone/>
          </a:pPr>
          <a:r>
            <a:rPr lang="en-US" sz="1900" b="1" kern="1200" dirty="0"/>
            <a:t>linkedin.com/in/mitchmilam</a:t>
          </a:r>
        </a:p>
      </dsp:txBody>
      <dsp:txXfrm>
        <a:off x="0" y="1336184"/>
        <a:ext cx="3040158" cy="668092"/>
      </dsp:txXfrm>
    </dsp:sp>
    <dsp:sp modelId="{071EE56F-D604-48FD-AE45-9240BFBDC51A}">
      <dsp:nvSpPr>
        <dsp:cNvPr id="0" name=""/>
        <dsp:cNvSpPr/>
      </dsp:nvSpPr>
      <dsp:spPr>
        <a:xfrm>
          <a:off x="0" y="2004276"/>
          <a:ext cx="3040158" cy="0"/>
        </a:xfrm>
        <a:prstGeom prst="line">
          <a:avLst/>
        </a:prstGeom>
        <a:gradFill rotWithShape="0">
          <a:gsLst>
            <a:gs pos="0">
              <a:schemeClr val="accent4">
                <a:hueOff val="0"/>
                <a:satOff val="0"/>
                <a:lumOff val="0"/>
                <a:alphaOff val="0"/>
                <a:shade val="51000"/>
                <a:satMod val="130000"/>
              </a:schemeClr>
            </a:gs>
            <a:gs pos="80000">
              <a:schemeClr val="accent4">
                <a:hueOff val="0"/>
                <a:satOff val="0"/>
                <a:lumOff val="0"/>
                <a:alphaOff val="0"/>
                <a:shade val="93000"/>
                <a:satMod val="130000"/>
              </a:schemeClr>
            </a:gs>
            <a:gs pos="100000">
              <a:schemeClr val="accent4">
                <a:hueOff val="0"/>
                <a:satOff val="0"/>
                <a:lumOff val="0"/>
                <a:alphaOff val="0"/>
                <a:shade val="94000"/>
                <a:satMod val="135000"/>
              </a:schemeClr>
            </a:gs>
          </a:gsLst>
          <a:lin ang="16200000" scaled="0"/>
        </a:gradFill>
        <a:ln w="9525" cap="flat" cmpd="sng" algn="ctr">
          <a:solidFill>
            <a:schemeClr val="accent4">
              <a:hueOff val="0"/>
              <a:satOff val="0"/>
              <a:lumOff val="0"/>
              <a:alphaOff val="0"/>
            </a:schemeClr>
          </a:solidFill>
          <a:prstDash val="solid"/>
        </a:ln>
        <a:effectLst>
          <a:outerShdw blurRad="40000" dist="23000" dir="5400000" rotWithShape="0">
            <a:srgbClr val="000000">
              <a:alpha val="35000"/>
            </a:srgbClr>
          </a:outerShdw>
        </a:effectLst>
      </dsp:spPr>
      <dsp:style>
        <a:lnRef idx="1">
          <a:scrgbClr r="0" g="0" b="0"/>
        </a:lnRef>
        <a:fillRef idx="3">
          <a:scrgbClr r="0" g="0" b="0"/>
        </a:fillRef>
        <a:effectRef idx="2">
          <a:scrgbClr r="0" g="0" b="0"/>
        </a:effectRef>
        <a:fontRef idx="minor">
          <a:schemeClr val="lt1"/>
        </a:fontRef>
      </dsp:style>
    </dsp:sp>
    <dsp:sp modelId="{C05FC414-5B10-46DC-93CD-2FB88A3716CF}">
      <dsp:nvSpPr>
        <dsp:cNvPr id="0" name=""/>
        <dsp:cNvSpPr/>
      </dsp:nvSpPr>
      <dsp:spPr>
        <a:xfrm>
          <a:off x="0" y="2004276"/>
          <a:ext cx="3040158" cy="66809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2390" tIns="72390" rIns="72390" bIns="72390" numCol="1" spcCol="1270" anchor="t" anchorCtr="0">
          <a:noAutofit/>
        </a:bodyPr>
        <a:lstStyle/>
        <a:p>
          <a:pPr marL="0" lvl="0" indent="0" algn="l" defTabSz="844550">
            <a:lnSpc>
              <a:spcPct val="90000"/>
            </a:lnSpc>
            <a:spcBef>
              <a:spcPct val="0"/>
            </a:spcBef>
            <a:spcAft>
              <a:spcPct val="35000"/>
            </a:spcAft>
            <a:buNone/>
          </a:pPr>
          <a:r>
            <a:rPr lang="en-US" sz="1900" b="1" kern="1200" dirty="0"/>
            <a:t>youtube.com/xRMCoaches</a:t>
          </a:r>
        </a:p>
      </dsp:txBody>
      <dsp:txXfrm>
        <a:off x="0" y="2004276"/>
        <a:ext cx="3040158" cy="668092"/>
      </dsp:txXfrm>
    </dsp:sp>
  </dsp:spTree>
</dsp:drawing>
</file>

<file path=ppt/diagrams/drawing1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1C340B9-F0CD-4CB1-817D-DFDD46E2DCDE}">
      <dsp:nvSpPr>
        <dsp:cNvPr id="0" name=""/>
        <dsp:cNvSpPr/>
      </dsp:nvSpPr>
      <dsp:spPr>
        <a:xfrm>
          <a:off x="0" y="1427"/>
          <a:ext cx="4885203" cy="608443"/>
        </a:xfrm>
        <a:prstGeom prst="roundRect">
          <a:avLst>
            <a:gd name="adj" fmla="val 10000"/>
          </a:avLst>
        </a:prstGeom>
        <a:solidFill>
          <a:schemeClr val="bg1">
            <a:lumMod val="95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E1CEC71E-983B-4378-9134-1ABA5D7CB2DC}">
      <dsp:nvSpPr>
        <dsp:cNvPr id="0" name=""/>
        <dsp:cNvSpPr/>
      </dsp:nvSpPr>
      <dsp:spPr>
        <a:xfrm>
          <a:off x="184054" y="138327"/>
          <a:ext cx="334643" cy="334643"/>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ED3360E8-AABD-4E88-A4FC-FAC496049025}">
      <dsp:nvSpPr>
        <dsp:cNvPr id="0" name=""/>
        <dsp:cNvSpPr/>
      </dsp:nvSpPr>
      <dsp:spPr>
        <a:xfrm>
          <a:off x="702751" y="1427"/>
          <a:ext cx="4182451" cy="60844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4394" tIns="64394" rIns="64394" bIns="64394" numCol="1" spcCol="1270" anchor="ctr" anchorCtr="0">
          <a:noAutofit/>
        </a:bodyPr>
        <a:lstStyle/>
        <a:p>
          <a:pPr marL="0" lvl="0" indent="0" algn="l" defTabSz="844550">
            <a:lnSpc>
              <a:spcPct val="100000"/>
            </a:lnSpc>
            <a:spcBef>
              <a:spcPct val="0"/>
            </a:spcBef>
            <a:spcAft>
              <a:spcPct val="35000"/>
            </a:spcAft>
            <a:buNone/>
          </a:pPr>
          <a:r>
            <a:rPr lang="en-US" sz="1900" kern="1200" dirty="0"/>
            <a:t>Websites and Blogs</a:t>
          </a:r>
        </a:p>
      </dsp:txBody>
      <dsp:txXfrm>
        <a:off x="702751" y="1427"/>
        <a:ext cx="4182451" cy="608443"/>
      </dsp:txXfrm>
    </dsp:sp>
    <dsp:sp modelId="{4AF804CA-95F8-4418-9C58-CBF137D4A2DE}">
      <dsp:nvSpPr>
        <dsp:cNvPr id="0" name=""/>
        <dsp:cNvSpPr/>
      </dsp:nvSpPr>
      <dsp:spPr>
        <a:xfrm>
          <a:off x="0" y="761981"/>
          <a:ext cx="4885203" cy="608443"/>
        </a:xfrm>
        <a:prstGeom prst="roundRect">
          <a:avLst>
            <a:gd name="adj" fmla="val 10000"/>
          </a:avLst>
        </a:prstGeom>
        <a:solidFill>
          <a:schemeClr val="bg1">
            <a:lumMod val="95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3E7CA742-19A0-4B1A-8C93-E1566280F817}">
      <dsp:nvSpPr>
        <dsp:cNvPr id="0" name=""/>
        <dsp:cNvSpPr/>
      </dsp:nvSpPr>
      <dsp:spPr>
        <a:xfrm>
          <a:off x="184054" y="898881"/>
          <a:ext cx="334643" cy="334643"/>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08946F01-6B95-4A1A-9ED0-A56DA760AE89}">
      <dsp:nvSpPr>
        <dsp:cNvPr id="0" name=""/>
        <dsp:cNvSpPr/>
      </dsp:nvSpPr>
      <dsp:spPr>
        <a:xfrm>
          <a:off x="702751" y="761981"/>
          <a:ext cx="4182451" cy="60844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4394" tIns="64394" rIns="64394" bIns="64394" numCol="1" spcCol="1270" anchor="ctr" anchorCtr="0">
          <a:noAutofit/>
        </a:bodyPr>
        <a:lstStyle/>
        <a:p>
          <a:pPr marL="0" lvl="0" indent="0" algn="l" defTabSz="844550">
            <a:lnSpc>
              <a:spcPct val="100000"/>
            </a:lnSpc>
            <a:spcBef>
              <a:spcPct val="0"/>
            </a:spcBef>
            <a:spcAft>
              <a:spcPct val="35000"/>
            </a:spcAft>
            <a:buNone/>
          </a:pPr>
          <a:r>
            <a:rPr lang="en-US" sz="1900" kern="1200"/>
            <a:t>YouTube</a:t>
          </a:r>
        </a:p>
      </dsp:txBody>
      <dsp:txXfrm>
        <a:off x="702751" y="761981"/>
        <a:ext cx="4182451" cy="608443"/>
      </dsp:txXfrm>
    </dsp:sp>
    <dsp:sp modelId="{4D3B4FFD-2180-4B93-8CFC-E6A60B166318}">
      <dsp:nvSpPr>
        <dsp:cNvPr id="0" name=""/>
        <dsp:cNvSpPr/>
      </dsp:nvSpPr>
      <dsp:spPr>
        <a:xfrm>
          <a:off x="0" y="1522535"/>
          <a:ext cx="4885203" cy="608443"/>
        </a:xfrm>
        <a:prstGeom prst="roundRect">
          <a:avLst>
            <a:gd name="adj" fmla="val 10000"/>
          </a:avLst>
        </a:prstGeom>
        <a:solidFill>
          <a:schemeClr val="bg1">
            <a:lumMod val="95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66CED7FF-681A-4591-BFA2-2514DC65F168}">
      <dsp:nvSpPr>
        <dsp:cNvPr id="0" name=""/>
        <dsp:cNvSpPr/>
      </dsp:nvSpPr>
      <dsp:spPr>
        <a:xfrm>
          <a:off x="184054" y="1659435"/>
          <a:ext cx="334643" cy="334643"/>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647D1B26-CE08-479E-84F0-DB9B47A4B8F5}">
      <dsp:nvSpPr>
        <dsp:cNvPr id="0" name=""/>
        <dsp:cNvSpPr/>
      </dsp:nvSpPr>
      <dsp:spPr>
        <a:xfrm>
          <a:off x="702751" y="1522535"/>
          <a:ext cx="4182451" cy="60844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4394" tIns="64394" rIns="64394" bIns="64394" numCol="1" spcCol="1270" anchor="ctr" anchorCtr="0">
          <a:noAutofit/>
        </a:bodyPr>
        <a:lstStyle/>
        <a:p>
          <a:pPr marL="0" lvl="0" indent="0" algn="l" defTabSz="844550">
            <a:lnSpc>
              <a:spcPct val="100000"/>
            </a:lnSpc>
            <a:spcBef>
              <a:spcPct val="0"/>
            </a:spcBef>
            <a:spcAft>
              <a:spcPct val="35000"/>
            </a:spcAft>
            <a:buNone/>
          </a:pPr>
          <a:r>
            <a:rPr lang="en-US" sz="1900" kern="1200"/>
            <a:t>Books</a:t>
          </a:r>
        </a:p>
      </dsp:txBody>
      <dsp:txXfrm>
        <a:off x="702751" y="1522535"/>
        <a:ext cx="4182451" cy="608443"/>
      </dsp:txXfrm>
    </dsp:sp>
    <dsp:sp modelId="{29449B24-9E60-4BA5-89D7-F402CC59AF29}">
      <dsp:nvSpPr>
        <dsp:cNvPr id="0" name=""/>
        <dsp:cNvSpPr/>
      </dsp:nvSpPr>
      <dsp:spPr>
        <a:xfrm>
          <a:off x="0" y="2283089"/>
          <a:ext cx="4885203" cy="608443"/>
        </a:xfrm>
        <a:prstGeom prst="roundRect">
          <a:avLst>
            <a:gd name="adj" fmla="val 10000"/>
          </a:avLst>
        </a:prstGeom>
        <a:solidFill>
          <a:schemeClr val="bg1">
            <a:lumMod val="95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BCEBAB04-B5F1-4F38-857D-527EEC40A80B}">
      <dsp:nvSpPr>
        <dsp:cNvPr id="0" name=""/>
        <dsp:cNvSpPr/>
      </dsp:nvSpPr>
      <dsp:spPr>
        <a:xfrm>
          <a:off x="184054" y="2419989"/>
          <a:ext cx="334643" cy="334643"/>
        </a:xfrm>
        <a:prstGeom prst="rect">
          <a:avLst/>
        </a:prstGeom>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636743E6-55B6-4936-BE77-EF86BCCAD9F6}">
      <dsp:nvSpPr>
        <dsp:cNvPr id="0" name=""/>
        <dsp:cNvSpPr/>
      </dsp:nvSpPr>
      <dsp:spPr>
        <a:xfrm>
          <a:off x="702751" y="2283089"/>
          <a:ext cx="4182451" cy="60844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4394" tIns="64394" rIns="64394" bIns="64394" numCol="1" spcCol="1270" anchor="ctr" anchorCtr="0">
          <a:noAutofit/>
        </a:bodyPr>
        <a:lstStyle/>
        <a:p>
          <a:pPr marL="0" lvl="0" indent="0" algn="l" defTabSz="844550">
            <a:lnSpc>
              <a:spcPct val="100000"/>
            </a:lnSpc>
            <a:spcBef>
              <a:spcPct val="0"/>
            </a:spcBef>
            <a:spcAft>
              <a:spcPct val="35000"/>
            </a:spcAft>
            <a:buNone/>
          </a:pPr>
          <a:r>
            <a:rPr lang="en-US" sz="1900" kern="1200" dirty="0"/>
            <a:t>Courses (on-demand, in-person)</a:t>
          </a:r>
        </a:p>
      </dsp:txBody>
      <dsp:txXfrm>
        <a:off x="702751" y="2283089"/>
        <a:ext cx="4182451" cy="608443"/>
      </dsp:txXfrm>
    </dsp:sp>
    <dsp:sp modelId="{F2AA941A-C19D-48EF-84E9-5C6ACA469414}">
      <dsp:nvSpPr>
        <dsp:cNvPr id="0" name=""/>
        <dsp:cNvSpPr/>
      </dsp:nvSpPr>
      <dsp:spPr>
        <a:xfrm>
          <a:off x="0" y="3043643"/>
          <a:ext cx="4885203" cy="608443"/>
        </a:xfrm>
        <a:prstGeom prst="roundRect">
          <a:avLst>
            <a:gd name="adj" fmla="val 10000"/>
          </a:avLst>
        </a:prstGeom>
        <a:solidFill>
          <a:schemeClr val="bg1">
            <a:lumMod val="95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8B39D5E7-7BC0-47C7-8EE0-02426102AFAA}">
      <dsp:nvSpPr>
        <dsp:cNvPr id="0" name=""/>
        <dsp:cNvSpPr/>
      </dsp:nvSpPr>
      <dsp:spPr>
        <a:xfrm>
          <a:off x="184054" y="3180543"/>
          <a:ext cx="334643" cy="334643"/>
        </a:xfrm>
        <a:prstGeom prst="rect">
          <a:avLst/>
        </a:prstGeom>
        <a:blipFill>
          <a:blip xmlns:r="http://schemas.openxmlformats.org/officeDocument/2006/relationships"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a:blip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F8FC0F7A-D493-44E9-B70E-463F0B80D876}">
      <dsp:nvSpPr>
        <dsp:cNvPr id="0" name=""/>
        <dsp:cNvSpPr/>
      </dsp:nvSpPr>
      <dsp:spPr>
        <a:xfrm>
          <a:off x="702751" y="3043643"/>
          <a:ext cx="4182451" cy="60844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4394" tIns="64394" rIns="64394" bIns="64394" numCol="1" spcCol="1270" anchor="ctr" anchorCtr="0">
          <a:noAutofit/>
        </a:bodyPr>
        <a:lstStyle/>
        <a:p>
          <a:pPr marL="0" lvl="0" indent="0" algn="l" defTabSz="844550">
            <a:lnSpc>
              <a:spcPct val="100000"/>
            </a:lnSpc>
            <a:spcBef>
              <a:spcPct val="0"/>
            </a:spcBef>
            <a:spcAft>
              <a:spcPct val="35000"/>
            </a:spcAft>
            <a:buNone/>
          </a:pPr>
          <a:r>
            <a:rPr lang="en-US" sz="1900" kern="1200" dirty="0"/>
            <a:t>User Groups</a:t>
          </a:r>
        </a:p>
      </dsp:txBody>
      <dsp:txXfrm>
        <a:off x="702751" y="3043643"/>
        <a:ext cx="4182451" cy="608443"/>
      </dsp:txXfrm>
    </dsp:sp>
    <dsp:sp modelId="{620C3973-37BF-4F6D-9225-FF77D5F80706}">
      <dsp:nvSpPr>
        <dsp:cNvPr id="0" name=""/>
        <dsp:cNvSpPr/>
      </dsp:nvSpPr>
      <dsp:spPr>
        <a:xfrm>
          <a:off x="0" y="3804197"/>
          <a:ext cx="4885203" cy="608443"/>
        </a:xfrm>
        <a:prstGeom prst="roundRect">
          <a:avLst>
            <a:gd name="adj" fmla="val 10000"/>
          </a:avLst>
        </a:prstGeom>
        <a:solidFill>
          <a:schemeClr val="bg1">
            <a:lumMod val="95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7B77992C-E40B-4255-AE3C-A107D0071680}">
      <dsp:nvSpPr>
        <dsp:cNvPr id="0" name=""/>
        <dsp:cNvSpPr/>
      </dsp:nvSpPr>
      <dsp:spPr>
        <a:xfrm>
          <a:off x="184054" y="3941097"/>
          <a:ext cx="334643" cy="334643"/>
        </a:xfrm>
        <a:prstGeom prst="rect">
          <a:avLst/>
        </a:prstGeom>
        <a:blipFill>
          <a:blip xmlns:r="http://schemas.openxmlformats.org/officeDocument/2006/relationships"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a:blip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90C26AAF-8EAC-4447-849B-7AD6ABC34337}">
      <dsp:nvSpPr>
        <dsp:cNvPr id="0" name=""/>
        <dsp:cNvSpPr/>
      </dsp:nvSpPr>
      <dsp:spPr>
        <a:xfrm>
          <a:off x="702751" y="3804197"/>
          <a:ext cx="4182451" cy="60844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4394" tIns="64394" rIns="64394" bIns="64394" numCol="1" spcCol="1270" anchor="ctr" anchorCtr="0">
          <a:noAutofit/>
        </a:bodyPr>
        <a:lstStyle/>
        <a:p>
          <a:pPr marL="0" lvl="0" indent="0" algn="l" defTabSz="844550">
            <a:lnSpc>
              <a:spcPct val="100000"/>
            </a:lnSpc>
            <a:spcBef>
              <a:spcPct val="0"/>
            </a:spcBef>
            <a:spcAft>
              <a:spcPct val="35000"/>
            </a:spcAft>
            <a:buNone/>
          </a:pPr>
          <a:r>
            <a:rPr lang="en-US" sz="1900" kern="1200" dirty="0"/>
            <a:t>Conferences (live and virtual)</a:t>
          </a:r>
        </a:p>
      </dsp:txBody>
      <dsp:txXfrm>
        <a:off x="702751" y="3804197"/>
        <a:ext cx="4182451" cy="608443"/>
      </dsp:txXfrm>
    </dsp:sp>
  </dsp:spTree>
</dsp:drawing>
</file>

<file path=ppt/diagrams/drawing1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BA37974-5F6F-44D8-92F5-0C1598D2E3E8}">
      <dsp:nvSpPr>
        <dsp:cNvPr id="0" name=""/>
        <dsp:cNvSpPr/>
      </dsp:nvSpPr>
      <dsp:spPr>
        <a:xfrm>
          <a:off x="-192583" y="7010"/>
          <a:ext cx="4941519" cy="1259581"/>
        </a:xfrm>
        <a:prstGeom prst="roundRect">
          <a:avLst>
            <a:gd name="adj" fmla="val 10000"/>
          </a:avLst>
        </a:prstGeom>
        <a:solidFill>
          <a:schemeClr val="bg1">
            <a:lumMod val="95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E25C1A4F-6616-433B-A529-84D449BCDC6B}">
      <dsp:nvSpPr>
        <dsp:cNvPr id="0" name=""/>
        <dsp:cNvSpPr/>
      </dsp:nvSpPr>
      <dsp:spPr>
        <a:xfrm>
          <a:off x="188439" y="290416"/>
          <a:ext cx="692770" cy="692770"/>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0F93E41A-BD8A-4CC9-8E67-148A761A786B}">
      <dsp:nvSpPr>
        <dsp:cNvPr id="0" name=""/>
        <dsp:cNvSpPr/>
      </dsp:nvSpPr>
      <dsp:spPr>
        <a:xfrm>
          <a:off x="1262233" y="7010"/>
          <a:ext cx="2223683" cy="125958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33306" tIns="133306" rIns="133306" bIns="133306" numCol="1" spcCol="1270" anchor="ctr" anchorCtr="0">
          <a:noAutofit/>
        </a:bodyPr>
        <a:lstStyle/>
        <a:p>
          <a:pPr marL="0" lvl="0" indent="0" algn="l" defTabSz="933450">
            <a:lnSpc>
              <a:spcPct val="100000"/>
            </a:lnSpc>
            <a:spcBef>
              <a:spcPct val="0"/>
            </a:spcBef>
            <a:spcAft>
              <a:spcPct val="35000"/>
            </a:spcAft>
            <a:buNone/>
          </a:pPr>
          <a:r>
            <a:rPr lang="en-US" sz="2100" kern="1200"/>
            <a:t>Dynamics 365 User Group Blog Feed</a:t>
          </a:r>
        </a:p>
      </dsp:txBody>
      <dsp:txXfrm>
        <a:off x="1262233" y="7010"/>
        <a:ext cx="2223683" cy="1259581"/>
      </dsp:txXfrm>
    </dsp:sp>
    <dsp:sp modelId="{681F61D2-F8A1-4DE3-A593-0BE6E45F64D0}">
      <dsp:nvSpPr>
        <dsp:cNvPr id="0" name=""/>
        <dsp:cNvSpPr/>
      </dsp:nvSpPr>
      <dsp:spPr>
        <a:xfrm>
          <a:off x="3485916" y="7010"/>
          <a:ext cx="1260172" cy="125958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33306" tIns="133306" rIns="133306" bIns="133306" numCol="1" spcCol="1270" anchor="ctr" anchorCtr="0">
          <a:noAutofit/>
        </a:bodyPr>
        <a:lstStyle/>
        <a:p>
          <a:pPr marL="0" lvl="0" indent="0" algn="l" defTabSz="444500">
            <a:lnSpc>
              <a:spcPct val="100000"/>
            </a:lnSpc>
            <a:spcBef>
              <a:spcPct val="0"/>
            </a:spcBef>
            <a:spcAft>
              <a:spcPct val="35000"/>
            </a:spcAft>
            <a:buNone/>
          </a:pPr>
          <a:r>
            <a:rPr lang="en-US" sz="1000" kern="1200" dirty="0">
              <a:hlinkClick xmlns:r="http://schemas.openxmlformats.org/officeDocument/2006/relationships" r:id="rId3"/>
            </a:rPr>
            <a:t>www.crmug.com</a:t>
          </a:r>
          <a:endParaRPr lang="en-US" sz="1000" kern="1200" dirty="0"/>
        </a:p>
      </dsp:txBody>
      <dsp:txXfrm>
        <a:off x="3485916" y="7010"/>
        <a:ext cx="1260172" cy="1259581"/>
      </dsp:txXfrm>
    </dsp:sp>
    <dsp:sp modelId="{047988B8-3854-4E68-82D5-AC9ED8218CD0}">
      <dsp:nvSpPr>
        <dsp:cNvPr id="0" name=""/>
        <dsp:cNvSpPr/>
      </dsp:nvSpPr>
      <dsp:spPr>
        <a:xfrm>
          <a:off x="-192583" y="1581487"/>
          <a:ext cx="4941519" cy="1259581"/>
        </a:xfrm>
        <a:prstGeom prst="roundRect">
          <a:avLst>
            <a:gd name="adj" fmla="val 10000"/>
          </a:avLst>
        </a:prstGeom>
        <a:solidFill>
          <a:schemeClr val="bg1">
            <a:lumMod val="95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82E21ED9-DE00-4263-ACBE-7F0A9FA7C9EE}">
      <dsp:nvSpPr>
        <dsp:cNvPr id="0" name=""/>
        <dsp:cNvSpPr/>
      </dsp:nvSpPr>
      <dsp:spPr>
        <a:xfrm>
          <a:off x="188439" y="1864893"/>
          <a:ext cx="692770" cy="692770"/>
        </a:xfrm>
        <a:prstGeom prst="rect">
          <a:avLst/>
        </a:prstGeom>
        <a:blipFill>
          <a:blip xmlns:r="http://schemas.openxmlformats.org/officeDocument/2006/relationships"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a:blip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A784AD7C-1FBD-4E54-A7B1-96756C1B2239}">
      <dsp:nvSpPr>
        <dsp:cNvPr id="0" name=""/>
        <dsp:cNvSpPr/>
      </dsp:nvSpPr>
      <dsp:spPr>
        <a:xfrm>
          <a:off x="1262233" y="1581487"/>
          <a:ext cx="2223683" cy="125958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33306" tIns="133306" rIns="133306" bIns="133306" numCol="1" spcCol="1270" anchor="ctr" anchorCtr="0">
          <a:noAutofit/>
        </a:bodyPr>
        <a:lstStyle/>
        <a:p>
          <a:pPr marL="0" lvl="0" indent="0" algn="l" defTabSz="933450">
            <a:lnSpc>
              <a:spcPct val="100000"/>
            </a:lnSpc>
            <a:spcBef>
              <a:spcPct val="0"/>
            </a:spcBef>
            <a:spcAft>
              <a:spcPct val="35000"/>
            </a:spcAft>
            <a:buNone/>
          </a:pPr>
          <a:r>
            <a:rPr lang="en-US" sz="2100" kern="1200"/>
            <a:t>Microsoft Dynamics Communities</a:t>
          </a:r>
        </a:p>
      </dsp:txBody>
      <dsp:txXfrm>
        <a:off x="1262233" y="1581487"/>
        <a:ext cx="2223683" cy="1259581"/>
      </dsp:txXfrm>
    </dsp:sp>
    <dsp:sp modelId="{5058F1A8-9519-4EB2-B7DC-3927DDA5B952}">
      <dsp:nvSpPr>
        <dsp:cNvPr id="0" name=""/>
        <dsp:cNvSpPr/>
      </dsp:nvSpPr>
      <dsp:spPr>
        <a:xfrm>
          <a:off x="3177016" y="1581487"/>
          <a:ext cx="1877972" cy="125958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33306" tIns="133306" rIns="133306" bIns="133306" numCol="1" spcCol="1270" anchor="ctr" anchorCtr="0">
          <a:noAutofit/>
        </a:bodyPr>
        <a:lstStyle/>
        <a:p>
          <a:pPr marL="0" lvl="0" indent="0" algn="l" defTabSz="444500">
            <a:lnSpc>
              <a:spcPct val="100000"/>
            </a:lnSpc>
            <a:spcBef>
              <a:spcPct val="0"/>
            </a:spcBef>
            <a:spcAft>
              <a:spcPct val="35000"/>
            </a:spcAft>
            <a:buNone/>
          </a:pPr>
          <a:r>
            <a:rPr lang="en-US" sz="1000" kern="1200" dirty="0">
              <a:hlinkClick xmlns:r="http://schemas.openxmlformats.org/officeDocument/2006/relationships" r:id="rId6"/>
            </a:rPr>
            <a:t>community.dynamics.com</a:t>
          </a:r>
          <a:endParaRPr lang="en-US" sz="1000" kern="1200" dirty="0"/>
        </a:p>
      </dsp:txBody>
      <dsp:txXfrm>
        <a:off x="3177016" y="1581487"/>
        <a:ext cx="1877972" cy="1259581"/>
      </dsp:txXfrm>
    </dsp:sp>
    <dsp:sp modelId="{51BE0624-752B-4317-933F-9C87CF106D7F}">
      <dsp:nvSpPr>
        <dsp:cNvPr id="0" name=""/>
        <dsp:cNvSpPr/>
      </dsp:nvSpPr>
      <dsp:spPr>
        <a:xfrm>
          <a:off x="-192583" y="3162975"/>
          <a:ext cx="4941519" cy="1259581"/>
        </a:xfrm>
        <a:prstGeom prst="roundRect">
          <a:avLst>
            <a:gd name="adj" fmla="val 10000"/>
          </a:avLst>
        </a:prstGeom>
        <a:solidFill>
          <a:schemeClr val="bg1">
            <a:lumMod val="95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2FDCB9A9-D38F-412D-BFE0-D2FE55EF00A8}">
      <dsp:nvSpPr>
        <dsp:cNvPr id="0" name=""/>
        <dsp:cNvSpPr/>
      </dsp:nvSpPr>
      <dsp:spPr>
        <a:xfrm>
          <a:off x="188439" y="3439370"/>
          <a:ext cx="692770" cy="692770"/>
        </a:xfrm>
        <a:prstGeom prst="rect">
          <a:avLst/>
        </a:prstGeom>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9F018EF6-1996-4B7B-917B-3F627B37B9C2}">
      <dsp:nvSpPr>
        <dsp:cNvPr id="0" name=""/>
        <dsp:cNvSpPr/>
      </dsp:nvSpPr>
      <dsp:spPr>
        <a:xfrm>
          <a:off x="1262233" y="3155964"/>
          <a:ext cx="2223683" cy="125958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33306" tIns="133306" rIns="133306" bIns="133306" numCol="1" spcCol="1270" anchor="ctr" anchorCtr="0">
          <a:noAutofit/>
        </a:bodyPr>
        <a:lstStyle/>
        <a:p>
          <a:pPr marL="0" lvl="0" indent="0" algn="l" defTabSz="933450">
            <a:lnSpc>
              <a:spcPct val="100000"/>
            </a:lnSpc>
            <a:spcBef>
              <a:spcPct val="0"/>
            </a:spcBef>
            <a:spcAft>
              <a:spcPct val="35000"/>
            </a:spcAft>
            <a:buNone/>
          </a:pPr>
          <a:r>
            <a:rPr lang="en-US" sz="2100" kern="1200"/>
            <a:t>CRM Tip of the Day</a:t>
          </a:r>
        </a:p>
      </dsp:txBody>
      <dsp:txXfrm>
        <a:off x="1262233" y="3155964"/>
        <a:ext cx="2223683" cy="1259581"/>
      </dsp:txXfrm>
    </dsp:sp>
    <dsp:sp modelId="{192A7E0E-DA98-4A32-A216-D48D47F7D410}">
      <dsp:nvSpPr>
        <dsp:cNvPr id="0" name=""/>
        <dsp:cNvSpPr/>
      </dsp:nvSpPr>
      <dsp:spPr>
        <a:xfrm>
          <a:off x="2999596" y="3162975"/>
          <a:ext cx="2036199" cy="125958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33306" tIns="133306" rIns="133306" bIns="133306" numCol="1" spcCol="1270" anchor="ctr" anchorCtr="0">
          <a:noAutofit/>
        </a:bodyPr>
        <a:lstStyle/>
        <a:p>
          <a:pPr marL="0" lvl="0" indent="0" algn="l" defTabSz="444500">
            <a:lnSpc>
              <a:spcPct val="100000"/>
            </a:lnSpc>
            <a:spcBef>
              <a:spcPct val="0"/>
            </a:spcBef>
            <a:spcAft>
              <a:spcPct val="35000"/>
            </a:spcAft>
            <a:buNone/>
          </a:pPr>
          <a:r>
            <a:rPr lang="en-US" sz="1000" kern="1200" dirty="0">
              <a:hlinkClick xmlns:r="http://schemas.openxmlformats.org/officeDocument/2006/relationships" r:id="rId9"/>
            </a:rPr>
            <a:t>crmtipoftheday.com</a:t>
          </a:r>
          <a:endParaRPr lang="en-US" sz="1000" kern="1200" dirty="0"/>
        </a:p>
        <a:p>
          <a:pPr marL="0" lvl="0" indent="0" algn="l" defTabSz="444500">
            <a:lnSpc>
              <a:spcPct val="100000"/>
            </a:lnSpc>
            <a:spcBef>
              <a:spcPct val="0"/>
            </a:spcBef>
            <a:spcAft>
              <a:spcPct val="35000"/>
            </a:spcAft>
            <a:buNone/>
          </a:pPr>
          <a:r>
            <a:rPr lang="en-US" sz="1000" kern="1200" dirty="0">
              <a:hlinkClick xmlns:r="http://schemas.openxmlformats.org/officeDocument/2006/relationships" r:id="rId10"/>
            </a:rPr>
            <a:t>youtube.com/</a:t>
          </a:r>
          <a:r>
            <a:rPr lang="en-US" sz="1000" kern="1200" dirty="0" err="1">
              <a:hlinkClick xmlns:r="http://schemas.openxmlformats.org/officeDocument/2006/relationships" r:id="rId10"/>
            </a:rPr>
            <a:t>crmtipoftheday</a:t>
          </a:r>
          <a:endParaRPr lang="en-US" sz="1000" kern="1200" dirty="0"/>
        </a:p>
      </dsp:txBody>
      <dsp:txXfrm>
        <a:off x="2999596" y="3162975"/>
        <a:ext cx="2036199" cy="1259581"/>
      </dsp:txXfrm>
    </dsp:sp>
  </dsp:spTree>
</dsp:drawing>
</file>

<file path=ppt/diagrams/drawing1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2524250-5118-4686-A298-18A7C893136C}">
      <dsp:nvSpPr>
        <dsp:cNvPr id="0" name=""/>
        <dsp:cNvSpPr/>
      </dsp:nvSpPr>
      <dsp:spPr>
        <a:xfrm>
          <a:off x="0" y="1832"/>
          <a:ext cx="4885203" cy="928506"/>
        </a:xfrm>
        <a:prstGeom prst="roundRect">
          <a:avLst>
            <a:gd name="adj" fmla="val 10000"/>
          </a:avLst>
        </a:prstGeom>
        <a:solidFill>
          <a:schemeClr val="bg1">
            <a:lumMod val="95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95818EA8-84F5-4F8B-A077-29255B7A9660}">
      <dsp:nvSpPr>
        <dsp:cNvPr id="0" name=""/>
        <dsp:cNvSpPr/>
      </dsp:nvSpPr>
      <dsp:spPr>
        <a:xfrm>
          <a:off x="280873" y="210745"/>
          <a:ext cx="510678" cy="510678"/>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BA26A61C-0D83-480A-B697-750DAE1B6F6A}">
      <dsp:nvSpPr>
        <dsp:cNvPr id="0" name=""/>
        <dsp:cNvSpPr/>
      </dsp:nvSpPr>
      <dsp:spPr>
        <a:xfrm>
          <a:off x="1072424" y="1832"/>
          <a:ext cx="2198341" cy="92850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8267" tIns="98267" rIns="98267" bIns="98267" numCol="1" spcCol="1270" anchor="ctr" anchorCtr="0">
          <a:noAutofit/>
        </a:bodyPr>
        <a:lstStyle/>
        <a:p>
          <a:pPr marL="0" lvl="0" indent="0" algn="l" defTabSz="977900">
            <a:lnSpc>
              <a:spcPct val="100000"/>
            </a:lnSpc>
            <a:spcBef>
              <a:spcPct val="0"/>
            </a:spcBef>
            <a:spcAft>
              <a:spcPct val="35000"/>
            </a:spcAft>
            <a:buNone/>
          </a:pPr>
          <a:r>
            <a:rPr lang="en-US" sz="2200" kern="1200"/>
            <a:t>Webinars</a:t>
          </a:r>
        </a:p>
      </dsp:txBody>
      <dsp:txXfrm>
        <a:off x="1072424" y="1832"/>
        <a:ext cx="2198341" cy="928506"/>
      </dsp:txXfrm>
    </dsp:sp>
    <dsp:sp modelId="{04BA9129-8E0A-4057-817F-177F30CD757D}">
      <dsp:nvSpPr>
        <dsp:cNvPr id="0" name=""/>
        <dsp:cNvSpPr/>
      </dsp:nvSpPr>
      <dsp:spPr>
        <a:xfrm>
          <a:off x="3270766" y="1832"/>
          <a:ext cx="1614436" cy="92850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8267" tIns="98267" rIns="98267" bIns="98267" numCol="1" spcCol="1270" anchor="ctr" anchorCtr="0">
          <a:noAutofit/>
        </a:bodyPr>
        <a:lstStyle/>
        <a:p>
          <a:pPr marL="0" lvl="0" indent="0" algn="l" defTabSz="488950">
            <a:lnSpc>
              <a:spcPct val="100000"/>
            </a:lnSpc>
            <a:spcBef>
              <a:spcPct val="0"/>
            </a:spcBef>
            <a:spcAft>
              <a:spcPct val="35000"/>
            </a:spcAft>
            <a:buNone/>
          </a:pPr>
          <a:r>
            <a:rPr lang="en-US" sz="1100" kern="1200" dirty="0">
              <a:hlinkClick xmlns:r="http://schemas.openxmlformats.org/officeDocument/2006/relationships" r:id="rId3"/>
            </a:rPr>
            <a:t>/webinars</a:t>
          </a:r>
          <a:endParaRPr lang="en-US" sz="1100" kern="1200" dirty="0"/>
        </a:p>
      </dsp:txBody>
      <dsp:txXfrm>
        <a:off x="3270766" y="1832"/>
        <a:ext cx="1614436" cy="928506"/>
      </dsp:txXfrm>
    </dsp:sp>
    <dsp:sp modelId="{AB03A77A-D534-47C2-8654-56C865136BE8}">
      <dsp:nvSpPr>
        <dsp:cNvPr id="0" name=""/>
        <dsp:cNvSpPr/>
      </dsp:nvSpPr>
      <dsp:spPr>
        <a:xfrm>
          <a:off x="0" y="1162464"/>
          <a:ext cx="4885203" cy="928506"/>
        </a:xfrm>
        <a:prstGeom prst="roundRect">
          <a:avLst>
            <a:gd name="adj" fmla="val 10000"/>
          </a:avLst>
        </a:prstGeom>
        <a:solidFill>
          <a:schemeClr val="bg1">
            <a:lumMod val="95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C518AA04-CE47-43C0-ACB2-976424A9F061}">
      <dsp:nvSpPr>
        <dsp:cNvPr id="0" name=""/>
        <dsp:cNvSpPr/>
      </dsp:nvSpPr>
      <dsp:spPr>
        <a:xfrm>
          <a:off x="280873" y="1371378"/>
          <a:ext cx="510678" cy="510678"/>
        </a:xfrm>
        <a:prstGeom prst="rect">
          <a:avLst/>
        </a:prstGeom>
        <a:blipFill>
          <a:blip xmlns:r="http://schemas.openxmlformats.org/officeDocument/2006/relationships"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a:blip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6524671A-AF9E-4E2F-AB95-74588226AFEE}">
      <dsp:nvSpPr>
        <dsp:cNvPr id="0" name=""/>
        <dsp:cNvSpPr/>
      </dsp:nvSpPr>
      <dsp:spPr>
        <a:xfrm>
          <a:off x="1072424" y="1162464"/>
          <a:ext cx="2198341" cy="92850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8267" tIns="98267" rIns="98267" bIns="98267" numCol="1" spcCol="1270" anchor="ctr" anchorCtr="0">
          <a:noAutofit/>
        </a:bodyPr>
        <a:lstStyle/>
        <a:p>
          <a:pPr marL="0" lvl="0" indent="0" algn="l" defTabSz="977900">
            <a:lnSpc>
              <a:spcPct val="100000"/>
            </a:lnSpc>
            <a:spcBef>
              <a:spcPct val="0"/>
            </a:spcBef>
            <a:spcAft>
              <a:spcPct val="35000"/>
            </a:spcAft>
            <a:buNone/>
          </a:pPr>
          <a:r>
            <a:rPr lang="en-US" sz="2200" kern="1200"/>
            <a:t>KnowledgeBits</a:t>
          </a:r>
        </a:p>
      </dsp:txBody>
      <dsp:txXfrm>
        <a:off x="1072424" y="1162464"/>
        <a:ext cx="2198341" cy="928506"/>
      </dsp:txXfrm>
    </dsp:sp>
    <dsp:sp modelId="{A34C8503-3205-41F1-B829-AA6ACD257BE6}">
      <dsp:nvSpPr>
        <dsp:cNvPr id="0" name=""/>
        <dsp:cNvSpPr/>
      </dsp:nvSpPr>
      <dsp:spPr>
        <a:xfrm>
          <a:off x="3270766" y="1162464"/>
          <a:ext cx="1614436" cy="92850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8267" tIns="98267" rIns="98267" bIns="98267" numCol="1" spcCol="1270" anchor="ctr" anchorCtr="0">
          <a:noAutofit/>
        </a:bodyPr>
        <a:lstStyle/>
        <a:p>
          <a:pPr marL="0" lvl="0" indent="0" algn="l" defTabSz="488950">
            <a:lnSpc>
              <a:spcPct val="100000"/>
            </a:lnSpc>
            <a:spcBef>
              <a:spcPct val="0"/>
            </a:spcBef>
            <a:spcAft>
              <a:spcPct val="35000"/>
            </a:spcAft>
            <a:buNone/>
          </a:pPr>
          <a:r>
            <a:rPr lang="en-US" sz="1100" kern="1200" dirty="0">
              <a:hlinkClick xmlns:r="http://schemas.openxmlformats.org/officeDocument/2006/relationships" r:id="rId6"/>
            </a:rPr>
            <a:t>/knowledgebits</a:t>
          </a:r>
          <a:endParaRPr lang="en-US" sz="1100" kern="1200" dirty="0"/>
        </a:p>
      </dsp:txBody>
      <dsp:txXfrm>
        <a:off x="3270766" y="1162464"/>
        <a:ext cx="1614436" cy="928506"/>
      </dsp:txXfrm>
    </dsp:sp>
    <dsp:sp modelId="{79769D31-4D61-44F4-B8FC-40A69DA070DF}">
      <dsp:nvSpPr>
        <dsp:cNvPr id="0" name=""/>
        <dsp:cNvSpPr/>
      </dsp:nvSpPr>
      <dsp:spPr>
        <a:xfrm>
          <a:off x="0" y="2323097"/>
          <a:ext cx="4885203" cy="928506"/>
        </a:xfrm>
        <a:prstGeom prst="roundRect">
          <a:avLst>
            <a:gd name="adj" fmla="val 10000"/>
          </a:avLst>
        </a:prstGeom>
        <a:solidFill>
          <a:schemeClr val="bg1">
            <a:lumMod val="95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D60422D3-F58A-49BB-A0BD-DE101CC22BD1}">
      <dsp:nvSpPr>
        <dsp:cNvPr id="0" name=""/>
        <dsp:cNvSpPr/>
      </dsp:nvSpPr>
      <dsp:spPr>
        <a:xfrm>
          <a:off x="280873" y="2532011"/>
          <a:ext cx="510678" cy="510678"/>
        </a:xfrm>
        <a:prstGeom prst="rect">
          <a:avLst/>
        </a:prstGeom>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2A322C2C-ABE7-4497-9613-E171DC36D5F2}">
      <dsp:nvSpPr>
        <dsp:cNvPr id="0" name=""/>
        <dsp:cNvSpPr/>
      </dsp:nvSpPr>
      <dsp:spPr>
        <a:xfrm>
          <a:off x="1072424" y="2323097"/>
          <a:ext cx="2198341" cy="92850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8267" tIns="98267" rIns="98267" bIns="98267" numCol="1" spcCol="1270" anchor="ctr" anchorCtr="0">
          <a:noAutofit/>
        </a:bodyPr>
        <a:lstStyle/>
        <a:p>
          <a:pPr marL="0" lvl="0" indent="0" algn="l" defTabSz="977900">
            <a:lnSpc>
              <a:spcPct val="100000"/>
            </a:lnSpc>
            <a:spcBef>
              <a:spcPct val="0"/>
            </a:spcBef>
            <a:spcAft>
              <a:spcPct val="35000"/>
            </a:spcAft>
            <a:buNone/>
          </a:pPr>
          <a:r>
            <a:rPr lang="en-US" sz="2200" kern="1200"/>
            <a:t>Learning Plans</a:t>
          </a:r>
        </a:p>
      </dsp:txBody>
      <dsp:txXfrm>
        <a:off x="1072424" y="2323097"/>
        <a:ext cx="2198341" cy="928506"/>
      </dsp:txXfrm>
    </dsp:sp>
    <dsp:sp modelId="{5F37A2C4-D4D7-401F-876B-C129DC3E36C3}">
      <dsp:nvSpPr>
        <dsp:cNvPr id="0" name=""/>
        <dsp:cNvSpPr/>
      </dsp:nvSpPr>
      <dsp:spPr>
        <a:xfrm>
          <a:off x="3270766" y="2323097"/>
          <a:ext cx="1614436" cy="92850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8267" tIns="98267" rIns="98267" bIns="98267" numCol="1" spcCol="1270" anchor="ctr" anchorCtr="0">
          <a:noAutofit/>
        </a:bodyPr>
        <a:lstStyle/>
        <a:p>
          <a:pPr marL="0" lvl="0" indent="0" algn="l" defTabSz="488950">
            <a:lnSpc>
              <a:spcPct val="100000"/>
            </a:lnSpc>
            <a:spcBef>
              <a:spcPct val="0"/>
            </a:spcBef>
            <a:spcAft>
              <a:spcPct val="35000"/>
            </a:spcAft>
            <a:buNone/>
          </a:pPr>
          <a:r>
            <a:rPr lang="en-US" sz="1100" kern="1200" dirty="0">
              <a:hlinkClick xmlns:r="http://schemas.openxmlformats.org/officeDocument/2006/relationships" r:id="rId9"/>
            </a:rPr>
            <a:t>/freestuff</a:t>
          </a:r>
          <a:endParaRPr lang="en-US" sz="1100" kern="1200" dirty="0"/>
        </a:p>
      </dsp:txBody>
      <dsp:txXfrm>
        <a:off x="3270766" y="2323097"/>
        <a:ext cx="1614436" cy="928506"/>
      </dsp:txXfrm>
    </dsp:sp>
    <dsp:sp modelId="{9433611F-82D4-40A7-93E4-DB20B1F0EE91}">
      <dsp:nvSpPr>
        <dsp:cNvPr id="0" name=""/>
        <dsp:cNvSpPr/>
      </dsp:nvSpPr>
      <dsp:spPr>
        <a:xfrm>
          <a:off x="0" y="3483730"/>
          <a:ext cx="4885203" cy="928506"/>
        </a:xfrm>
        <a:prstGeom prst="roundRect">
          <a:avLst>
            <a:gd name="adj" fmla="val 10000"/>
          </a:avLst>
        </a:prstGeom>
        <a:solidFill>
          <a:schemeClr val="bg1">
            <a:lumMod val="95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1CDBFE2D-F7AA-437F-B03A-DABE8F554B97}">
      <dsp:nvSpPr>
        <dsp:cNvPr id="0" name=""/>
        <dsp:cNvSpPr/>
      </dsp:nvSpPr>
      <dsp:spPr>
        <a:xfrm>
          <a:off x="280873" y="3692644"/>
          <a:ext cx="510678" cy="510678"/>
        </a:xfrm>
        <a:prstGeom prst="rect">
          <a:avLst/>
        </a:prstGeom>
        <a:blipFill>
          <a:blip xmlns:r="http://schemas.openxmlformats.org/officeDocument/2006/relationships"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a:blip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DEAD3A43-742B-483B-A8BD-12FFE6ED364F}">
      <dsp:nvSpPr>
        <dsp:cNvPr id="0" name=""/>
        <dsp:cNvSpPr/>
      </dsp:nvSpPr>
      <dsp:spPr>
        <a:xfrm>
          <a:off x="1072424" y="3483730"/>
          <a:ext cx="2198341" cy="92850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8267" tIns="98267" rIns="98267" bIns="98267" numCol="1" spcCol="1270" anchor="ctr" anchorCtr="0">
          <a:noAutofit/>
        </a:bodyPr>
        <a:lstStyle/>
        <a:p>
          <a:pPr marL="0" lvl="0" indent="0" algn="l" defTabSz="977900">
            <a:lnSpc>
              <a:spcPct val="100000"/>
            </a:lnSpc>
            <a:spcBef>
              <a:spcPct val="0"/>
            </a:spcBef>
            <a:spcAft>
              <a:spcPct val="35000"/>
            </a:spcAft>
            <a:buNone/>
          </a:pPr>
          <a:r>
            <a:rPr lang="en-US" sz="2200" kern="1200"/>
            <a:t>YouTube Channel</a:t>
          </a:r>
        </a:p>
      </dsp:txBody>
      <dsp:txXfrm>
        <a:off x="1072424" y="3483730"/>
        <a:ext cx="2198341" cy="928506"/>
      </dsp:txXfrm>
    </dsp:sp>
    <dsp:sp modelId="{C562D839-7546-4268-A618-F26D0036C818}">
      <dsp:nvSpPr>
        <dsp:cNvPr id="0" name=""/>
        <dsp:cNvSpPr/>
      </dsp:nvSpPr>
      <dsp:spPr>
        <a:xfrm>
          <a:off x="3270766" y="3483730"/>
          <a:ext cx="1614436" cy="92850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8267" tIns="98267" rIns="98267" bIns="98267" numCol="1" spcCol="1270" anchor="ctr" anchorCtr="0">
          <a:noAutofit/>
        </a:bodyPr>
        <a:lstStyle/>
        <a:p>
          <a:pPr marL="0" lvl="0" indent="0" algn="l" defTabSz="466725">
            <a:lnSpc>
              <a:spcPct val="100000"/>
            </a:lnSpc>
            <a:spcBef>
              <a:spcPct val="0"/>
            </a:spcBef>
            <a:spcAft>
              <a:spcPct val="35000"/>
            </a:spcAft>
            <a:buNone/>
          </a:pPr>
          <a:r>
            <a:rPr lang="en-US" sz="1050" kern="1200" dirty="0">
              <a:hlinkClick xmlns:r="http://schemas.openxmlformats.org/officeDocument/2006/relationships" r:id="rId12"/>
            </a:rPr>
            <a:t>youtube.com/xrmcoaches</a:t>
          </a:r>
          <a:endParaRPr lang="en-US" sz="1100" kern="1200" dirty="0"/>
        </a:p>
      </dsp:txBody>
      <dsp:txXfrm>
        <a:off x="3270766" y="3483730"/>
        <a:ext cx="1614436" cy="928506"/>
      </dsp:txXfrm>
    </dsp:sp>
  </dsp:spTree>
</dsp:drawing>
</file>

<file path=ppt/diagrams/drawing1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C9FB915-728A-4D40-B0A9-896F1317208D}">
      <dsp:nvSpPr>
        <dsp:cNvPr id="0" name=""/>
        <dsp:cNvSpPr/>
      </dsp:nvSpPr>
      <dsp:spPr>
        <a:xfrm>
          <a:off x="0" y="1832"/>
          <a:ext cx="4885203" cy="928506"/>
        </a:xfrm>
        <a:prstGeom prst="roundRect">
          <a:avLst>
            <a:gd name="adj" fmla="val 10000"/>
          </a:avLst>
        </a:prstGeom>
        <a:solidFill>
          <a:schemeClr val="bg1">
            <a:lumMod val="95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8CC9B8D1-0666-4A6F-8158-99F657F5539C}">
      <dsp:nvSpPr>
        <dsp:cNvPr id="0" name=""/>
        <dsp:cNvSpPr/>
      </dsp:nvSpPr>
      <dsp:spPr>
        <a:xfrm>
          <a:off x="280873" y="210745"/>
          <a:ext cx="510678" cy="510678"/>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D9F95DA0-3EB9-4CF7-BB48-0B2713F237C6}">
      <dsp:nvSpPr>
        <dsp:cNvPr id="0" name=""/>
        <dsp:cNvSpPr/>
      </dsp:nvSpPr>
      <dsp:spPr>
        <a:xfrm>
          <a:off x="1072424" y="1832"/>
          <a:ext cx="3812778" cy="92850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8267" tIns="98267" rIns="98267" bIns="98267" numCol="1" spcCol="1270" anchor="ctr" anchorCtr="0">
          <a:noAutofit/>
        </a:bodyPr>
        <a:lstStyle/>
        <a:p>
          <a:pPr marL="0" lvl="0" indent="0" algn="l" defTabSz="977900">
            <a:lnSpc>
              <a:spcPct val="100000"/>
            </a:lnSpc>
            <a:spcBef>
              <a:spcPct val="0"/>
            </a:spcBef>
            <a:spcAft>
              <a:spcPct val="35000"/>
            </a:spcAft>
            <a:buNone/>
          </a:pPr>
          <a:r>
            <a:rPr lang="en-US" sz="2200" kern="1200"/>
            <a:t>Certification</a:t>
          </a:r>
        </a:p>
      </dsp:txBody>
      <dsp:txXfrm>
        <a:off x="1072424" y="1832"/>
        <a:ext cx="3812778" cy="928506"/>
      </dsp:txXfrm>
    </dsp:sp>
    <dsp:sp modelId="{BCE35A02-70A2-479F-BAFF-CCDBA6E4D1E4}">
      <dsp:nvSpPr>
        <dsp:cNvPr id="0" name=""/>
        <dsp:cNvSpPr/>
      </dsp:nvSpPr>
      <dsp:spPr>
        <a:xfrm>
          <a:off x="0" y="1162464"/>
          <a:ext cx="4885203" cy="928506"/>
        </a:xfrm>
        <a:prstGeom prst="roundRect">
          <a:avLst>
            <a:gd name="adj" fmla="val 10000"/>
          </a:avLst>
        </a:prstGeom>
        <a:solidFill>
          <a:schemeClr val="bg1">
            <a:lumMod val="95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57C5D00F-7BA5-4171-89F9-907792A67477}">
      <dsp:nvSpPr>
        <dsp:cNvPr id="0" name=""/>
        <dsp:cNvSpPr/>
      </dsp:nvSpPr>
      <dsp:spPr>
        <a:xfrm>
          <a:off x="280873" y="1371378"/>
          <a:ext cx="510678" cy="510678"/>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D830E054-3F11-4452-9458-FFCA7D687FAD}">
      <dsp:nvSpPr>
        <dsp:cNvPr id="0" name=""/>
        <dsp:cNvSpPr/>
      </dsp:nvSpPr>
      <dsp:spPr>
        <a:xfrm>
          <a:off x="1072424" y="1162464"/>
          <a:ext cx="3812778" cy="92850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8267" tIns="98267" rIns="98267" bIns="98267" numCol="1" spcCol="1270" anchor="ctr" anchorCtr="0">
          <a:noAutofit/>
        </a:bodyPr>
        <a:lstStyle/>
        <a:p>
          <a:pPr marL="0" lvl="0" indent="0" algn="l" defTabSz="977900">
            <a:lnSpc>
              <a:spcPct val="100000"/>
            </a:lnSpc>
            <a:spcBef>
              <a:spcPct val="0"/>
            </a:spcBef>
            <a:spcAft>
              <a:spcPct val="35000"/>
            </a:spcAft>
            <a:buNone/>
          </a:pPr>
          <a:r>
            <a:rPr lang="en-US" sz="2200" kern="1200"/>
            <a:t>Product knowledge</a:t>
          </a:r>
        </a:p>
      </dsp:txBody>
      <dsp:txXfrm>
        <a:off x="1072424" y="1162464"/>
        <a:ext cx="3812778" cy="928506"/>
      </dsp:txXfrm>
    </dsp:sp>
    <dsp:sp modelId="{6C005DA2-1BCA-43E4-82ED-CF6F6458F4F0}">
      <dsp:nvSpPr>
        <dsp:cNvPr id="0" name=""/>
        <dsp:cNvSpPr/>
      </dsp:nvSpPr>
      <dsp:spPr>
        <a:xfrm>
          <a:off x="0" y="2323097"/>
          <a:ext cx="4885203" cy="928506"/>
        </a:xfrm>
        <a:prstGeom prst="roundRect">
          <a:avLst>
            <a:gd name="adj" fmla="val 10000"/>
          </a:avLst>
        </a:prstGeom>
        <a:solidFill>
          <a:schemeClr val="bg1">
            <a:lumMod val="95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1C121CEE-FD29-49CF-B7B6-BE73A5C32661}">
      <dsp:nvSpPr>
        <dsp:cNvPr id="0" name=""/>
        <dsp:cNvSpPr/>
      </dsp:nvSpPr>
      <dsp:spPr>
        <a:xfrm>
          <a:off x="280873" y="2532011"/>
          <a:ext cx="510678" cy="510678"/>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0C867770-332E-478A-A3DA-5CC4AF68954D}">
      <dsp:nvSpPr>
        <dsp:cNvPr id="0" name=""/>
        <dsp:cNvSpPr/>
      </dsp:nvSpPr>
      <dsp:spPr>
        <a:xfrm>
          <a:off x="1072424" y="2323097"/>
          <a:ext cx="3812778" cy="92850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8267" tIns="98267" rIns="98267" bIns="98267" numCol="1" spcCol="1270" anchor="ctr" anchorCtr="0">
          <a:noAutofit/>
        </a:bodyPr>
        <a:lstStyle/>
        <a:p>
          <a:pPr marL="0" lvl="0" indent="0" algn="l" defTabSz="977900">
            <a:lnSpc>
              <a:spcPct val="100000"/>
            </a:lnSpc>
            <a:spcBef>
              <a:spcPct val="0"/>
            </a:spcBef>
            <a:spcAft>
              <a:spcPct val="35000"/>
            </a:spcAft>
            <a:buNone/>
          </a:pPr>
          <a:r>
            <a:rPr lang="en-US" sz="2200" kern="1200"/>
            <a:t>New job or career</a:t>
          </a:r>
        </a:p>
      </dsp:txBody>
      <dsp:txXfrm>
        <a:off x="1072424" y="2323097"/>
        <a:ext cx="3812778" cy="928506"/>
      </dsp:txXfrm>
    </dsp:sp>
    <dsp:sp modelId="{866B7CBF-78CF-47AB-B126-25D3BC03C7B8}">
      <dsp:nvSpPr>
        <dsp:cNvPr id="0" name=""/>
        <dsp:cNvSpPr/>
      </dsp:nvSpPr>
      <dsp:spPr>
        <a:xfrm>
          <a:off x="0" y="3483730"/>
          <a:ext cx="4885203" cy="928506"/>
        </a:xfrm>
        <a:prstGeom prst="roundRect">
          <a:avLst>
            <a:gd name="adj" fmla="val 10000"/>
          </a:avLst>
        </a:prstGeom>
        <a:solidFill>
          <a:schemeClr val="bg1">
            <a:lumMod val="95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C7A9010C-3276-4D1F-B624-2CF1622CA395}">
      <dsp:nvSpPr>
        <dsp:cNvPr id="0" name=""/>
        <dsp:cNvSpPr/>
      </dsp:nvSpPr>
      <dsp:spPr>
        <a:xfrm>
          <a:off x="280873" y="3692644"/>
          <a:ext cx="510678" cy="510678"/>
        </a:xfrm>
        <a:prstGeom prst="rect">
          <a:avLst/>
        </a:prstGeom>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CF82A997-C83C-466D-80CE-D6788BC936C1}">
      <dsp:nvSpPr>
        <dsp:cNvPr id="0" name=""/>
        <dsp:cNvSpPr/>
      </dsp:nvSpPr>
      <dsp:spPr>
        <a:xfrm>
          <a:off x="1072424" y="3483730"/>
          <a:ext cx="3812778" cy="92850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8267" tIns="98267" rIns="98267" bIns="98267" numCol="1" spcCol="1270" anchor="ctr" anchorCtr="0">
          <a:noAutofit/>
        </a:bodyPr>
        <a:lstStyle/>
        <a:p>
          <a:pPr marL="0" lvl="0" indent="0" algn="l" defTabSz="977900">
            <a:lnSpc>
              <a:spcPct val="100000"/>
            </a:lnSpc>
            <a:spcBef>
              <a:spcPct val="0"/>
            </a:spcBef>
            <a:spcAft>
              <a:spcPct val="35000"/>
            </a:spcAft>
            <a:buNone/>
          </a:pPr>
          <a:r>
            <a:rPr lang="en-US" sz="2200" kern="1200" dirty="0"/>
            <a:t>You just like being the smartest kid on the block</a:t>
          </a:r>
        </a:p>
      </dsp:txBody>
      <dsp:txXfrm>
        <a:off x="1072424" y="3483730"/>
        <a:ext cx="3812778" cy="928506"/>
      </dsp:txXfrm>
    </dsp:sp>
  </dsp:spTree>
</dsp:drawing>
</file>

<file path=ppt/diagrams/drawing1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A3E1F5A-1D00-494C-8FF9-E0C9985E8D56}">
      <dsp:nvSpPr>
        <dsp:cNvPr id="0" name=""/>
        <dsp:cNvSpPr/>
      </dsp:nvSpPr>
      <dsp:spPr>
        <a:xfrm>
          <a:off x="2311597" y="0"/>
          <a:ext cx="3263504" cy="3263504"/>
        </a:xfrm>
        <a:prstGeom prst="ellipse">
          <a:avLst/>
        </a:prstGeom>
        <a:solidFill>
          <a:schemeClr val="dk2">
            <a:hueOff val="0"/>
            <a:satOff val="0"/>
            <a:lumOff val="0"/>
            <a:alphaOff val="0"/>
          </a:schemeClr>
        </a:solid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ctr" defTabSz="666750">
            <a:lnSpc>
              <a:spcPct val="90000"/>
            </a:lnSpc>
            <a:spcBef>
              <a:spcPct val="0"/>
            </a:spcBef>
            <a:spcAft>
              <a:spcPct val="35000"/>
            </a:spcAft>
            <a:buNone/>
          </a:pPr>
          <a:r>
            <a:rPr lang="en-US" sz="1500" kern="1200" dirty="0"/>
            <a:t>Application</a:t>
          </a:r>
        </a:p>
      </dsp:txBody>
      <dsp:txXfrm>
        <a:off x="3373052" y="163175"/>
        <a:ext cx="1140594" cy="489525"/>
      </dsp:txXfrm>
    </dsp:sp>
    <dsp:sp modelId="{780AB081-7C28-4EB4-AC03-9A6D4AF5B51F}">
      <dsp:nvSpPr>
        <dsp:cNvPr id="0" name=""/>
        <dsp:cNvSpPr/>
      </dsp:nvSpPr>
      <dsp:spPr>
        <a:xfrm>
          <a:off x="2719536" y="815875"/>
          <a:ext cx="2447628" cy="2447628"/>
        </a:xfrm>
        <a:prstGeom prst="ellipse">
          <a:avLst/>
        </a:prstGeom>
        <a:solidFill>
          <a:schemeClr val="dk2">
            <a:hueOff val="0"/>
            <a:satOff val="0"/>
            <a:lumOff val="0"/>
            <a:alphaOff val="0"/>
          </a:schemeClr>
        </a:solid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ctr" defTabSz="666750">
            <a:lnSpc>
              <a:spcPct val="90000"/>
            </a:lnSpc>
            <a:spcBef>
              <a:spcPct val="0"/>
            </a:spcBef>
            <a:spcAft>
              <a:spcPct val="35000"/>
            </a:spcAft>
            <a:buNone/>
          </a:pPr>
          <a:r>
            <a:rPr lang="en-US" sz="1500" kern="1200" dirty="0"/>
            <a:t>Function</a:t>
          </a:r>
        </a:p>
      </dsp:txBody>
      <dsp:txXfrm>
        <a:off x="3373052" y="968852"/>
        <a:ext cx="1140594" cy="458930"/>
      </dsp:txXfrm>
    </dsp:sp>
    <dsp:sp modelId="{F5B81FDE-1DF6-4FD5-8681-D791071DEBFB}">
      <dsp:nvSpPr>
        <dsp:cNvPr id="0" name=""/>
        <dsp:cNvSpPr/>
      </dsp:nvSpPr>
      <dsp:spPr>
        <a:xfrm>
          <a:off x="3127473" y="1631752"/>
          <a:ext cx="1631752" cy="1631752"/>
        </a:xfrm>
        <a:prstGeom prst="ellipse">
          <a:avLst/>
        </a:prstGeom>
        <a:solidFill>
          <a:schemeClr val="dk2">
            <a:hueOff val="0"/>
            <a:satOff val="0"/>
            <a:lumOff val="0"/>
            <a:alphaOff val="0"/>
          </a:schemeClr>
        </a:solid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ctr" defTabSz="666750">
            <a:lnSpc>
              <a:spcPct val="90000"/>
            </a:lnSpc>
            <a:spcBef>
              <a:spcPct val="0"/>
            </a:spcBef>
            <a:spcAft>
              <a:spcPct val="35000"/>
            </a:spcAft>
            <a:buNone/>
          </a:pPr>
          <a:r>
            <a:rPr lang="en-US" sz="1500" kern="1200" dirty="0"/>
            <a:t>Task</a:t>
          </a:r>
        </a:p>
      </dsp:txBody>
      <dsp:txXfrm>
        <a:off x="3366438" y="2039690"/>
        <a:ext cx="1153822" cy="815876"/>
      </dsp:txXfrm>
    </dsp:sp>
  </dsp:spTree>
</dsp:drawing>
</file>

<file path=ppt/diagrams/drawing1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0B81736-8AF7-4521-B580-AA0752690E83}">
      <dsp:nvSpPr>
        <dsp:cNvPr id="0" name=""/>
        <dsp:cNvSpPr/>
      </dsp:nvSpPr>
      <dsp:spPr>
        <a:xfrm>
          <a:off x="0" y="1832"/>
          <a:ext cx="4885203" cy="928506"/>
        </a:xfrm>
        <a:prstGeom prst="roundRect">
          <a:avLst>
            <a:gd name="adj" fmla="val 10000"/>
          </a:avLst>
        </a:prstGeom>
        <a:solidFill>
          <a:schemeClr val="bg1">
            <a:lumMod val="95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B784ECE6-32E1-4A8D-A32B-106785B98D9F}">
      <dsp:nvSpPr>
        <dsp:cNvPr id="0" name=""/>
        <dsp:cNvSpPr/>
      </dsp:nvSpPr>
      <dsp:spPr>
        <a:xfrm>
          <a:off x="280873" y="210745"/>
          <a:ext cx="510678" cy="510678"/>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BC22E1DC-968F-4F38-865F-63CA8E20581F}">
      <dsp:nvSpPr>
        <dsp:cNvPr id="0" name=""/>
        <dsp:cNvSpPr/>
      </dsp:nvSpPr>
      <dsp:spPr>
        <a:xfrm>
          <a:off x="1072424" y="1832"/>
          <a:ext cx="3812778" cy="92850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8267" tIns="98267" rIns="98267" bIns="98267" numCol="1" spcCol="1270" anchor="ctr" anchorCtr="0">
          <a:noAutofit/>
        </a:bodyPr>
        <a:lstStyle/>
        <a:p>
          <a:pPr marL="0" lvl="0" indent="0" algn="l" defTabSz="666750">
            <a:lnSpc>
              <a:spcPct val="100000"/>
            </a:lnSpc>
            <a:spcBef>
              <a:spcPct val="0"/>
            </a:spcBef>
            <a:spcAft>
              <a:spcPct val="35000"/>
            </a:spcAft>
            <a:buNone/>
          </a:pPr>
          <a:r>
            <a:rPr lang="en-US" sz="1500" kern="1200"/>
            <a:t>Track and review your progress frequently</a:t>
          </a:r>
        </a:p>
      </dsp:txBody>
      <dsp:txXfrm>
        <a:off x="1072424" y="1832"/>
        <a:ext cx="3812778" cy="928506"/>
      </dsp:txXfrm>
    </dsp:sp>
    <dsp:sp modelId="{9AAC3FA3-28EE-45AD-A06D-73337721F2DF}">
      <dsp:nvSpPr>
        <dsp:cNvPr id="0" name=""/>
        <dsp:cNvSpPr/>
      </dsp:nvSpPr>
      <dsp:spPr>
        <a:xfrm>
          <a:off x="0" y="1162464"/>
          <a:ext cx="4885203" cy="928506"/>
        </a:xfrm>
        <a:prstGeom prst="roundRect">
          <a:avLst>
            <a:gd name="adj" fmla="val 10000"/>
          </a:avLst>
        </a:prstGeom>
        <a:solidFill>
          <a:schemeClr val="bg1">
            <a:lumMod val="95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1602D1F2-5906-46ED-B1B2-69A9B4369E6F}">
      <dsp:nvSpPr>
        <dsp:cNvPr id="0" name=""/>
        <dsp:cNvSpPr/>
      </dsp:nvSpPr>
      <dsp:spPr>
        <a:xfrm>
          <a:off x="280873" y="1371378"/>
          <a:ext cx="510678" cy="510678"/>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2A0777FC-F7C1-489C-B169-A794D7B407D3}">
      <dsp:nvSpPr>
        <dsp:cNvPr id="0" name=""/>
        <dsp:cNvSpPr/>
      </dsp:nvSpPr>
      <dsp:spPr>
        <a:xfrm>
          <a:off x="1072424" y="1162464"/>
          <a:ext cx="3812778" cy="92850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8267" tIns="98267" rIns="98267" bIns="98267" numCol="1" spcCol="1270" anchor="ctr" anchorCtr="0">
          <a:noAutofit/>
        </a:bodyPr>
        <a:lstStyle/>
        <a:p>
          <a:pPr marL="0" lvl="0" indent="0" algn="l" defTabSz="666750">
            <a:lnSpc>
              <a:spcPct val="100000"/>
            </a:lnSpc>
            <a:spcBef>
              <a:spcPct val="0"/>
            </a:spcBef>
            <a:spcAft>
              <a:spcPct val="35000"/>
            </a:spcAft>
            <a:buNone/>
          </a:pPr>
          <a:r>
            <a:rPr lang="en-US" sz="1500" kern="1200"/>
            <a:t>Start with functional areas you already know</a:t>
          </a:r>
        </a:p>
      </dsp:txBody>
      <dsp:txXfrm>
        <a:off x="1072424" y="1162464"/>
        <a:ext cx="3812778" cy="928506"/>
      </dsp:txXfrm>
    </dsp:sp>
    <dsp:sp modelId="{64378AE9-168E-4610-8E17-3121A47E7705}">
      <dsp:nvSpPr>
        <dsp:cNvPr id="0" name=""/>
        <dsp:cNvSpPr/>
      </dsp:nvSpPr>
      <dsp:spPr>
        <a:xfrm>
          <a:off x="0" y="2323097"/>
          <a:ext cx="4885203" cy="928506"/>
        </a:xfrm>
        <a:prstGeom prst="roundRect">
          <a:avLst>
            <a:gd name="adj" fmla="val 10000"/>
          </a:avLst>
        </a:prstGeom>
        <a:solidFill>
          <a:schemeClr val="bg1">
            <a:lumMod val="95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0AD9A22F-086C-477E-A999-D4CB7DACB363}">
      <dsp:nvSpPr>
        <dsp:cNvPr id="0" name=""/>
        <dsp:cNvSpPr/>
      </dsp:nvSpPr>
      <dsp:spPr>
        <a:xfrm>
          <a:off x="280873" y="2532011"/>
          <a:ext cx="510678" cy="510678"/>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2F40BAA6-AD54-42D7-95E4-82C2D557E4E5}">
      <dsp:nvSpPr>
        <dsp:cNvPr id="0" name=""/>
        <dsp:cNvSpPr/>
      </dsp:nvSpPr>
      <dsp:spPr>
        <a:xfrm>
          <a:off x="1072424" y="2323097"/>
          <a:ext cx="3812778" cy="92850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8267" tIns="98267" rIns="98267" bIns="98267" numCol="1" spcCol="1270" anchor="ctr" anchorCtr="0">
          <a:noAutofit/>
        </a:bodyPr>
        <a:lstStyle/>
        <a:p>
          <a:pPr marL="0" lvl="0" indent="0" algn="l" defTabSz="666750">
            <a:lnSpc>
              <a:spcPct val="100000"/>
            </a:lnSpc>
            <a:spcBef>
              <a:spcPct val="0"/>
            </a:spcBef>
            <a:spcAft>
              <a:spcPct val="35000"/>
            </a:spcAft>
            <a:buNone/>
          </a:pPr>
          <a:r>
            <a:rPr lang="en-US" sz="1500" kern="1200" dirty="0"/>
            <a:t>Be consistent</a:t>
          </a:r>
          <a:br>
            <a:rPr lang="en-US" sz="1500" kern="1200" dirty="0"/>
          </a:br>
          <a:r>
            <a:rPr lang="en-US" sz="1500" kern="1200" dirty="0"/>
            <a:t>(block out time on your calendar)</a:t>
          </a:r>
        </a:p>
      </dsp:txBody>
      <dsp:txXfrm>
        <a:off x="1072424" y="2323097"/>
        <a:ext cx="3812778" cy="928506"/>
      </dsp:txXfrm>
    </dsp:sp>
    <dsp:sp modelId="{588553BF-300D-480A-BC8B-F4D4C9EC507E}">
      <dsp:nvSpPr>
        <dsp:cNvPr id="0" name=""/>
        <dsp:cNvSpPr/>
      </dsp:nvSpPr>
      <dsp:spPr>
        <a:xfrm>
          <a:off x="0" y="3483730"/>
          <a:ext cx="4885203" cy="928506"/>
        </a:xfrm>
        <a:prstGeom prst="roundRect">
          <a:avLst>
            <a:gd name="adj" fmla="val 10000"/>
          </a:avLst>
        </a:prstGeom>
        <a:solidFill>
          <a:schemeClr val="bg1">
            <a:lumMod val="95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9E5EA43F-5741-40F1-BB40-E63B75B16572}">
      <dsp:nvSpPr>
        <dsp:cNvPr id="0" name=""/>
        <dsp:cNvSpPr/>
      </dsp:nvSpPr>
      <dsp:spPr>
        <a:xfrm>
          <a:off x="280873" y="3692644"/>
          <a:ext cx="510678" cy="510678"/>
        </a:xfrm>
        <a:prstGeom prst="rect">
          <a:avLst/>
        </a:prstGeom>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9ECE27A6-6BBF-4D9C-A9FF-C5AE44B5D195}">
      <dsp:nvSpPr>
        <dsp:cNvPr id="0" name=""/>
        <dsp:cNvSpPr/>
      </dsp:nvSpPr>
      <dsp:spPr>
        <a:xfrm>
          <a:off x="1072424" y="3483730"/>
          <a:ext cx="3812778" cy="92850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8267" tIns="98267" rIns="98267" bIns="98267" numCol="1" spcCol="1270" anchor="ctr" anchorCtr="0">
          <a:noAutofit/>
        </a:bodyPr>
        <a:lstStyle/>
        <a:p>
          <a:pPr marL="0" lvl="0" indent="0" algn="l" defTabSz="666750">
            <a:lnSpc>
              <a:spcPct val="100000"/>
            </a:lnSpc>
            <a:spcBef>
              <a:spcPct val="0"/>
            </a:spcBef>
            <a:spcAft>
              <a:spcPct val="35000"/>
            </a:spcAft>
            <a:buNone/>
          </a:pPr>
          <a:r>
            <a:rPr lang="en-US" sz="1500" kern="1200"/>
            <a:t>Certification exams are a great way to test your knowledge (with a side-effect of getting a certification)</a:t>
          </a:r>
        </a:p>
      </dsp:txBody>
      <dsp:txXfrm>
        <a:off x="1072424" y="3483730"/>
        <a:ext cx="3812778" cy="928506"/>
      </dsp:txXfrm>
    </dsp:sp>
  </dsp:spTree>
</dsp:drawing>
</file>

<file path=ppt/diagrams/drawing1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89E0077-A29D-45BB-8FCE-7441AD9013C2}">
      <dsp:nvSpPr>
        <dsp:cNvPr id="0" name=""/>
        <dsp:cNvSpPr/>
      </dsp:nvSpPr>
      <dsp:spPr>
        <a:xfrm>
          <a:off x="0" y="1832"/>
          <a:ext cx="4885203" cy="928506"/>
        </a:xfrm>
        <a:prstGeom prst="roundRect">
          <a:avLst>
            <a:gd name="adj" fmla="val 10000"/>
          </a:avLst>
        </a:prstGeom>
        <a:solidFill>
          <a:schemeClr val="bg1">
            <a:lumMod val="95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3F97801B-6D8D-42AD-A0FB-F72C200AB027}">
      <dsp:nvSpPr>
        <dsp:cNvPr id="0" name=""/>
        <dsp:cNvSpPr/>
      </dsp:nvSpPr>
      <dsp:spPr>
        <a:xfrm>
          <a:off x="280873" y="210745"/>
          <a:ext cx="510678" cy="510678"/>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C0DD5173-A1ED-4698-9022-366AD2AB76A7}">
      <dsp:nvSpPr>
        <dsp:cNvPr id="0" name=""/>
        <dsp:cNvSpPr/>
      </dsp:nvSpPr>
      <dsp:spPr>
        <a:xfrm>
          <a:off x="1072424" y="1832"/>
          <a:ext cx="3812778" cy="92850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8267" tIns="98267" rIns="98267" bIns="98267" numCol="1" spcCol="1270" anchor="ctr" anchorCtr="0">
          <a:noAutofit/>
        </a:bodyPr>
        <a:lstStyle/>
        <a:p>
          <a:pPr marL="0" lvl="0" indent="0" algn="l" defTabSz="977900">
            <a:lnSpc>
              <a:spcPct val="100000"/>
            </a:lnSpc>
            <a:spcBef>
              <a:spcPct val="0"/>
            </a:spcBef>
            <a:spcAft>
              <a:spcPct val="35000"/>
            </a:spcAft>
            <a:buNone/>
          </a:pPr>
          <a:r>
            <a:rPr lang="en-US" sz="2200" kern="1200"/>
            <a:t>Know</a:t>
          </a:r>
        </a:p>
      </dsp:txBody>
      <dsp:txXfrm>
        <a:off x="1072424" y="1832"/>
        <a:ext cx="3812778" cy="928506"/>
      </dsp:txXfrm>
    </dsp:sp>
    <dsp:sp modelId="{999FAF62-676D-40BC-8D7D-29924360E948}">
      <dsp:nvSpPr>
        <dsp:cNvPr id="0" name=""/>
        <dsp:cNvSpPr/>
      </dsp:nvSpPr>
      <dsp:spPr>
        <a:xfrm>
          <a:off x="0" y="1162464"/>
          <a:ext cx="4885203" cy="928506"/>
        </a:xfrm>
        <a:prstGeom prst="roundRect">
          <a:avLst>
            <a:gd name="adj" fmla="val 10000"/>
          </a:avLst>
        </a:prstGeom>
        <a:solidFill>
          <a:schemeClr val="bg1">
            <a:lumMod val="95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B22E0F55-6C61-4AC0-B64D-73940B8B4115}">
      <dsp:nvSpPr>
        <dsp:cNvPr id="0" name=""/>
        <dsp:cNvSpPr/>
      </dsp:nvSpPr>
      <dsp:spPr>
        <a:xfrm>
          <a:off x="280873" y="1371378"/>
          <a:ext cx="510678" cy="510678"/>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EBCB2261-33FC-4986-988A-9A1FE98545B9}">
      <dsp:nvSpPr>
        <dsp:cNvPr id="0" name=""/>
        <dsp:cNvSpPr/>
      </dsp:nvSpPr>
      <dsp:spPr>
        <a:xfrm>
          <a:off x="1072424" y="1162464"/>
          <a:ext cx="3812778" cy="92850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8267" tIns="98267" rIns="98267" bIns="98267" numCol="1" spcCol="1270" anchor="ctr" anchorCtr="0">
          <a:noAutofit/>
        </a:bodyPr>
        <a:lstStyle/>
        <a:p>
          <a:pPr marL="0" lvl="0" indent="0" algn="l" defTabSz="977900">
            <a:lnSpc>
              <a:spcPct val="100000"/>
            </a:lnSpc>
            <a:spcBef>
              <a:spcPct val="0"/>
            </a:spcBef>
            <a:spcAft>
              <a:spcPct val="35000"/>
            </a:spcAft>
            <a:buNone/>
          </a:pPr>
          <a:r>
            <a:rPr lang="en-US" sz="2200" kern="1200" dirty="0"/>
            <a:t>Comprehend</a:t>
          </a:r>
        </a:p>
      </dsp:txBody>
      <dsp:txXfrm>
        <a:off x="1072424" y="1162464"/>
        <a:ext cx="3812778" cy="928506"/>
      </dsp:txXfrm>
    </dsp:sp>
    <dsp:sp modelId="{161A473E-FD38-43A3-A295-C189BE002EC0}">
      <dsp:nvSpPr>
        <dsp:cNvPr id="0" name=""/>
        <dsp:cNvSpPr/>
      </dsp:nvSpPr>
      <dsp:spPr>
        <a:xfrm>
          <a:off x="0" y="2323097"/>
          <a:ext cx="4885203" cy="928506"/>
        </a:xfrm>
        <a:prstGeom prst="roundRect">
          <a:avLst>
            <a:gd name="adj" fmla="val 10000"/>
          </a:avLst>
        </a:prstGeom>
        <a:solidFill>
          <a:schemeClr val="bg1">
            <a:lumMod val="95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D1DE4919-68F8-4D71-99F8-A5CFD35D31A8}">
      <dsp:nvSpPr>
        <dsp:cNvPr id="0" name=""/>
        <dsp:cNvSpPr/>
      </dsp:nvSpPr>
      <dsp:spPr>
        <a:xfrm>
          <a:off x="280873" y="2532011"/>
          <a:ext cx="510678" cy="510678"/>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41234052-E9F0-4E29-94DD-5AB1B4BF3554}">
      <dsp:nvSpPr>
        <dsp:cNvPr id="0" name=""/>
        <dsp:cNvSpPr/>
      </dsp:nvSpPr>
      <dsp:spPr>
        <a:xfrm>
          <a:off x="1072424" y="2323097"/>
          <a:ext cx="3812778" cy="92850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8267" tIns="98267" rIns="98267" bIns="98267" numCol="1" spcCol="1270" anchor="ctr" anchorCtr="0">
          <a:noAutofit/>
        </a:bodyPr>
        <a:lstStyle/>
        <a:p>
          <a:pPr marL="0" lvl="0" indent="0" algn="l" defTabSz="977900">
            <a:lnSpc>
              <a:spcPct val="100000"/>
            </a:lnSpc>
            <a:spcBef>
              <a:spcPct val="0"/>
            </a:spcBef>
            <a:spcAft>
              <a:spcPct val="35000"/>
            </a:spcAft>
            <a:buNone/>
          </a:pPr>
          <a:r>
            <a:rPr lang="en-US" sz="2200" kern="1200" dirty="0"/>
            <a:t>Understand</a:t>
          </a:r>
        </a:p>
      </dsp:txBody>
      <dsp:txXfrm>
        <a:off x="1072424" y="2323097"/>
        <a:ext cx="3812778" cy="928506"/>
      </dsp:txXfrm>
    </dsp:sp>
    <dsp:sp modelId="{23DFF09F-DDD7-4871-B944-3FCE38CA9E08}">
      <dsp:nvSpPr>
        <dsp:cNvPr id="0" name=""/>
        <dsp:cNvSpPr/>
      </dsp:nvSpPr>
      <dsp:spPr>
        <a:xfrm>
          <a:off x="0" y="3483730"/>
          <a:ext cx="4885203" cy="928506"/>
        </a:xfrm>
        <a:prstGeom prst="roundRect">
          <a:avLst>
            <a:gd name="adj" fmla="val 10000"/>
          </a:avLst>
        </a:prstGeom>
        <a:solidFill>
          <a:schemeClr val="bg1">
            <a:lumMod val="95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1749E365-7B06-4650-BDEA-20F359C4DBBB}">
      <dsp:nvSpPr>
        <dsp:cNvPr id="0" name=""/>
        <dsp:cNvSpPr/>
      </dsp:nvSpPr>
      <dsp:spPr>
        <a:xfrm>
          <a:off x="280873" y="3692644"/>
          <a:ext cx="510678" cy="510678"/>
        </a:xfrm>
        <a:prstGeom prst="rect">
          <a:avLst/>
        </a:prstGeom>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507E0309-152E-4C18-B73C-19C83F41ECC3}">
      <dsp:nvSpPr>
        <dsp:cNvPr id="0" name=""/>
        <dsp:cNvSpPr/>
      </dsp:nvSpPr>
      <dsp:spPr>
        <a:xfrm>
          <a:off x="1072424" y="3483730"/>
          <a:ext cx="3812778" cy="92850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8267" tIns="98267" rIns="98267" bIns="98267" numCol="1" spcCol="1270" anchor="ctr" anchorCtr="0">
          <a:noAutofit/>
        </a:bodyPr>
        <a:lstStyle/>
        <a:p>
          <a:pPr marL="0" lvl="0" indent="0" algn="l" defTabSz="977900">
            <a:lnSpc>
              <a:spcPct val="100000"/>
            </a:lnSpc>
            <a:spcBef>
              <a:spcPct val="0"/>
            </a:spcBef>
            <a:spcAft>
              <a:spcPct val="35000"/>
            </a:spcAft>
            <a:buNone/>
          </a:pPr>
          <a:r>
            <a:rPr lang="en-US" sz="2200" kern="1200" dirty="0"/>
            <a:t>Teach</a:t>
          </a:r>
        </a:p>
      </dsp:txBody>
      <dsp:txXfrm>
        <a:off x="1072424" y="3483730"/>
        <a:ext cx="3812778" cy="928506"/>
      </dsp:txXfrm>
    </dsp:sp>
  </dsp:spTree>
</dsp:drawing>
</file>

<file path=ppt/diagrams/drawing1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A41E17A-7E33-4F43-998F-39D1819900EB}">
      <dsp:nvSpPr>
        <dsp:cNvPr id="0" name=""/>
        <dsp:cNvSpPr/>
      </dsp:nvSpPr>
      <dsp:spPr>
        <a:xfrm>
          <a:off x="0" y="1427"/>
          <a:ext cx="4885203" cy="608443"/>
        </a:xfrm>
        <a:prstGeom prst="roundRect">
          <a:avLst>
            <a:gd name="adj" fmla="val 10000"/>
          </a:avLst>
        </a:prstGeom>
        <a:solidFill>
          <a:schemeClr val="bg1">
            <a:lumMod val="95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90FE9D55-0451-45AF-984C-79201B6F593F}">
      <dsp:nvSpPr>
        <dsp:cNvPr id="0" name=""/>
        <dsp:cNvSpPr/>
      </dsp:nvSpPr>
      <dsp:spPr>
        <a:xfrm>
          <a:off x="184054" y="138327"/>
          <a:ext cx="334643" cy="334643"/>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2CB0B682-F372-4D92-9F1A-5E02939C3D6C}">
      <dsp:nvSpPr>
        <dsp:cNvPr id="0" name=""/>
        <dsp:cNvSpPr/>
      </dsp:nvSpPr>
      <dsp:spPr>
        <a:xfrm>
          <a:off x="702751" y="1427"/>
          <a:ext cx="4182451" cy="60844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4394" tIns="64394" rIns="64394" bIns="64394" numCol="1" spcCol="1270" anchor="ctr" anchorCtr="0">
          <a:noAutofit/>
        </a:bodyPr>
        <a:lstStyle/>
        <a:p>
          <a:pPr marL="0" lvl="0" indent="0" algn="l" defTabSz="844550">
            <a:lnSpc>
              <a:spcPct val="90000"/>
            </a:lnSpc>
            <a:spcBef>
              <a:spcPct val="0"/>
            </a:spcBef>
            <a:spcAft>
              <a:spcPct val="35000"/>
            </a:spcAft>
            <a:buNone/>
          </a:pPr>
          <a:r>
            <a:rPr lang="en-US" sz="1900" kern="1200"/>
            <a:t>Establish a plan</a:t>
          </a:r>
        </a:p>
      </dsp:txBody>
      <dsp:txXfrm>
        <a:off x="702751" y="1427"/>
        <a:ext cx="4182451" cy="608443"/>
      </dsp:txXfrm>
    </dsp:sp>
    <dsp:sp modelId="{85CDF927-7680-47E4-92C2-97908C83373D}">
      <dsp:nvSpPr>
        <dsp:cNvPr id="0" name=""/>
        <dsp:cNvSpPr/>
      </dsp:nvSpPr>
      <dsp:spPr>
        <a:xfrm>
          <a:off x="0" y="761981"/>
          <a:ext cx="4885203" cy="608443"/>
        </a:xfrm>
        <a:prstGeom prst="roundRect">
          <a:avLst>
            <a:gd name="adj" fmla="val 10000"/>
          </a:avLst>
        </a:prstGeom>
        <a:solidFill>
          <a:schemeClr val="bg1">
            <a:lumMod val="95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8E9EB886-9FEC-460E-ADF1-D32C2F294B17}">
      <dsp:nvSpPr>
        <dsp:cNvPr id="0" name=""/>
        <dsp:cNvSpPr/>
      </dsp:nvSpPr>
      <dsp:spPr>
        <a:xfrm>
          <a:off x="184054" y="898881"/>
          <a:ext cx="334643" cy="334643"/>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0F44B743-0E9D-4B88-8E71-9E8EF0A871A2}">
      <dsp:nvSpPr>
        <dsp:cNvPr id="0" name=""/>
        <dsp:cNvSpPr/>
      </dsp:nvSpPr>
      <dsp:spPr>
        <a:xfrm>
          <a:off x="702751" y="761981"/>
          <a:ext cx="4182451" cy="60844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4394" tIns="64394" rIns="64394" bIns="64394" numCol="1" spcCol="1270" anchor="ctr" anchorCtr="0">
          <a:noAutofit/>
        </a:bodyPr>
        <a:lstStyle/>
        <a:p>
          <a:pPr marL="0" lvl="0" indent="0" algn="l" defTabSz="844550">
            <a:lnSpc>
              <a:spcPct val="90000"/>
            </a:lnSpc>
            <a:spcBef>
              <a:spcPct val="0"/>
            </a:spcBef>
            <a:spcAft>
              <a:spcPct val="35000"/>
            </a:spcAft>
            <a:buNone/>
          </a:pPr>
          <a:r>
            <a:rPr lang="en-US" sz="1900" kern="1200"/>
            <a:t>Set a goal with a timeframe</a:t>
          </a:r>
        </a:p>
      </dsp:txBody>
      <dsp:txXfrm>
        <a:off x="702751" y="761981"/>
        <a:ext cx="4182451" cy="608443"/>
      </dsp:txXfrm>
    </dsp:sp>
    <dsp:sp modelId="{59FFC8CE-75AD-40A5-AD3B-D0AFF00EA510}">
      <dsp:nvSpPr>
        <dsp:cNvPr id="0" name=""/>
        <dsp:cNvSpPr/>
      </dsp:nvSpPr>
      <dsp:spPr>
        <a:xfrm>
          <a:off x="0" y="1522535"/>
          <a:ext cx="4885203" cy="608443"/>
        </a:xfrm>
        <a:prstGeom prst="roundRect">
          <a:avLst>
            <a:gd name="adj" fmla="val 10000"/>
          </a:avLst>
        </a:prstGeom>
        <a:solidFill>
          <a:schemeClr val="bg1">
            <a:lumMod val="95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0E875FCB-569D-4F0B-9D9E-9F16CA8C6AFF}">
      <dsp:nvSpPr>
        <dsp:cNvPr id="0" name=""/>
        <dsp:cNvSpPr/>
      </dsp:nvSpPr>
      <dsp:spPr>
        <a:xfrm>
          <a:off x="184054" y="1659435"/>
          <a:ext cx="334643" cy="334643"/>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BD0234E9-DDDC-48DD-B86A-4538A94398E5}">
      <dsp:nvSpPr>
        <dsp:cNvPr id="0" name=""/>
        <dsp:cNvSpPr/>
      </dsp:nvSpPr>
      <dsp:spPr>
        <a:xfrm>
          <a:off x="702751" y="1522535"/>
          <a:ext cx="4182451" cy="60844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4394" tIns="64394" rIns="64394" bIns="64394" numCol="1" spcCol="1270" anchor="ctr" anchorCtr="0">
          <a:noAutofit/>
        </a:bodyPr>
        <a:lstStyle/>
        <a:p>
          <a:pPr marL="0" lvl="0" indent="0" algn="l" defTabSz="844550">
            <a:lnSpc>
              <a:spcPct val="90000"/>
            </a:lnSpc>
            <a:spcBef>
              <a:spcPct val="0"/>
            </a:spcBef>
            <a:spcAft>
              <a:spcPct val="35000"/>
            </a:spcAft>
            <a:buNone/>
          </a:pPr>
          <a:r>
            <a:rPr lang="en-US" sz="1900" kern="1200"/>
            <a:t>Assemble your study resources</a:t>
          </a:r>
        </a:p>
      </dsp:txBody>
      <dsp:txXfrm>
        <a:off x="702751" y="1522535"/>
        <a:ext cx="4182451" cy="608443"/>
      </dsp:txXfrm>
    </dsp:sp>
    <dsp:sp modelId="{98582430-A6B0-4CB5-85D0-A072B98DBFCA}">
      <dsp:nvSpPr>
        <dsp:cNvPr id="0" name=""/>
        <dsp:cNvSpPr/>
      </dsp:nvSpPr>
      <dsp:spPr>
        <a:xfrm>
          <a:off x="0" y="2283089"/>
          <a:ext cx="4885203" cy="608443"/>
        </a:xfrm>
        <a:prstGeom prst="roundRect">
          <a:avLst>
            <a:gd name="adj" fmla="val 10000"/>
          </a:avLst>
        </a:prstGeom>
        <a:solidFill>
          <a:schemeClr val="bg1">
            <a:lumMod val="95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901A70CD-D85B-46CC-93B9-5D5DD0C36C32}">
      <dsp:nvSpPr>
        <dsp:cNvPr id="0" name=""/>
        <dsp:cNvSpPr/>
      </dsp:nvSpPr>
      <dsp:spPr>
        <a:xfrm>
          <a:off x="184054" y="2419989"/>
          <a:ext cx="334643" cy="334643"/>
        </a:xfrm>
        <a:prstGeom prst="rect">
          <a:avLst/>
        </a:prstGeom>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0F9E34EF-1816-48FE-A1E2-4884DFF319C6}">
      <dsp:nvSpPr>
        <dsp:cNvPr id="0" name=""/>
        <dsp:cNvSpPr/>
      </dsp:nvSpPr>
      <dsp:spPr>
        <a:xfrm>
          <a:off x="702751" y="2283089"/>
          <a:ext cx="4182451" cy="60844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4394" tIns="64394" rIns="64394" bIns="64394" numCol="1" spcCol="1270" anchor="ctr" anchorCtr="0">
          <a:noAutofit/>
        </a:bodyPr>
        <a:lstStyle/>
        <a:p>
          <a:pPr marL="0" lvl="0" indent="0" algn="l" defTabSz="844550">
            <a:lnSpc>
              <a:spcPct val="90000"/>
            </a:lnSpc>
            <a:spcBef>
              <a:spcPct val="0"/>
            </a:spcBef>
            <a:spcAft>
              <a:spcPct val="35000"/>
            </a:spcAft>
            <a:buNone/>
          </a:pPr>
          <a:r>
            <a:rPr lang="en-US" sz="1900" kern="1200"/>
            <a:t>Get a study-buddy (if that helps)</a:t>
          </a:r>
        </a:p>
      </dsp:txBody>
      <dsp:txXfrm>
        <a:off x="702751" y="2283089"/>
        <a:ext cx="4182451" cy="608443"/>
      </dsp:txXfrm>
    </dsp:sp>
    <dsp:sp modelId="{D38EE200-2941-4641-B512-DE6D6F4E096A}">
      <dsp:nvSpPr>
        <dsp:cNvPr id="0" name=""/>
        <dsp:cNvSpPr/>
      </dsp:nvSpPr>
      <dsp:spPr>
        <a:xfrm>
          <a:off x="0" y="3043643"/>
          <a:ext cx="4885203" cy="608443"/>
        </a:xfrm>
        <a:prstGeom prst="roundRect">
          <a:avLst>
            <a:gd name="adj" fmla="val 10000"/>
          </a:avLst>
        </a:prstGeom>
        <a:solidFill>
          <a:schemeClr val="bg1">
            <a:lumMod val="95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91C3AD63-DAC0-4E4D-8C15-8C9034562218}">
      <dsp:nvSpPr>
        <dsp:cNvPr id="0" name=""/>
        <dsp:cNvSpPr/>
      </dsp:nvSpPr>
      <dsp:spPr>
        <a:xfrm>
          <a:off x="184054" y="3180543"/>
          <a:ext cx="334643" cy="334643"/>
        </a:xfrm>
        <a:prstGeom prst="rect">
          <a:avLst/>
        </a:prstGeom>
        <a:blipFill>
          <a:blip xmlns:r="http://schemas.openxmlformats.org/officeDocument/2006/relationships"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a:blip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BC82CC52-1313-443C-BD2E-B011B119A877}">
      <dsp:nvSpPr>
        <dsp:cNvPr id="0" name=""/>
        <dsp:cNvSpPr/>
      </dsp:nvSpPr>
      <dsp:spPr>
        <a:xfrm>
          <a:off x="702751" y="3043643"/>
          <a:ext cx="4182451" cy="60844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4394" tIns="64394" rIns="64394" bIns="64394" numCol="1" spcCol="1270" anchor="ctr" anchorCtr="0">
          <a:noAutofit/>
        </a:bodyPr>
        <a:lstStyle/>
        <a:p>
          <a:pPr marL="0" lvl="0" indent="0" algn="l" defTabSz="844550">
            <a:lnSpc>
              <a:spcPct val="90000"/>
            </a:lnSpc>
            <a:spcBef>
              <a:spcPct val="0"/>
            </a:spcBef>
            <a:spcAft>
              <a:spcPct val="35000"/>
            </a:spcAft>
            <a:buNone/>
          </a:pPr>
          <a:r>
            <a:rPr lang="en-US" sz="1900" kern="1200"/>
            <a:t>Be committed</a:t>
          </a:r>
        </a:p>
      </dsp:txBody>
      <dsp:txXfrm>
        <a:off x="702751" y="3043643"/>
        <a:ext cx="4182451" cy="608443"/>
      </dsp:txXfrm>
    </dsp:sp>
    <dsp:sp modelId="{53B21E2E-0991-44D9-8F21-F9B93CC69144}">
      <dsp:nvSpPr>
        <dsp:cNvPr id="0" name=""/>
        <dsp:cNvSpPr/>
      </dsp:nvSpPr>
      <dsp:spPr>
        <a:xfrm>
          <a:off x="0" y="3804197"/>
          <a:ext cx="4885203" cy="608443"/>
        </a:xfrm>
        <a:prstGeom prst="roundRect">
          <a:avLst>
            <a:gd name="adj" fmla="val 10000"/>
          </a:avLst>
        </a:prstGeom>
        <a:solidFill>
          <a:schemeClr val="bg1">
            <a:lumMod val="95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B5311DD8-6CD9-4077-85E4-38768BAAC1F3}">
      <dsp:nvSpPr>
        <dsp:cNvPr id="0" name=""/>
        <dsp:cNvSpPr/>
      </dsp:nvSpPr>
      <dsp:spPr>
        <a:xfrm>
          <a:off x="184054" y="3941097"/>
          <a:ext cx="334643" cy="334643"/>
        </a:xfrm>
        <a:prstGeom prst="rect">
          <a:avLst/>
        </a:prstGeom>
        <a:blipFill>
          <a:blip xmlns:r="http://schemas.openxmlformats.org/officeDocument/2006/relationships"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a:blip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F9328D3E-BBDD-45E4-B0B9-4DA427FFBB27}">
      <dsp:nvSpPr>
        <dsp:cNvPr id="0" name=""/>
        <dsp:cNvSpPr/>
      </dsp:nvSpPr>
      <dsp:spPr>
        <a:xfrm>
          <a:off x="702751" y="3804197"/>
          <a:ext cx="4182451" cy="60844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4394" tIns="64394" rIns="64394" bIns="64394" numCol="1" spcCol="1270" anchor="ctr" anchorCtr="0">
          <a:noAutofit/>
        </a:bodyPr>
        <a:lstStyle/>
        <a:p>
          <a:pPr marL="0" lvl="0" indent="0" algn="l" defTabSz="844550">
            <a:lnSpc>
              <a:spcPct val="90000"/>
            </a:lnSpc>
            <a:spcBef>
              <a:spcPct val="0"/>
            </a:spcBef>
            <a:spcAft>
              <a:spcPct val="35000"/>
            </a:spcAft>
            <a:buNone/>
          </a:pPr>
          <a:r>
            <a:rPr lang="en-US" sz="1900" kern="1200" dirty="0"/>
            <a:t>When in doubt, just go take the test</a:t>
          </a:r>
        </a:p>
      </dsp:txBody>
      <dsp:txXfrm>
        <a:off x="702751" y="3804197"/>
        <a:ext cx="4182451" cy="608443"/>
      </dsp:txXfrm>
    </dsp:sp>
  </dsp:spTree>
</dsp:drawing>
</file>

<file path=ppt/diagrams/drawing1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D4338AF-F71C-407E-8A50-89F41328A3FF}">
      <dsp:nvSpPr>
        <dsp:cNvPr id="0" name=""/>
        <dsp:cNvSpPr/>
      </dsp:nvSpPr>
      <dsp:spPr>
        <a:xfrm>
          <a:off x="0" y="1832"/>
          <a:ext cx="4885203" cy="928506"/>
        </a:xfrm>
        <a:prstGeom prst="roundRect">
          <a:avLst>
            <a:gd name="adj" fmla="val 10000"/>
          </a:avLst>
        </a:prstGeom>
        <a:solidFill>
          <a:schemeClr val="bg1">
            <a:lumMod val="95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98542E8A-A3CB-459F-B0A6-2C3BBCDC8000}">
      <dsp:nvSpPr>
        <dsp:cNvPr id="0" name=""/>
        <dsp:cNvSpPr/>
      </dsp:nvSpPr>
      <dsp:spPr>
        <a:xfrm>
          <a:off x="280873" y="210745"/>
          <a:ext cx="510678" cy="510678"/>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674B1CB7-C2B3-462D-AE16-C210303EFAF7}">
      <dsp:nvSpPr>
        <dsp:cNvPr id="0" name=""/>
        <dsp:cNvSpPr/>
      </dsp:nvSpPr>
      <dsp:spPr>
        <a:xfrm>
          <a:off x="1072424" y="1832"/>
          <a:ext cx="3812778" cy="92850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8267" tIns="98267" rIns="98267" bIns="98267" numCol="1" spcCol="1270" anchor="ctr" anchorCtr="0">
          <a:noAutofit/>
        </a:bodyPr>
        <a:lstStyle/>
        <a:p>
          <a:pPr marL="0" lvl="0" indent="0" algn="l" defTabSz="977900">
            <a:lnSpc>
              <a:spcPct val="90000"/>
            </a:lnSpc>
            <a:spcBef>
              <a:spcPct val="0"/>
            </a:spcBef>
            <a:spcAft>
              <a:spcPct val="35000"/>
            </a:spcAft>
            <a:buNone/>
          </a:pPr>
          <a:r>
            <a:rPr lang="en-US" sz="2200" kern="1200"/>
            <a:t>It is only a test, so don’t be scared</a:t>
          </a:r>
        </a:p>
      </dsp:txBody>
      <dsp:txXfrm>
        <a:off x="1072424" y="1832"/>
        <a:ext cx="3812778" cy="928506"/>
      </dsp:txXfrm>
    </dsp:sp>
    <dsp:sp modelId="{CEDB1A75-02D5-4658-8C8C-805CCCCCE15F}">
      <dsp:nvSpPr>
        <dsp:cNvPr id="0" name=""/>
        <dsp:cNvSpPr/>
      </dsp:nvSpPr>
      <dsp:spPr>
        <a:xfrm>
          <a:off x="0" y="1162464"/>
          <a:ext cx="4885203" cy="928506"/>
        </a:xfrm>
        <a:prstGeom prst="roundRect">
          <a:avLst>
            <a:gd name="adj" fmla="val 10000"/>
          </a:avLst>
        </a:prstGeom>
        <a:solidFill>
          <a:schemeClr val="bg1">
            <a:lumMod val="95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FEB1BC6F-9E0D-4D7B-AC06-AA6B2359A71F}">
      <dsp:nvSpPr>
        <dsp:cNvPr id="0" name=""/>
        <dsp:cNvSpPr/>
      </dsp:nvSpPr>
      <dsp:spPr>
        <a:xfrm>
          <a:off x="280873" y="1371378"/>
          <a:ext cx="510678" cy="510678"/>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509B7E79-3EFF-49A4-A567-5753A00C516B}">
      <dsp:nvSpPr>
        <dsp:cNvPr id="0" name=""/>
        <dsp:cNvSpPr/>
      </dsp:nvSpPr>
      <dsp:spPr>
        <a:xfrm>
          <a:off x="1072424" y="1162464"/>
          <a:ext cx="3812778" cy="92850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8267" tIns="98267" rIns="98267" bIns="98267" numCol="1" spcCol="1270" anchor="ctr" anchorCtr="0">
          <a:noAutofit/>
        </a:bodyPr>
        <a:lstStyle/>
        <a:p>
          <a:pPr marL="0" lvl="0" indent="0" algn="l" defTabSz="977900">
            <a:lnSpc>
              <a:spcPct val="90000"/>
            </a:lnSpc>
            <a:spcBef>
              <a:spcPct val="0"/>
            </a:spcBef>
            <a:spcAft>
              <a:spcPct val="35000"/>
            </a:spcAft>
            <a:buNone/>
          </a:pPr>
          <a:r>
            <a:rPr lang="en-US" sz="2200" kern="1200"/>
            <a:t>What happens if you fail?</a:t>
          </a:r>
        </a:p>
      </dsp:txBody>
      <dsp:txXfrm>
        <a:off x="1072424" y="1162464"/>
        <a:ext cx="3812778" cy="928506"/>
      </dsp:txXfrm>
    </dsp:sp>
    <dsp:sp modelId="{32B50B9B-7940-41A7-89E1-6D56EC451952}">
      <dsp:nvSpPr>
        <dsp:cNvPr id="0" name=""/>
        <dsp:cNvSpPr/>
      </dsp:nvSpPr>
      <dsp:spPr>
        <a:xfrm>
          <a:off x="0" y="2323097"/>
          <a:ext cx="4885203" cy="928506"/>
        </a:xfrm>
        <a:prstGeom prst="roundRect">
          <a:avLst>
            <a:gd name="adj" fmla="val 10000"/>
          </a:avLst>
        </a:prstGeom>
        <a:solidFill>
          <a:schemeClr val="bg1">
            <a:lumMod val="95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2F04F981-24FC-410B-9493-2285010A7DD3}">
      <dsp:nvSpPr>
        <dsp:cNvPr id="0" name=""/>
        <dsp:cNvSpPr/>
      </dsp:nvSpPr>
      <dsp:spPr>
        <a:xfrm>
          <a:off x="280873" y="2532011"/>
          <a:ext cx="510678" cy="510678"/>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1D167424-5374-4668-A777-E1C1E5C86175}">
      <dsp:nvSpPr>
        <dsp:cNvPr id="0" name=""/>
        <dsp:cNvSpPr/>
      </dsp:nvSpPr>
      <dsp:spPr>
        <a:xfrm>
          <a:off x="1072424" y="2323097"/>
          <a:ext cx="3812778" cy="92850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8267" tIns="98267" rIns="98267" bIns="98267" numCol="1" spcCol="1270" anchor="ctr" anchorCtr="0">
          <a:noAutofit/>
        </a:bodyPr>
        <a:lstStyle/>
        <a:p>
          <a:pPr marL="0" lvl="0" indent="0" algn="l" defTabSz="977900">
            <a:lnSpc>
              <a:spcPct val="90000"/>
            </a:lnSpc>
            <a:spcBef>
              <a:spcPct val="0"/>
            </a:spcBef>
            <a:spcAft>
              <a:spcPct val="35000"/>
            </a:spcAft>
            <a:buNone/>
          </a:pPr>
          <a:r>
            <a:rPr lang="en-US" sz="2200" kern="1200" dirty="0"/>
            <a:t>Do </a:t>
          </a:r>
          <a:r>
            <a:rPr lang="en-US" sz="2200" b="1" u="sng" kern="1200" dirty="0"/>
            <a:t>not</a:t>
          </a:r>
          <a:r>
            <a:rPr lang="en-US" sz="2200" kern="1200" dirty="0"/>
            <a:t> over-study</a:t>
          </a:r>
        </a:p>
      </dsp:txBody>
      <dsp:txXfrm>
        <a:off x="1072424" y="2323097"/>
        <a:ext cx="3812778" cy="928506"/>
      </dsp:txXfrm>
    </dsp:sp>
    <dsp:sp modelId="{5CD28B5D-F08D-4782-9DC9-ACCFA625E072}">
      <dsp:nvSpPr>
        <dsp:cNvPr id="0" name=""/>
        <dsp:cNvSpPr/>
      </dsp:nvSpPr>
      <dsp:spPr>
        <a:xfrm>
          <a:off x="0" y="3483730"/>
          <a:ext cx="4885203" cy="928506"/>
        </a:xfrm>
        <a:prstGeom prst="roundRect">
          <a:avLst>
            <a:gd name="adj" fmla="val 10000"/>
          </a:avLst>
        </a:prstGeom>
        <a:solidFill>
          <a:schemeClr val="bg1">
            <a:lumMod val="95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F01AF6F1-98D3-4F51-BE3A-1AF2C2C718F7}">
      <dsp:nvSpPr>
        <dsp:cNvPr id="0" name=""/>
        <dsp:cNvSpPr/>
      </dsp:nvSpPr>
      <dsp:spPr>
        <a:xfrm>
          <a:off x="280873" y="3692644"/>
          <a:ext cx="510678" cy="510678"/>
        </a:xfrm>
        <a:prstGeom prst="rect">
          <a:avLst/>
        </a:prstGeom>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F4C9D690-8A6A-4623-AC5E-BB28B1033D5A}">
      <dsp:nvSpPr>
        <dsp:cNvPr id="0" name=""/>
        <dsp:cNvSpPr/>
      </dsp:nvSpPr>
      <dsp:spPr>
        <a:xfrm>
          <a:off x="1072424" y="3483730"/>
          <a:ext cx="3812778" cy="92850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8267" tIns="98267" rIns="98267" bIns="98267" numCol="1" spcCol="1270" anchor="ctr" anchorCtr="0">
          <a:noAutofit/>
        </a:bodyPr>
        <a:lstStyle/>
        <a:p>
          <a:pPr marL="0" lvl="0" indent="0" algn="l" defTabSz="977900">
            <a:lnSpc>
              <a:spcPct val="90000"/>
            </a:lnSpc>
            <a:spcBef>
              <a:spcPct val="0"/>
            </a:spcBef>
            <a:spcAft>
              <a:spcPct val="35000"/>
            </a:spcAft>
            <a:buNone/>
          </a:pPr>
          <a:r>
            <a:rPr lang="en-US" sz="2200" kern="1200" dirty="0"/>
            <a:t>There are plenty of free or low-cost learning aids</a:t>
          </a:r>
        </a:p>
      </dsp:txBody>
      <dsp:txXfrm>
        <a:off x="1072424" y="3483730"/>
        <a:ext cx="3812778" cy="928506"/>
      </dsp:txXfrm>
    </dsp:sp>
  </dsp:spTree>
</dsp:drawing>
</file>

<file path=ppt/diagrams/drawing1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0F552F4-7518-45AD-96D5-5F555AEDCA19}">
      <dsp:nvSpPr>
        <dsp:cNvPr id="0" name=""/>
        <dsp:cNvSpPr/>
      </dsp:nvSpPr>
      <dsp:spPr>
        <a:xfrm>
          <a:off x="0" y="3448"/>
          <a:ext cx="4885203" cy="734528"/>
        </a:xfrm>
        <a:prstGeom prst="roundRect">
          <a:avLst>
            <a:gd name="adj" fmla="val 10000"/>
          </a:avLst>
        </a:prstGeom>
        <a:solidFill>
          <a:schemeClr val="bg1">
            <a:lumMod val="95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B008EBD8-066A-4396-906B-31F2606FD301}">
      <dsp:nvSpPr>
        <dsp:cNvPr id="0" name=""/>
        <dsp:cNvSpPr/>
      </dsp:nvSpPr>
      <dsp:spPr>
        <a:xfrm>
          <a:off x="222194" y="168717"/>
          <a:ext cx="403990" cy="403990"/>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991FBC48-6FE8-406E-B15B-D5CFE863AC8F}">
      <dsp:nvSpPr>
        <dsp:cNvPr id="0" name=""/>
        <dsp:cNvSpPr/>
      </dsp:nvSpPr>
      <dsp:spPr>
        <a:xfrm>
          <a:off x="848380" y="3448"/>
          <a:ext cx="4036822" cy="73452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7738" tIns="77738" rIns="77738" bIns="77738" numCol="1" spcCol="1270" anchor="ctr" anchorCtr="0">
          <a:noAutofit/>
        </a:bodyPr>
        <a:lstStyle/>
        <a:p>
          <a:pPr marL="0" lvl="0" indent="0" algn="l" defTabSz="755650">
            <a:lnSpc>
              <a:spcPct val="100000"/>
            </a:lnSpc>
            <a:spcBef>
              <a:spcPct val="0"/>
            </a:spcBef>
            <a:spcAft>
              <a:spcPct val="35000"/>
            </a:spcAft>
            <a:buNone/>
          </a:pPr>
          <a:r>
            <a:rPr lang="en-US" sz="1700" kern="1200" dirty="0"/>
            <a:t>Know you will pass</a:t>
          </a:r>
        </a:p>
      </dsp:txBody>
      <dsp:txXfrm>
        <a:off x="848380" y="3448"/>
        <a:ext cx="4036822" cy="734528"/>
      </dsp:txXfrm>
    </dsp:sp>
    <dsp:sp modelId="{4356779B-7FCD-407A-B939-46AD904A8A9A}">
      <dsp:nvSpPr>
        <dsp:cNvPr id="0" name=""/>
        <dsp:cNvSpPr/>
      </dsp:nvSpPr>
      <dsp:spPr>
        <a:xfrm>
          <a:off x="0" y="921609"/>
          <a:ext cx="4885203" cy="734528"/>
        </a:xfrm>
        <a:prstGeom prst="roundRect">
          <a:avLst>
            <a:gd name="adj" fmla="val 10000"/>
          </a:avLst>
        </a:prstGeom>
        <a:solidFill>
          <a:schemeClr val="bg1">
            <a:lumMod val="95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D5D871E8-3562-4D76-B361-48F65FCAEF87}">
      <dsp:nvSpPr>
        <dsp:cNvPr id="0" name=""/>
        <dsp:cNvSpPr/>
      </dsp:nvSpPr>
      <dsp:spPr>
        <a:xfrm>
          <a:off x="222194" y="1086878"/>
          <a:ext cx="403990" cy="403990"/>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39DEE4F4-E204-4F57-932D-2C856A1FFB59}">
      <dsp:nvSpPr>
        <dsp:cNvPr id="0" name=""/>
        <dsp:cNvSpPr/>
      </dsp:nvSpPr>
      <dsp:spPr>
        <a:xfrm>
          <a:off x="848380" y="921609"/>
          <a:ext cx="4036822" cy="73452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7738" tIns="77738" rIns="77738" bIns="77738" numCol="1" spcCol="1270" anchor="ctr" anchorCtr="0">
          <a:noAutofit/>
        </a:bodyPr>
        <a:lstStyle/>
        <a:p>
          <a:pPr marL="0" lvl="0" indent="0" algn="l" defTabSz="755650">
            <a:lnSpc>
              <a:spcPct val="100000"/>
            </a:lnSpc>
            <a:spcBef>
              <a:spcPct val="0"/>
            </a:spcBef>
            <a:spcAft>
              <a:spcPct val="35000"/>
            </a:spcAft>
            <a:buNone/>
          </a:pPr>
          <a:r>
            <a:rPr lang="en-US" sz="1700" kern="1200" dirty="0"/>
            <a:t>Remain calm</a:t>
          </a:r>
        </a:p>
      </dsp:txBody>
      <dsp:txXfrm>
        <a:off x="848380" y="921609"/>
        <a:ext cx="4036822" cy="734528"/>
      </dsp:txXfrm>
    </dsp:sp>
    <dsp:sp modelId="{CC7F1F4F-8157-4282-97C9-1C9F6C8A8AF4}">
      <dsp:nvSpPr>
        <dsp:cNvPr id="0" name=""/>
        <dsp:cNvSpPr/>
      </dsp:nvSpPr>
      <dsp:spPr>
        <a:xfrm>
          <a:off x="0" y="1839770"/>
          <a:ext cx="4885203" cy="734528"/>
        </a:xfrm>
        <a:prstGeom prst="roundRect">
          <a:avLst>
            <a:gd name="adj" fmla="val 10000"/>
          </a:avLst>
        </a:prstGeom>
        <a:solidFill>
          <a:schemeClr val="bg1">
            <a:lumMod val="95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732417FA-48D7-4FD1-A603-CD2AF569517F}">
      <dsp:nvSpPr>
        <dsp:cNvPr id="0" name=""/>
        <dsp:cNvSpPr/>
      </dsp:nvSpPr>
      <dsp:spPr>
        <a:xfrm>
          <a:off x="222194" y="2005039"/>
          <a:ext cx="403990" cy="403990"/>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EC388E3A-2D51-4DEE-8F8D-0640573BA2A3}">
      <dsp:nvSpPr>
        <dsp:cNvPr id="0" name=""/>
        <dsp:cNvSpPr/>
      </dsp:nvSpPr>
      <dsp:spPr>
        <a:xfrm>
          <a:off x="848380" y="1839770"/>
          <a:ext cx="4036822" cy="73452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7738" tIns="77738" rIns="77738" bIns="77738" numCol="1" spcCol="1270" anchor="ctr" anchorCtr="0">
          <a:noAutofit/>
        </a:bodyPr>
        <a:lstStyle/>
        <a:p>
          <a:pPr marL="0" lvl="0" indent="0" algn="l" defTabSz="755650">
            <a:lnSpc>
              <a:spcPct val="100000"/>
            </a:lnSpc>
            <a:spcBef>
              <a:spcPct val="0"/>
            </a:spcBef>
            <a:spcAft>
              <a:spcPct val="35000"/>
            </a:spcAft>
            <a:buNone/>
          </a:pPr>
          <a:r>
            <a:rPr lang="en-US" sz="1700" kern="1200" dirty="0"/>
            <a:t>Manage anticipation</a:t>
          </a:r>
        </a:p>
      </dsp:txBody>
      <dsp:txXfrm>
        <a:off x="848380" y="1839770"/>
        <a:ext cx="4036822" cy="734528"/>
      </dsp:txXfrm>
    </dsp:sp>
    <dsp:sp modelId="{36FE21BE-54BA-4BBD-A896-195E98421FA1}">
      <dsp:nvSpPr>
        <dsp:cNvPr id="0" name=""/>
        <dsp:cNvSpPr/>
      </dsp:nvSpPr>
      <dsp:spPr>
        <a:xfrm>
          <a:off x="0" y="2757931"/>
          <a:ext cx="4885203" cy="734528"/>
        </a:xfrm>
        <a:prstGeom prst="roundRect">
          <a:avLst>
            <a:gd name="adj" fmla="val 10000"/>
          </a:avLst>
        </a:prstGeom>
        <a:solidFill>
          <a:schemeClr val="bg1">
            <a:lumMod val="95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D42BF11F-C97F-4545-AC0C-C75C8702A2D4}">
      <dsp:nvSpPr>
        <dsp:cNvPr id="0" name=""/>
        <dsp:cNvSpPr/>
      </dsp:nvSpPr>
      <dsp:spPr>
        <a:xfrm>
          <a:off x="222194" y="2923199"/>
          <a:ext cx="403990" cy="403990"/>
        </a:xfrm>
        <a:prstGeom prst="rect">
          <a:avLst/>
        </a:prstGeom>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6B212993-B686-4C56-A487-0F6AA137BA5C}">
      <dsp:nvSpPr>
        <dsp:cNvPr id="0" name=""/>
        <dsp:cNvSpPr/>
      </dsp:nvSpPr>
      <dsp:spPr>
        <a:xfrm>
          <a:off x="848380" y="2757931"/>
          <a:ext cx="4036822" cy="73452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7738" tIns="77738" rIns="77738" bIns="77738" numCol="1" spcCol="1270" anchor="ctr" anchorCtr="0">
          <a:noAutofit/>
        </a:bodyPr>
        <a:lstStyle/>
        <a:p>
          <a:pPr marL="0" lvl="0" indent="0" algn="l" defTabSz="755650">
            <a:lnSpc>
              <a:spcPct val="100000"/>
            </a:lnSpc>
            <a:spcBef>
              <a:spcPct val="0"/>
            </a:spcBef>
            <a:spcAft>
              <a:spcPct val="35000"/>
            </a:spcAft>
            <a:buNone/>
          </a:pPr>
          <a:r>
            <a:rPr lang="en-US" sz="1700" kern="1200" dirty="0"/>
            <a:t>Don’t revisit your answers</a:t>
          </a:r>
        </a:p>
      </dsp:txBody>
      <dsp:txXfrm>
        <a:off x="848380" y="2757931"/>
        <a:ext cx="4036822" cy="734528"/>
      </dsp:txXfrm>
    </dsp:sp>
    <dsp:sp modelId="{3EB9D231-9EA7-4770-8719-25667A1E2AD4}">
      <dsp:nvSpPr>
        <dsp:cNvPr id="0" name=""/>
        <dsp:cNvSpPr/>
      </dsp:nvSpPr>
      <dsp:spPr>
        <a:xfrm>
          <a:off x="0" y="3676091"/>
          <a:ext cx="4885203" cy="734528"/>
        </a:xfrm>
        <a:prstGeom prst="roundRect">
          <a:avLst>
            <a:gd name="adj" fmla="val 10000"/>
          </a:avLst>
        </a:prstGeom>
        <a:solidFill>
          <a:schemeClr val="bg1">
            <a:lumMod val="95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5CB68FA1-4AF5-47D4-A3D4-0112E1092E6B}">
      <dsp:nvSpPr>
        <dsp:cNvPr id="0" name=""/>
        <dsp:cNvSpPr/>
      </dsp:nvSpPr>
      <dsp:spPr>
        <a:xfrm>
          <a:off x="222194" y="3841360"/>
          <a:ext cx="403990" cy="403990"/>
        </a:xfrm>
        <a:prstGeom prst="rect">
          <a:avLst/>
        </a:prstGeom>
        <a:blipFill>
          <a:blip xmlns:r="http://schemas.openxmlformats.org/officeDocument/2006/relationships"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a:blip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DEA55EEE-AACB-487A-A6A9-1D90DE2C6AB2}">
      <dsp:nvSpPr>
        <dsp:cNvPr id="0" name=""/>
        <dsp:cNvSpPr/>
      </dsp:nvSpPr>
      <dsp:spPr>
        <a:xfrm>
          <a:off x="848380" y="3676091"/>
          <a:ext cx="4036822" cy="73452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7738" tIns="77738" rIns="77738" bIns="77738" numCol="1" spcCol="1270" anchor="ctr" anchorCtr="0">
          <a:noAutofit/>
        </a:bodyPr>
        <a:lstStyle/>
        <a:p>
          <a:pPr marL="0" lvl="0" indent="0" algn="l" defTabSz="755650">
            <a:lnSpc>
              <a:spcPct val="100000"/>
            </a:lnSpc>
            <a:spcBef>
              <a:spcPct val="0"/>
            </a:spcBef>
            <a:spcAft>
              <a:spcPct val="35000"/>
            </a:spcAft>
            <a:buNone/>
          </a:pPr>
          <a:r>
            <a:rPr lang="en-US" sz="1700" kern="1200"/>
            <a:t>If a question is badly written or confusing, mark for later review and provide feedback</a:t>
          </a:r>
        </a:p>
      </dsp:txBody>
      <dsp:txXfrm>
        <a:off x="848380" y="3676091"/>
        <a:ext cx="4036822" cy="734528"/>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6CB1FB1-F1F3-4175-A006-EBF501CEF881}">
      <dsp:nvSpPr>
        <dsp:cNvPr id="0" name=""/>
        <dsp:cNvSpPr/>
      </dsp:nvSpPr>
      <dsp:spPr>
        <a:xfrm>
          <a:off x="0" y="1832"/>
          <a:ext cx="4885203" cy="928506"/>
        </a:xfrm>
        <a:prstGeom prst="roundRect">
          <a:avLst>
            <a:gd name="adj" fmla="val 10000"/>
          </a:avLst>
        </a:prstGeom>
        <a:solidFill>
          <a:schemeClr val="bg1">
            <a:lumMod val="95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4DE8067D-D16F-4662-9C5F-2DF6EF21F109}">
      <dsp:nvSpPr>
        <dsp:cNvPr id="0" name=""/>
        <dsp:cNvSpPr/>
      </dsp:nvSpPr>
      <dsp:spPr>
        <a:xfrm>
          <a:off x="280873" y="210745"/>
          <a:ext cx="510678" cy="510678"/>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1B4A47DA-12FE-45EA-8B7D-0AD2C650440E}">
      <dsp:nvSpPr>
        <dsp:cNvPr id="0" name=""/>
        <dsp:cNvSpPr/>
      </dsp:nvSpPr>
      <dsp:spPr>
        <a:xfrm>
          <a:off x="1072424" y="1832"/>
          <a:ext cx="3812778" cy="92850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8267" tIns="98267" rIns="98267" bIns="98267" numCol="1" spcCol="1270" anchor="ctr" anchorCtr="0">
          <a:noAutofit/>
        </a:bodyPr>
        <a:lstStyle/>
        <a:p>
          <a:pPr marL="0" lvl="0" indent="0" algn="l" defTabSz="800100">
            <a:lnSpc>
              <a:spcPct val="100000"/>
            </a:lnSpc>
            <a:spcBef>
              <a:spcPct val="0"/>
            </a:spcBef>
            <a:spcAft>
              <a:spcPct val="35000"/>
            </a:spcAft>
            <a:buNone/>
          </a:pPr>
          <a:r>
            <a:rPr lang="en-US" sz="1800" kern="1200" dirty="0">
              <a:hlinkClick xmlns:r="http://schemas.openxmlformats.org/officeDocument/2006/relationships" r:id="rId3"/>
            </a:rPr>
            <a:t>https://learn.xrmcoaches.com</a:t>
          </a:r>
          <a:endParaRPr lang="en-US" sz="1800" kern="1200" dirty="0"/>
        </a:p>
      </dsp:txBody>
      <dsp:txXfrm>
        <a:off x="1072424" y="1832"/>
        <a:ext cx="3812778" cy="928506"/>
      </dsp:txXfrm>
    </dsp:sp>
    <dsp:sp modelId="{F54C9CFD-C8AE-4112-BCD4-DDE5D3E53392}">
      <dsp:nvSpPr>
        <dsp:cNvPr id="0" name=""/>
        <dsp:cNvSpPr/>
      </dsp:nvSpPr>
      <dsp:spPr>
        <a:xfrm>
          <a:off x="0" y="1162464"/>
          <a:ext cx="4885203" cy="928506"/>
        </a:xfrm>
        <a:prstGeom prst="roundRect">
          <a:avLst>
            <a:gd name="adj" fmla="val 10000"/>
          </a:avLst>
        </a:prstGeom>
        <a:solidFill>
          <a:schemeClr val="bg1">
            <a:lumMod val="95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AFF62D9E-A7EC-4623-AC41-F2C55AC25EE6}">
      <dsp:nvSpPr>
        <dsp:cNvPr id="0" name=""/>
        <dsp:cNvSpPr/>
      </dsp:nvSpPr>
      <dsp:spPr>
        <a:xfrm>
          <a:off x="280873" y="1371378"/>
          <a:ext cx="510678" cy="510678"/>
        </a:xfrm>
        <a:prstGeom prst="rect">
          <a:avLst/>
        </a:prstGeom>
        <a:blipFill>
          <a:blip xmlns:r="http://schemas.openxmlformats.org/officeDocument/2006/relationships"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a:blip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0FBA1F17-4EAE-4F87-9926-DCAFEF544860}">
      <dsp:nvSpPr>
        <dsp:cNvPr id="0" name=""/>
        <dsp:cNvSpPr/>
      </dsp:nvSpPr>
      <dsp:spPr>
        <a:xfrm>
          <a:off x="1072424" y="1162464"/>
          <a:ext cx="3812778" cy="92850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8267" tIns="98267" rIns="98267" bIns="98267" numCol="1" spcCol="1270" anchor="ctr" anchorCtr="0">
          <a:noAutofit/>
        </a:bodyPr>
        <a:lstStyle/>
        <a:p>
          <a:pPr marL="0" lvl="0" indent="0" algn="l" defTabSz="800100">
            <a:lnSpc>
              <a:spcPct val="100000"/>
            </a:lnSpc>
            <a:spcBef>
              <a:spcPct val="0"/>
            </a:spcBef>
            <a:spcAft>
              <a:spcPct val="35000"/>
            </a:spcAft>
            <a:buNone/>
          </a:pPr>
          <a:r>
            <a:rPr lang="en-US" sz="1800" kern="1200" dirty="0"/>
            <a:t>Power Platform JavaScript Development</a:t>
          </a:r>
        </a:p>
      </dsp:txBody>
      <dsp:txXfrm>
        <a:off x="1072424" y="1162464"/>
        <a:ext cx="3812778" cy="928506"/>
      </dsp:txXfrm>
    </dsp:sp>
    <dsp:sp modelId="{64C20214-94BE-49B8-9BDB-E886CCCD6B2D}">
      <dsp:nvSpPr>
        <dsp:cNvPr id="0" name=""/>
        <dsp:cNvSpPr/>
      </dsp:nvSpPr>
      <dsp:spPr>
        <a:xfrm>
          <a:off x="0" y="2323097"/>
          <a:ext cx="4885203" cy="928506"/>
        </a:xfrm>
        <a:prstGeom prst="roundRect">
          <a:avLst>
            <a:gd name="adj" fmla="val 10000"/>
          </a:avLst>
        </a:prstGeom>
        <a:solidFill>
          <a:schemeClr val="bg1">
            <a:lumMod val="95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248A2A20-B206-4A66-AA6B-9602B45092C7}">
      <dsp:nvSpPr>
        <dsp:cNvPr id="0" name=""/>
        <dsp:cNvSpPr/>
      </dsp:nvSpPr>
      <dsp:spPr>
        <a:xfrm>
          <a:off x="280873" y="2532011"/>
          <a:ext cx="510678" cy="510678"/>
        </a:xfrm>
        <a:prstGeom prst="rect">
          <a:avLst/>
        </a:prstGeom>
        <a:blipFill>
          <a:blip xmlns:r="http://schemas.openxmlformats.org/officeDocument/2006/relationships"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a:blip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66822091-FB75-4181-BEF2-36E63CC3FD61}">
      <dsp:nvSpPr>
        <dsp:cNvPr id="0" name=""/>
        <dsp:cNvSpPr/>
      </dsp:nvSpPr>
      <dsp:spPr>
        <a:xfrm>
          <a:off x="1072424" y="2323097"/>
          <a:ext cx="3812778" cy="92850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8267" tIns="98267" rIns="98267" bIns="98267" numCol="1" spcCol="1270" anchor="ctr" anchorCtr="0">
          <a:noAutofit/>
        </a:bodyPr>
        <a:lstStyle/>
        <a:p>
          <a:pPr marL="0" lvl="0" indent="0" algn="l" defTabSz="800100">
            <a:lnSpc>
              <a:spcPct val="100000"/>
            </a:lnSpc>
            <a:spcBef>
              <a:spcPct val="0"/>
            </a:spcBef>
            <a:spcAft>
              <a:spcPct val="35000"/>
            </a:spcAft>
            <a:buNone/>
          </a:pPr>
          <a:r>
            <a:rPr lang="en-US" sz="1800" kern="1200"/>
            <a:t>The Art and Science of Model-Driven App Design</a:t>
          </a:r>
        </a:p>
      </dsp:txBody>
      <dsp:txXfrm>
        <a:off x="1072424" y="2323097"/>
        <a:ext cx="3812778" cy="928506"/>
      </dsp:txXfrm>
    </dsp:sp>
    <dsp:sp modelId="{5C5809D2-A7E1-4B96-A234-3B257ADF6E0B}">
      <dsp:nvSpPr>
        <dsp:cNvPr id="0" name=""/>
        <dsp:cNvSpPr/>
      </dsp:nvSpPr>
      <dsp:spPr>
        <a:xfrm>
          <a:off x="0" y="3483730"/>
          <a:ext cx="4885203" cy="928506"/>
        </a:xfrm>
        <a:prstGeom prst="roundRect">
          <a:avLst>
            <a:gd name="adj" fmla="val 10000"/>
          </a:avLst>
        </a:prstGeom>
        <a:solidFill>
          <a:schemeClr val="bg1">
            <a:lumMod val="95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2FBAF856-B8B6-4888-8C5A-BDF528F94FDD}">
      <dsp:nvSpPr>
        <dsp:cNvPr id="0" name=""/>
        <dsp:cNvSpPr/>
      </dsp:nvSpPr>
      <dsp:spPr>
        <a:xfrm>
          <a:off x="280873" y="3692644"/>
          <a:ext cx="510678" cy="510678"/>
        </a:xfrm>
        <a:prstGeom prst="rect">
          <a:avLst/>
        </a:prstGeom>
        <a:blipFill>
          <a:blip xmlns:r="http://schemas.openxmlformats.org/officeDocument/2006/relationships"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a:blip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8BF34DAF-F38D-4A14-9B84-9BF92B53B042}">
      <dsp:nvSpPr>
        <dsp:cNvPr id="0" name=""/>
        <dsp:cNvSpPr/>
      </dsp:nvSpPr>
      <dsp:spPr>
        <a:xfrm>
          <a:off x="1072424" y="3483730"/>
          <a:ext cx="3812778" cy="92850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8267" tIns="98267" rIns="98267" bIns="98267" numCol="1" spcCol="1270" anchor="ctr" anchorCtr="0">
          <a:noAutofit/>
        </a:bodyPr>
        <a:lstStyle/>
        <a:p>
          <a:pPr marL="0" lvl="0" indent="0" algn="l" defTabSz="800100">
            <a:lnSpc>
              <a:spcPct val="100000"/>
            </a:lnSpc>
            <a:spcBef>
              <a:spcPct val="0"/>
            </a:spcBef>
            <a:spcAft>
              <a:spcPct val="35000"/>
            </a:spcAft>
            <a:buNone/>
          </a:pPr>
          <a:r>
            <a:rPr lang="en-US" sz="1800" kern="1200" dirty="0"/>
            <a:t>50% off through the end of April</a:t>
          </a:r>
          <a:br>
            <a:rPr lang="en-US" sz="1800" kern="1200" dirty="0"/>
          </a:br>
          <a:r>
            <a:rPr lang="en-US" sz="1800" kern="1200" dirty="0"/>
            <a:t>use code: </a:t>
          </a:r>
          <a:r>
            <a:rPr lang="en-US" sz="1800" b="1" u="sng" kern="1200" dirty="0" err="1"/>
            <a:t>inthistogether</a:t>
          </a:r>
          <a:r>
            <a:rPr lang="en-US" sz="1800" b="0" u="none" kern="1200" dirty="0"/>
            <a:t> at checkout</a:t>
          </a:r>
          <a:endParaRPr lang="en-US" sz="1800" kern="1200" dirty="0"/>
        </a:p>
      </dsp:txBody>
      <dsp:txXfrm>
        <a:off x="1072424" y="3483730"/>
        <a:ext cx="3812778" cy="928506"/>
      </dsp:txXfrm>
    </dsp:sp>
  </dsp:spTree>
</dsp:drawing>
</file>

<file path=ppt/diagrams/drawing2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0FA518F-EBB1-40EE-B961-6A64F30C2465}">
      <dsp:nvSpPr>
        <dsp:cNvPr id="0" name=""/>
        <dsp:cNvSpPr/>
      </dsp:nvSpPr>
      <dsp:spPr>
        <a:xfrm>
          <a:off x="0" y="717286"/>
          <a:ext cx="4885203" cy="1324220"/>
        </a:xfrm>
        <a:prstGeom prst="roundRect">
          <a:avLst>
            <a:gd name="adj" fmla="val 10000"/>
          </a:avLst>
        </a:prstGeom>
        <a:solidFill>
          <a:schemeClr val="bg1">
            <a:lumMod val="95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E3BB9A99-2697-4905-93E1-08C49880AC70}">
      <dsp:nvSpPr>
        <dsp:cNvPr id="0" name=""/>
        <dsp:cNvSpPr/>
      </dsp:nvSpPr>
      <dsp:spPr>
        <a:xfrm>
          <a:off x="400576" y="1015235"/>
          <a:ext cx="728321" cy="728321"/>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F66FF453-A398-4C08-B1E6-CC65C531CE19}">
      <dsp:nvSpPr>
        <dsp:cNvPr id="0" name=""/>
        <dsp:cNvSpPr/>
      </dsp:nvSpPr>
      <dsp:spPr>
        <a:xfrm>
          <a:off x="1529474" y="717286"/>
          <a:ext cx="3355728" cy="132422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0147" tIns="140147" rIns="140147" bIns="140147" numCol="1" spcCol="1270" anchor="ctr" anchorCtr="0">
          <a:noAutofit/>
        </a:bodyPr>
        <a:lstStyle/>
        <a:p>
          <a:pPr marL="0" lvl="0" indent="0" algn="l" defTabSz="977900">
            <a:lnSpc>
              <a:spcPct val="100000"/>
            </a:lnSpc>
            <a:spcBef>
              <a:spcPct val="0"/>
            </a:spcBef>
            <a:spcAft>
              <a:spcPct val="35000"/>
            </a:spcAft>
            <a:buNone/>
          </a:pPr>
          <a:r>
            <a:rPr lang="en-US" sz="2200" kern="1200" dirty="0"/>
            <a:t>Sign up for a Dynamics 365 Online Trial</a:t>
          </a:r>
        </a:p>
      </dsp:txBody>
      <dsp:txXfrm>
        <a:off x="1529474" y="717286"/>
        <a:ext cx="3355728" cy="1324220"/>
      </dsp:txXfrm>
    </dsp:sp>
    <dsp:sp modelId="{D89FA2CA-C4DD-4CCC-A35B-1470392D0A88}">
      <dsp:nvSpPr>
        <dsp:cNvPr id="0" name=""/>
        <dsp:cNvSpPr/>
      </dsp:nvSpPr>
      <dsp:spPr>
        <a:xfrm>
          <a:off x="0" y="2372562"/>
          <a:ext cx="4885203" cy="1324220"/>
        </a:xfrm>
        <a:prstGeom prst="roundRect">
          <a:avLst>
            <a:gd name="adj" fmla="val 10000"/>
          </a:avLst>
        </a:prstGeom>
        <a:solidFill>
          <a:schemeClr val="bg1">
            <a:lumMod val="95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86AB1E3B-5B33-46CD-8D65-95B45F66BD7E}">
      <dsp:nvSpPr>
        <dsp:cNvPr id="0" name=""/>
        <dsp:cNvSpPr/>
      </dsp:nvSpPr>
      <dsp:spPr>
        <a:xfrm>
          <a:off x="400576" y="2670511"/>
          <a:ext cx="728321" cy="728321"/>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6EF36A76-D1A2-4C21-AAB4-910BE327880D}">
      <dsp:nvSpPr>
        <dsp:cNvPr id="0" name=""/>
        <dsp:cNvSpPr/>
      </dsp:nvSpPr>
      <dsp:spPr>
        <a:xfrm>
          <a:off x="1529474" y="2372562"/>
          <a:ext cx="3355728" cy="132422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0147" tIns="140147" rIns="140147" bIns="140147" numCol="1" spcCol="1270" anchor="ctr" anchorCtr="0">
          <a:noAutofit/>
        </a:bodyPr>
        <a:lstStyle/>
        <a:p>
          <a:pPr marL="0" lvl="0" indent="0" algn="l" defTabSz="977900">
            <a:lnSpc>
              <a:spcPct val="100000"/>
            </a:lnSpc>
            <a:spcBef>
              <a:spcPct val="0"/>
            </a:spcBef>
            <a:spcAft>
              <a:spcPct val="35000"/>
            </a:spcAft>
            <a:buNone/>
          </a:pPr>
          <a:r>
            <a:rPr lang="en-US" sz="2200" kern="1200" dirty="0"/>
            <a:t>Use a sandbox environment (if you have one)</a:t>
          </a:r>
        </a:p>
      </dsp:txBody>
      <dsp:txXfrm>
        <a:off x="1529474" y="2372562"/>
        <a:ext cx="3355728" cy="1324220"/>
      </dsp:txXfrm>
    </dsp:sp>
  </dsp:spTree>
</dsp:drawing>
</file>

<file path=ppt/diagrams/drawing2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0F762C5-28FF-4CB7-A855-9A1FF608183F}">
      <dsp:nvSpPr>
        <dsp:cNvPr id="0" name=""/>
        <dsp:cNvSpPr/>
      </dsp:nvSpPr>
      <dsp:spPr>
        <a:xfrm>
          <a:off x="0" y="1832"/>
          <a:ext cx="4885203" cy="928506"/>
        </a:xfrm>
        <a:prstGeom prst="roundRect">
          <a:avLst>
            <a:gd name="adj" fmla="val 10000"/>
          </a:avLst>
        </a:prstGeom>
        <a:solidFill>
          <a:schemeClr val="bg1">
            <a:lumMod val="95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A5823709-919D-4FA2-A5A2-428B8C39A4A2}">
      <dsp:nvSpPr>
        <dsp:cNvPr id="0" name=""/>
        <dsp:cNvSpPr/>
      </dsp:nvSpPr>
      <dsp:spPr>
        <a:xfrm>
          <a:off x="280873" y="210745"/>
          <a:ext cx="510678" cy="510678"/>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F2CE1EC9-ADAC-491B-B95C-7458B1E94B58}">
      <dsp:nvSpPr>
        <dsp:cNvPr id="0" name=""/>
        <dsp:cNvSpPr/>
      </dsp:nvSpPr>
      <dsp:spPr>
        <a:xfrm>
          <a:off x="1072424" y="1832"/>
          <a:ext cx="3812778" cy="92850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8267" tIns="98267" rIns="98267" bIns="98267" numCol="1" spcCol="1270" anchor="ctr" anchorCtr="0">
          <a:noAutofit/>
        </a:bodyPr>
        <a:lstStyle/>
        <a:p>
          <a:pPr marL="0" lvl="0" indent="0" algn="l" defTabSz="977900">
            <a:lnSpc>
              <a:spcPct val="90000"/>
            </a:lnSpc>
            <a:spcBef>
              <a:spcPct val="0"/>
            </a:spcBef>
            <a:spcAft>
              <a:spcPct val="35000"/>
            </a:spcAft>
            <a:buNone/>
          </a:pPr>
          <a:r>
            <a:rPr lang="en-US" sz="2200" kern="1200"/>
            <a:t>Exhaust all possible options</a:t>
          </a:r>
        </a:p>
      </dsp:txBody>
      <dsp:txXfrm>
        <a:off x="1072424" y="1832"/>
        <a:ext cx="3812778" cy="928506"/>
      </dsp:txXfrm>
    </dsp:sp>
    <dsp:sp modelId="{07F232F6-4B48-444C-9733-46660F0706E5}">
      <dsp:nvSpPr>
        <dsp:cNvPr id="0" name=""/>
        <dsp:cNvSpPr/>
      </dsp:nvSpPr>
      <dsp:spPr>
        <a:xfrm>
          <a:off x="0" y="1162464"/>
          <a:ext cx="4885203" cy="928506"/>
        </a:xfrm>
        <a:prstGeom prst="roundRect">
          <a:avLst>
            <a:gd name="adj" fmla="val 10000"/>
          </a:avLst>
        </a:prstGeom>
        <a:solidFill>
          <a:schemeClr val="bg1">
            <a:lumMod val="95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399812FE-06D3-4CDF-8C5C-A004C15FC2F5}">
      <dsp:nvSpPr>
        <dsp:cNvPr id="0" name=""/>
        <dsp:cNvSpPr/>
      </dsp:nvSpPr>
      <dsp:spPr>
        <a:xfrm>
          <a:off x="280873" y="1371378"/>
          <a:ext cx="510678" cy="510678"/>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AD9E0259-76E0-4CA7-A446-94FB122E8CEB}">
      <dsp:nvSpPr>
        <dsp:cNvPr id="0" name=""/>
        <dsp:cNvSpPr/>
      </dsp:nvSpPr>
      <dsp:spPr>
        <a:xfrm>
          <a:off x="1072424" y="1162464"/>
          <a:ext cx="3812778" cy="92850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8267" tIns="98267" rIns="98267" bIns="98267" numCol="1" spcCol="1270" anchor="ctr" anchorCtr="0">
          <a:noAutofit/>
        </a:bodyPr>
        <a:lstStyle/>
        <a:p>
          <a:pPr marL="0" lvl="0" indent="0" algn="l" defTabSz="977900">
            <a:lnSpc>
              <a:spcPct val="90000"/>
            </a:lnSpc>
            <a:spcBef>
              <a:spcPct val="0"/>
            </a:spcBef>
            <a:spcAft>
              <a:spcPct val="35000"/>
            </a:spcAft>
            <a:buNone/>
          </a:pPr>
          <a:r>
            <a:rPr lang="en-US" sz="2200" kern="1200"/>
            <a:t>Ask nicely</a:t>
          </a:r>
        </a:p>
      </dsp:txBody>
      <dsp:txXfrm>
        <a:off x="1072424" y="1162464"/>
        <a:ext cx="3812778" cy="928506"/>
      </dsp:txXfrm>
    </dsp:sp>
    <dsp:sp modelId="{82EB7F8A-CDD4-4103-8C08-7D0305823772}">
      <dsp:nvSpPr>
        <dsp:cNvPr id="0" name=""/>
        <dsp:cNvSpPr/>
      </dsp:nvSpPr>
      <dsp:spPr>
        <a:xfrm>
          <a:off x="0" y="2323097"/>
          <a:ext cx="4885203" cy="928506"/>
        </a:xfrm>
        <a:prstGeom prst="roundRect">
          <a:avLst>
            <a:gd name="adj" fmla="val 10000"/>
          </a:avLst>
        </a:prstGeom>
        <a:solidFill>
          <a:schemeClr val="bg1">
            <a:lumMod val="95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F956917A-DD79-4903-BF0F-B5FFA1D87EC0}">
      <dsp:nvSpPr>
        <dsp:cNvPr id="0" name=""/>
        <dsp:cNvSpPr/>
      </dsp:nvSpPr>
      <dsp:spPr>
        <a:xfrm>
          <a:off x="280873" y="2532011"/>
          <a:ext cx="510678" cy="510678"/>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34AECDE4-7341-4F78-9B1F-737C9828DC0D}">
      <dsp:nvSpPr>
        <dsp:cNvPr id="0" name=""/>
        <dsp:cNvSpPr/>
      </dsp:nvSpPr>
      <dsp:spPr>
        <a:xfrm>
          <a:off x="1072424" y="2323097"/>
          <a:ext cx="3812778" cy="92850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8267" tIns="98267" rIns="98267" bIns="98267" numCol="1" spcCol="1270" anchor="ctr" anchorCtr="0">
          <a:noAutofit/>
        </a:bodyPr>
        <a:lstStyle/>
        <a:p>
          <a:pPr marL="0" lvl="0" indent="0" algn="l" defTabSz="977900">
            <a:lnSpc>
              <a:spcPct val="90000"/>
            </a:lnSpc>
            <a:spcBef>
              <a:spcPct val="0"/>
            </a:spcBef>
            <a:spcAft>
              <a:spcPct val="35000"/>
            </a:spcAft>
            <a:buNone/>
          </a:pPr>
          <a:r>
            <a:rPr lang="en-US" sz="2200" kern="1200"/>
            <a:t>Don’t be offended if people don’t return your query</a:t>
          </a:r>
        </a:p>
      </dsp:txBody>
      <dsp:txXfrm>
        <a:off x="1072424" y="2323097"/>
        <a:ext cx="3812778" cy="928506"/>
      </dsp:txXfrm>
    </dsp:sp>
    <dsp:sp modelId="{9F5010E4-D8B4-4A7F-82DA-93462DF3B8C2}">
      <dsp:nvSpPr>
        <dsp:cNvPr id="0" name=""/>
        <dsp:cNvSpPr/>
      </dsp:nvSpPr>
      <dsp:spPr>
        <a:xfrm>
          <a:off x="0" y="3483730"/>
          <a:ext cx="4885203" cy="928506"/>
        </a:xfrm>
        <a:prstGeom prst="roundRect">
          <a:avLst>
            <a:gd name="adj" fmla="val 10000"/>
          </a:avLst>
        </a:prstGeom>
        <a:solidFill>
          <a:schemeClr val="bg1">
            <a:lumMod val="95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03C2C4FF-83E6-49A9-A11D-A106030A82E3}">
      <dsp:nvSpPr>
        <dsp:cNvPr id="0" name=""/>
        <dsp:cNvSpPr/>
      </dsp:nvSpPr>
      <dsp:spPr>
        <a:xfrm>
          <a:off x="280873" y="3692644"/>
          <a:ext cx="510678" cy="510678"/>
        </a:xfrm>
        <a:prstGeom prst="rect">
          <a:avLst/>
        </a:prstGeom>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8A1DA6B9-0245-4F25-B026-A14FC495A7DE}">
      <dsp:nvSpPr>
        <dsp:cNvPr id="0" name=""/>
        <dsp:cNvSpPr/>
      </dsp:nvSpPr>
      <dsp:spPr>
        <a:xfrm>
          <a:off x="1072424" y="3483730"/>
          <a:ext cx="3812778" cy="92850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8267" tIns="98267" rIns="98267" bIns="98267" numCol="1" spcCol="1270" anchor="ctr" anchorCtr="0">
          <a:noAutofit/>
        </a:bodyPr>
        <a:lstStyle/>
        <a:p>
          <a:pPr marL="0" lvl="0" indent="0" algn="l" defTabSz="977900">
            <a:lnSpc>
              <a:spcPct val="90000"/>
            </a:lnSpc>
            <a:spcBef>
              <a:spcPct val="0"/>
            </a:spcBef>
            <a:spcAft>
              <a:spcPct val="35000"/>
            </a:spcAft>
            <a:buNone/>
          </a:pPr>
          <a:r>
            <a:rPr lang="en-US" sz="2200" kern="1200"/>
            <a:t>Don’t ask them to do an entire project for you, for free</a:t>
          </a:r>
        </a:p>
      </dsp:txBody>
      <dsp:txXfrm>
        <a:off x="1072424" y="3483730"/>
        <a:ext cx="3812778" cy="928506"/>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98AE233-F7E7-47EE-9AC4-96C6842B3E00}">
      <dsp:nvSpPr>
        <dsp:cNvPr id="0" name=""/>
        <dsp:cNvSpPr/>
      </dsp:nvSpPr>
      <dsp:spPr>
        <a:xfrm>
          <a:off x="2243924" y="541396"/>
          <a:ext cx="419469" cy="91440"/>
        </a:xfrm>
        <a:custGeom>
          <a:avLst/>
          <a:gdLst/>
          <a:ahLst/>
          <a:cxnLst/>
          <a:rect l="0" t="0" r="0" b="0"/>
          <a:pathLst>
            <a:path>
              <a:moveTo>
                <a:pt x="0" y="45720"/>
              </a:moveTo>
              <a:lnTo>
                <a:pt x="419469" y="45720"/>
              </a:lnTo>
            </a:path>
          </a:pathLst>
        </a:custGeom>
        <a:noFill/>
        <a:ln w="9525" cap="flat" cmpd="sng" algn="ctr">
          <a:solidFill>
            <a:schemeClr val="dk2">
              <a:hueOff val="0"/>
              <a:satOff val="0"/>
              <a:lumOff val="0"/>
              <a:alphaOff val="0"/>
            </a:schemeClr>
          </a:solidFill>
          <a:prstDash val="solid"/>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a:off x="2442407" y="584865"/>
        <a:ext cx="22503" cy="4500"/>
      </dsp:txXfrm>
    </dsp:sp>
    <dsp:sp modelId="{9BB4C3DC-74C1-4CF6-A45C-E71C7533702E}">
      <dsp:nvSpPr>
        <dsp:cNvPr id="0" name=""/>
        <dsp:cNvSpPr/>
      </dsp:nvSpPr>
      <dsp:spPr>
        <a:xfrm>
          <a:off x="288902" y="69"/>
          <a:ext cx="1956822" cy="1174093"/>
        </a:xfrm>
        <a:prstGeom prst="rect">
          <a:avLst/>
        </a:prstGeom>
        <a:solidFill>
          <a:schemeClr val="dk2">
            <a:hueOff val="0"/>
            <a:satOff val="0"/>
            <a:lumOff val="0"/>
            <a:alphaOff val="0"/>
          </a:schemeClr>
        </a:solid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886" tIns="100649" rIns="95886" bIns="100649" numCol="1" spcCol="1270" anchor="ctr" anchorCtr="0">
          <a:noAutofit/>
        </a:bodyPr>
        <a:lstStyle/>
        <a:p>
          <a:pPr marL="0" lvl="0" indent="0" algn="ctr" defTabSz="1066800">
            <a:lnSpc>
              <a:spcPct val="90000"/>
            </a:lnSpc>
            <a:spcBef>
              <a:spcPct val="0"/>
            </a:spcBef>
            <a:spcAft>
              <a:spcPct val="35000"/>
            </a:spcAft>
            <a:buNone/>
          </a:pPr>
          <a:r>
            <a:rPr lang="en-US" sz="2400" kern="1200" dirty="0"/>
            <a:t>End User</a:t>
          </a:r>
        </a:p>
      </dsp:txBody>
      <dsp:txXfrm>
        <a:off x="288902" y="69"/>
        <a:ext cx="1956822" cy="1174093"/>
      </dsp:txXfrm>
    </dsp:sp>
    <dsp:sp modelId="{395B291F-6E70-4EEE-BA80-35C09845D1F5}">
      <dsp:nvSpPr>
        <dsp:cNvPr id="0" name=""/>
        <dsp:cNvSpPr/>
      </dsp:nvSpPr>
      <dsp:spPr>
        <a:xfrm>
          <a:off x="1267313" y="1172362"/>
          <a:ext cx="2406891" cy="419469"/>
        </a:xfrm>
        <a:custGeom>
          <a:avLst/>
          <a:gdLst/>
          <a:ahLst/>
          <a:cxnLst/>
          <a:rect l="0" t="0" r="0" b="0"/>
          <a:pathLst>
            <a:path>
              <a:moveTo>
                <a:pt x="2406891" y="0"/>
              </a:moveTo>
              <a:lnTo>
                <a:pt x="2406891" y="226834"/>
              </a:lnTo>
              <a:lnTo>
                <a:pt x="0" y="226834"/>
              </a:lnTo>
              <a:lnTo>
                <a:pt x="0" y="419469"/>
              </a:lnTo>
            </a:path>
          </a:pathLst>
        </a:custGeom>
        <a:noFill/>
        <a:ln w="9525" cap="flat" cmpd="sng" algn="ctr">
          <a:solidFill>
            <a:schemeClr val="dk2">
              <a:hueOff val="0"/>
              <a:satOff val="0"/>
              <a:lumOff val="0"/>
              <a:alphaOff val="0"/>
            </a:schemeClr>
          </a:solidFill>
          <a:prstDash val="solid"/>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a:off x="2409544" y="1379846"/>
        <a:ext cx="122430" cy="4500"/>
      </dsp:txXfrm>
    </dsp:sp>
    <dsp:sp modelId="{47A968EE-7EB2-4BCC-A7EB-E4689DD0F836}">
      <dsp:nvSpPr>
        <dsp:cNvPr id="0" name=""/>
        <dsp:cNvSpPr/>
      </dsp:nvSpPr>
      <dsp:spPr>
        <a:xfrm>
          <a:off x="2695794" y="69"/>
          <a:ext cx="1956822" cy="1174093"/>
        </a:xfrm>
        <a:prstGeom prst="rect">
          <a:avLst/>
        </a:prstGeom>
        <a:solidFill>
          <a:schemeClr val="dk2">
            <a:hueOff val="0"/>
            <a:satOff val="0"/>
            <a:lumOff val="0"/>
            <a:alphaOff val="0"/>
          </a:schemeClr>
        </a:solid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886" tIns="100649" rIns="95886" bIns="100649" numCol="1" spcCol="1270" anchor="ctr" anchorCtr="0">
          <a:noAutofit/>
        </a:bodyPr>
        <a:lstStyle/>
        <a:p>
          <a:pPr marL="0" lvl="0" indent="0" algn="ctr" defTabSz="1066800">
            <a:lnSpc>
              <a:spcPct val="90000"/>
            </a:lnSpc>
            <a:spcBef>
              <a:spcPct val="0"/>
            </a:spcBef>
            <a:spcAft>
              <a:spcPct val="35000"/>
            </a:spcAft>
            <a:buNone/>
          </a:pPr>
          <a:r>
            <a:rPr lang="en-US" sz="2400" kern="1200" dirty="0"/>
            <a:t>Power User</a:t>
          </a:r>
        </a:p>
      </dsp:txBody>
      <dsp:txXfrm>
        <a:off x="2695794" y="69"/>
        <a:ext cx="1956822" cy="1174093"/>
      </dsp:txXfrm>
    </dsp:sp>
    <dsp:sp modelId="{6D1DAA72-13B8-4867-A6C1-762E4E2A7DB6}">
      <dsp:nvSpPr>
        <dsp:cNvPr id="0" name=""/>
        <dsp:cNvSpPr/>
      </dsp:nvSpPr>
      <dsp:spPr>
        <a:xfrm>
          <a:off x="2243924" y="2165558"/>
          <a:ext cx="419469" cy="91440"/>
        </a:xfrm>
        <a:custGeom>
          <a:avLst/>
          <a:gdLst/>
          <a:ahLst/>
          <a:cxnLst/>
          <a:rect l="0" t="0" r="0" b="0"/>
          <a:pathLst>
            <a:path>
              <a:moveTo>
                <a:pt x="0" y="45720"/>
              </a:moveTo>
              <a:lnTo>
                <a:pt x="419469" y="45720"/>
              </a:lnTo>
            </a:path>
          </a:pathLst>
        </a:custGeom>
        <a:noFill/>
        <a:ln w="9525" cap="flat" cmpd="sng" algn="ctr">
          <a:solidFill>
            <a:schemeClr val="dk2">
              <a:hueOff val="0"/>
              <a:satOff val="0"/>
              <a:lumOff val="0"/>
              <a:alphaOff val="0"/>
            </a:schemeClr>
          </a:solidFill>
          <a:prstDash val="solid"/>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a:off x="2442407" y="2209028"/>
        <a:ext cx="22503" cy="4500"/>
      </dsp:txXfrm>
    </dsp:sp>
    <dsp:sp modelId="{288417F4-A7BE-42D1-99D9-1D6E637660F8}">
      <dsp:nvSpPr>
        <dsp:cNvPr id="0" name=""/>
        <dsp:cNvSpPr/>
      </dsp:nvSpPr>
      <dsp:spPr>
        <a:xfrm>
          <a:off x="288902" y="1624231"/>
          <a:ext cx="1956822" cy="1174093"/>
        </a:xfrm>
        <a:prstGeom prst="rect">
          <a:avLst/>
        </a:prstGeom>
        <a:solidFill>
          <a:schemeClr val="dk2">
            <a:hueOff val="0"/>
            <a:satOff val="0"/>
            <a:lumOff val="0"/>
            <a:alphaOff val="0"/>
          </a:schemeClr>
        </a:solid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886" tIns="100649" rIns="95886" bIns="100649" numCol="1" spcCol="1270" anchor="ctr" anchorCtr="0">
          <a:noAutofit/>
        </a:bodyPr>
        <a:lstStyle/>
        <a:p>
          <a:pPr marL="0" lvl="0" indent="0" algn="ctr" defTabSz="1066800">
            <a:lnSpc>
              <a:spcPct val="90000"/>
            </a:lnSpc>
            <a:spcBef>
              <a:spcPct val="0"/>
            </a:spcBef>
            <a:spcAft>
              <a:spcPct val="35000"/>
            </a:spcAft>
            <a:buNone/>
          </a:pPr>
          <a:r>
            <a:rPr lang="en-US" sz="2400" kern="1200"/>
            <a:t>Administrator</a:t>
          </a:r>
        </a:p>
      </dsp:txBody>
      <dsp:txXfrm>
        <a:off x="288902" y="1624231"/>
        <a:ext cx="1956822" cy="1174093"/>
      </dsp:txXfrm>
    </dsp:sp>
    <dsp:sp modelId="{F6AC8BD8-A2CF-4F9D-81F6-1CF54B2FA2E2}">
      <dsp:nvSpPr>
        <dsp:cNvPr id="0" name=""/>
        <dsp:cNvSpPr/>
      </dsp:nvSpPr>
      <dsp:spPr>
        <a:xfrm>
          <a:off x="1267313" y="2796525"/>
          <a:ext cx="2406891" cy="419469"/>
        </a:xfrm>
        <a:custGeom>
          <a:avLst/>
          <a:gdLst/>
          <a:ahLst/>
          <a:cxnLst/>
          <a:rect l="0" t="0" r="0" b="0"/>
          <a:pathLst>
            <a:path>
              <a:moveTo>
                <a:pt x="2406891" y="0"/>
              </a:moveTo>
              <a:lnTo>
                <a:pt x="2406891" y="226834"/>
              </a:lnTo>
              <a:lnTo>
                <a:pt x="0" y="226834"/>
              </a:lnTo>
              <a:lnTo>
                <a:pt x="0" y="419469"/>
              </a:lnTo>
            </a:path>
          </a:pathLst>
        </a:custGeom>
        <a:noFill/>
        <a:ln w="9525" cap="flat" cmpd="sng" algn="ctr">
          <a:solidFill>
            <a:schemeClr val="dk2">
              <a:hueOff val="0"/>
              <a:satOff val="0"/>
              <a:lumOff val="0"/>
              <a:alphaOff val="0"/>
            </a:schemeClr>
          </a:solidFill>
          <a:prstDash val="solid"/>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a:off x="2409544" y="3004009"/>
        <a:ext cx="122430" cy="4500"/>
      </dsp:txXfrm>
    </dsp:sp>
    <dsp:sp modelId="{CEDC96FC-1994-4105-85A2-D9E490895DB9}">
      <dsp:nvSpPr>
        <dsp:cNvPr id="0" name=""/>
        <dsp:cNvSpPr/>
      </dsp:nvSpPr>
      <dsp:spPr>
        <a:xfrm>
          <a:off x="2695794" y="1624231"/>
          <a:ext cx="1956822" cy="1174093"/>
        </a:xfrm>
        <a:prstGeom prst="rect">
          <a:avLst/>
        </a:prstGeom>
        <a:solidFill>
          <a:schemeClr val="dk2">
            <a:hueOff val="0"/>
            <a:satOff val="0"/>
            <a:lumOff val="0"/>
            <a:alphaOff val="0"/>
          </a:schemeClr>
        </a:solid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886" tIns="100649" rIns="95886" bIns="100649" numCol="1" spcCol="1270" anchor="ctr" anchorCtr="0">
          <a:noAutofit/>
        </a:bodyPr>
        <a:lstStyle/>
        <a:p>
          <a:pPr marL="0" lvl="0" indent="0" algn="ctr" defTabSz="1066800">
            <a:lnSpc>
              <a:spcPct val="90000"/>
            </a:lnSpc>
            <a:spcBef>
              <a:spcPct val="0"/>
            </a:spcBef>
            <a:spcAft>
              <a:spcPct val="35000"/>
            </a:spcAft>
            <a:buNone/>
          </a:pPr>
          <a:r>
            <a:rPr lang="en-US" sz="2400" kern="1200"/>
            <a:t>Customizer</a:t>
          </a:r>
        </a:p>
      </dsp:txBody>
      <dsp:txXfrm>
        <a:off x="2695794" y="1624231"/>
        <a:ext cx="1956822" cy="1174093"/>
      </dsp:txXfrm>
    </dsp:sp>
    <dsp:sp modelId="{47CC6FD7-87A5-4047-95A5-6D3052F30A50}">
      <dsp:nvSpPr>
        <dsp:cNvPr id="0" name=""/>
        <dsp:cNvSpPr/>
      </dsp:nvSpPr>
      <dsp:spPr>
        <a:xfrm>
          <a:off x="2243924" y="3789720"/>
          <a:ext cx="419469" cy="91440"/>
        </a:xfrm>
        <a:custGeom>
          <a:avLst/>
          <a:gdLst/>
          <a:ahLst/>
          <a:cxnLst/>
          <a:rect l="0" t="0" r="0" b="0"/>
          <a:pathLst>
            <a:path>
              <a:moveTo>
                <a:pt x="0" y="45720"/>
              </a:moveTo>
              <a:lnTo>
                <a:pt x="419469" y="45720"/>
              </a:lnTo>
            </a:path>
          </a:pathLst>
        </a:custGeom>
        <a:noFill/>
        <a:ln w="9525" cap="flat" cmpd="sng" algn="ctr">
          <a:solidFill>
            <a:schemeClr val="dk2">
              <a:hueOff val="0"/>
              <a:satOff val="0"/>
              <a:lumOff val="0"/>
              <a:alphaOff val="0"/>
            </a:schemeClr>
          </a:solidFill>
          <a:prstDash val="solid"/>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a:off x="2442407" y="3833190"/>
        <a:ext cx="22503" cy="4500"/>
      </dsp:txXfrm>
    </dsp:sp>
    <dsp:sp modelId="{99199C0C-4E2A-4A5E-B065-477AD20587B8}">
      <dsp:nvSpPr>
        <dsp:cNvPr id="0" name=""/>
        <dsp:cNvSpPr/>
      </dsp:nvSpPr>
      <dsp:spPr>
        <a:xfrm>
          <a:off x="288902" y="3248394"/>
          <a:ext cx="1956822" cy="1174093"/>
        </a:xfrm>
        <a:prstGeom prst="rect">
          <a:avLst/>
        </a:prstGeom>
        <a:solidFill>
          <a:schemeClr val="dk2">
            <a:hueOff val="0"/>
            <a:satOff val="0"/>
            <a:lumOff val="0"/>
            <a:alphaOff val="0"/>
          </a:schemeClr>
        </a:solid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886" tIns="100649" rIns="95886" bIns="100649" numCol="1" spcCol="1270" anchor="ctr" anchorCtr="0">
          <a:noAutofit/>
        </a:bodyPr>
        <a:lstStyle/>
        <a:p>
          <a:pPr marL="0" lvl="0" indent="0" algn="ctr" defTabSz="1066800">
            <a:lnSpc>
              <a:spcPct val="90000"/>
            </a:lnSpc>
            <a:spcBef>
              <a:spcPct val="0"/>
            </a:spcBef>
            <a:spcAft>
              <a:spcPct val="35000"/>
            </a:spcAft>
            <a:buNone/>
          </a:pPr>
          <a:r>
            <a:rPr lang="en-US" sz="2400" kern="1200"/>
            <a:t>Developer</a:t>
          </a:r>
        </a:p>
      </dsp:txBody>
      <dsp:txXfrm>
        <a:off x="288902" y="3248394"/>
        <a:ext cx="1956822" cy="1174093"/>
      </dsp:txXfrm>
    </dsp:sp>
    <dsp:sp modelId="{402CCDBB-43DC-4C3E-AA27-46A96FDE55D4}">
      <dsp:nvSpPr>
        <dsp:cNvPr id="0" name=""/>
        <dsp:cNvSpPr/>
      </dsp:nvSpPr>
      <dsp:spPr>
        <a:xfrm>
          <a:off x="2695794" y="3248394"/>
          <a:ext cx="1956822" cy="1174093"/>
        </a:xfrm>
        <a:prstGeom prst="rect">
          <a:avLst/>
        </a:prstGeom>
        <a:solidFill>
          <a:schemeClr val="dk2">
            <a:hueOff val="0"/>
            <a:satOff val="0"/>
            <a:lumOff val="0"/>
            <a:alphaOff val="0"/>
          </a:schemeClr>
        </a:solid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886" tIns="100649" rIns="95886" bIns="100649" numCol="1" spcCol="1270" anchor="ctr" anchorCtr="0">
          <a:noAutofit/>
        </a:bodyPr>
        <a:lstStyle/>
        <a:p>
          <a:pPr marL="0" lvl="0" indent="0" algn="ctr" defTabSz="1066800">
            <a:lnSpc>
              <a:spcPct val="90000"/>
            </a:lnSpc>
            <a:spcBef>
              <a:spcPct val="0"/>
            </a:spcBef>
            <a:spcAft>
              <a:spcPct val="35000"/>
            </a:spcAft>
            <a:buNone/>
          </a:pPr>
          <a:r>
            <a:rPr lang="en-US" sz="2400" kern="1200"/>
            <a:t>Architect</a:t>
          </a:r>
        </a:p>
      </dsp:txBody>
      <dsp:txXfrm>
        <a:off x="2695794" y="3248394"/>
        <a:ext cx="1956822" cy="1174093"/>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03B7EAA-2D9E-4E37-8E1F-ACD957BD76F0}">
      <dsp:nvSpPr>
        <dsp:cNvPr id="0" name=""/>
        <dsp:cNvSpPr/>
      </dsp:nvSpPr>
      <dsp:spPr>
        <a:xfrm>
          <a:off x="0" y="538"/>
          <a:ext cx="4885203" cy="1260854"/>
        </a:xfrm>
        <a:prstGeom prst="roundRect">
          <a:avLst>
            <a:gd name="adj" fmla="val 10000"/>
          </a:avLst>
        </a:prstGeom>
        <a:solidFill>
          <a:schemeClr val="bg1">
            <a:lumMod val="95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EE208CEF-75D5-4A31-B963-F969BCE1E811}">
      <dsp:nvSpPr>
        <dsp:cNvPr id="0" name=""/>
        <dsp:cNvSpPr/>
      </dsp:nvSpPr>
      <dsp:spPr>
        <a:xfrm>
          <a:off x="381408" y="284231"/>
          <a:ext cx="693470" cy="693470"/>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F866ECB6-D95C-49EF-B880-060600DB5618}">
      <dsp:nvSpPr>
        <dsp:cNvPr id="0" name=""/>
        <dsp:cNvSpPr/>
      </dsp:nvSpPr>
      <dsp:spPr>
        <a:xfrm>
          <a:off x="1456287" y="538"/>
          <a:ext cx="3428915" cy="126085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33440" tIns="133440" rIns="133440" bIns="133440" numCol="1" spcCol="1270" anchor="ctr" anchorCtr="0">
          <a:noAutofit/>
        </a:bodyPr>
        <a:lstStyle/>
        <a:p>
          <a:pPr marL="0" lvl="0" indent="0" algn="l" defTabSz="1022350">
            <a:lnSpc>
              <a:spcPct val="100000"/>
            </a:lnSpc>
            <a:spcBef>
              <a:spcPct val="0"/>
            </a:spcBef>
            <a:spcAft>
              <a:spcPct val="35000"/>
            </a:spcAft>
            <a:buNone/>
          </a:pPr>
          <a:r>
            <a:rPr lang="en-US" sz="2300" kern="1200" dirty="0"/>
            <a:t>Know the product</a:t>
          </a:r>
        </a:p>
      </dsp:txBody>
      <dsp:txXfrm>
        <a:off x="1456287" y="538"/>
        <a:ext cx="3428915" cy="1260854"/>
      </dsp:txXfrm>
    </dsp:sp>
    <dsp:sp modelId="{7399DEF7-ACAB-4D61-829C-D49C0A0E14FB}">
      <dsp:nvSpPr>
        <dsp:cNvPr id="0" name=""/>
        <dsp:cNvSpPr/>
      </dsp:nvSpPr>
      <dsp:spPr>
        <a:xfrm>
          <a:off x="0" y="1576607"/>
          <a:ext cx="4885203" cy="1260854"/>
        </a:xfrm>
        <a:prstGeom prst="roundRect">
          <a:avLst>
            <a:gd name="adj" fmla="val 10000"/>
          </a:avLst>
        </a:prstGeom>
        <a:solidFill>
          <a:schemeClr val="bg1">
            <a:lumMod val="95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435DDFC5-3EE9-4232-89F1-FFEFCF0B4A6F}">
      <dsp:nvSpPr>
        <dsp:cNvPr id="0" name=""/>
        <dsp:cNvSpPr/>
      </dsp:nvSpPr>
      <dsp:spPr>
        <a:xfrm>
          <a:off x="381408" y="1860299"/>
          <a:ext cx="693470" cy="693470"/>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2AADD931-23AB-4C41-819D-B7B033075308}">
      <dsp:nvSpPr>
        <dsp:cNvPr id="0" name=""/>
        <dsp:cNvSpPr/>
      </dsp:nvSpPr>
      <dsp:spPr>
        <a:xfrm>
          <a:off x="1456287" y="1576607"/>
          <a:ext cx="3428915" cy="126085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33440" tIns="133440" rIns="133440" bIns="133440" numCol="1" spcCol="1270" anchor="ctr" anchorCtr="0">
          <a:noAutofit/>
        </a:bodyPr>
        <a:lstStyle/>
        <a:p>
          <a:pPr marL="0" lvl="0" indent="0" algn="l" defTabSz="1022350">
            <a:lnSpc>
              <a:spcPct val="100000"/>
            </a:lnSpc>
            <a:spcBef>
              <a:spcPct val="0"/>
            </a:spcBef>
            <a:spcAft>
              <a:spcPct val="35000"/>
            </a:spcAft>
            <a:buNone/>
          </a:pPr>
          <a:r>
            <a:rPr lang="en-US" sz="2300" kern="1200" dirty="0"/>
            <a:t>Know how to accomplish a task (your job)</a:t>
          </a:r>
        </a:p>
      </dsp:txBody>
      <dsp:txXfrm>
        <a:off x="1456287" y="1576607"/>
        <a:ext cx="3428915" cy="1260854"/>
      </dsp:txXfrm>
    </dsp:sp>
    <dsp:sp modelId="{1B140AEA-9C77-452D-A5F5-22240C465871}">
      <dsp:nvSpPr>
        <dsp:cNvPr id="0" name=""/>
        <dsp:cNvSpPr/>
      </dsp:nvSpPr>
      <dsp:spPr>
        <a:xfrm>
          <a:off x="0" y="3152675"/>
          <a:ext cx="4885203" cy="1260854"/>
        </a:xfrm>
        <a:prstGeom prst="roundRect">
          <a:avLst>
            <a:gd name="adj" fmla="val 10000"/>
          </a:avLst>
        </a:prstGeom>
        <a:solidFill>
          <a:schemeClr val="bg1">
            <a:lumMod val="95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C3CC151D-B8DB-4CD1-86B5-63251529F898}">
      <dsp:nvSpPr>
        <dsp:cNvPr id="0" name=""/>
        <dsp:cNvSpPr/>
      </dsp:nvSpPr>
      <dsp:spPr>
        <a:xfrm>
          <a:off x="381408" y="3436367"/>
          <a:ext cx="693470" cy="693470"/>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6D7F680C-B657-4D13-A3D8-32B7E7E3D0C6}">
      <dsp:nvSpPr>
        <dsp:cNvPr id="0" name=""/>
        <dsp:cNvSpPr/>
      </dsp:nvSpPr>
      <dsp:spPr>
        <a:xfrm>
          <a:off x="1456287" y="3152675"/>
          <a:ext cx="3428915" cy="126085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33440" tIns="133440" rIns="133440" bIns="133440" numCol="1" spcCol="1270" anchor="ctr" anchorCtr="0">
          <a:noAutofit/>
        </a:bodyPr>
        <a:lstStyle/>
        <a:p>
          <a:pPr marL="0" lvl="0" indent="0" algn="l" defTabSz="1022350">
            <a:lnSpc>
              <a:spcPct val="100000"/>
            </a:lnSpc>
            <a:spcBef>
              <a:spcPct val="0"/>
            </a:spcBef>
            <a:spcAft>
              <a:spcPct val="35000"/>
            </a:spcAft>
            <a:buNone/>
          </a:pPr>
          <a:r>
            <a:rPr lang="en-US" sz="2300" kern="1200" dirty="0"/>
            <a:t>Know how to accomplish other people’s tasks</a:t>
          </a:r>
        </a:p>
      </dsp:txBody>
      <dsp:txXfrm>
        <a:off x="1456287" y="3152675"/>
        <a:ext cx="3428915" cy="1260854"/>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C66B254-0967-469B-895E-5EFCBA6E4F4C}">
      <dsp:nvSpPr>
        <dsp:cNvPr id="0" name=""/>
        <dsp:cNvSpPr/>
      </dsp:nvSpPr>
      <dsp:spPr>
        <a:xfrm>
          <a:off x="0" y="3448"/>
          <a:ext cx="4885203" cy="734528"/>
        </a:xfrm>
        <a:prstGeom prst="roundRect">
          <a:avLst>
            <a:gd name="adj" fmla="val 10000"/>
          </a:avLst>
        </a:prstGeom>
        <a:solidFill>
          <a:schemeClr val="bg1">
            <a:lumMod val="95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0734F4C8-FA9E-4465-B1EB-315B848E16A3}">
      <dsp:nvSpPr>
        <dsp:cNvPr id="0" name=""/>
        <dsp:cNvSpPr/>
      </dsp:nvSpPr>
      <dsp:spPr>
        <a:xfrm>
          <a:off x="222194" y="168717"/>
          <a:ext cx="403990" cy="403990"/>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8D4734EE-7BAC-4772-A261-C66882597259}">
      <dsp:nvSpPr>
        <dsp:cNvPr id="0" name=""/>
        <dsp:cNvSpPr/>
      </dsp:nvSpPr>
      <dsp:spPr>
        <a:xfrm>
          <a:off x="848380" y="3448"/>
          <a:ext cx="4036822" cy="73452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7738" tIns="77738" rIns="77738" bIns="77738" numCol="1" spcCol="1270" anchor="ctr" anchorCtr="0">
          <a:noAutofit/>
        </a:bodyPr>
        <a:lstStyle/>
        <a:p>
          <a:pPr marL="0" lvl="0" indent="0" algn="l" defTabSz="800100">
            <a:lnSpc>
              <a:spcPct val="100000"/>
            </a:lnSpc>
            <a:spcBef>
              <a:spcPct val="0"/>
            </a:spcBef>
            <a:spcAft>
              <a:spcPct val="35000"/>
            </a:spcAft>
            <a:buNone/>
          </a:pPr>
          <a:r>
            <a:rPr lang="en-US" sz="1800" kern="1200"/>
            <a:t>Builds on the end-user skills</a:t>
          </a:r>
        </a:p>
      </dsp:txBody>
      <dsp:txXfrm>
        <a:off x="848380" y="3448"/>
        <a:ext cx="4036822" cy="734528"/>
      </dsp:txXfrm>
    </dsp:sp>
    <dsp:sp modelId="{32F6DC16-1B1B-4DDA-AB8A-55CCE37FD2E9}">
      <dsp:nvSpPr>
        <dsp:cNvPr id="0" name=""/>
        <dsp:cNvSpPr/>
      </dsp:nvSpPr>
      <dsp:spPr>
        <a:xfrm>
          <a:off x="0" y="921609"/>
          <a:ext cx="4885203" cy="734528"/>
        </a:xfrm>
        <a:prstGeom prst="roundRect">
          <a:avLst>
            <a:gd name="adj" fmla="val 10000"/>
          </a:avLst>
        </a:prstGeom>
        <a:solidFill>
          <a:schemeClr val="bg1">
            <a:lumMod val="95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3439B13C-0EBD-49C3-AAD2-AEC85093945B}">
      <dsp:nvSpPr>
        <dsp:cNvPr id="0" name=""/>
        <dsp:cNvSpPr/>
      </dsp:nvSpPr>
      <dsp:spPr>
        <a:xfrm>
          <a:off x="222194" y="1086878"/>
          <a:ext cx="403990" cy="403990"/>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D8334F7F-807E-4BCD-8707-343BE21133B1}">
      <dsp:nvSpPr>
        <dsp:cNvPr id="0" name=""/>
        <dsp:cNvSpPr/>
      </dsp:nvSpPr>
      <dsp:spPr>
        <a:xfrm>
          <a:off x="848380" y="921609"/>
          <a:ext cx="4036822" cy="73452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7738" tIns="77738" rIns="77738" bIns="77738" numCol="1" spcCol="1270" anchor="ctr" anchorCtr="0">
          <a:noAutofit/>
        </a:bodyPr>
        <a:lstStyle/>
        <a:p>
          <a:pPr marL="0" lvl="0" indent="0" algn="l" defTabSz="800100">
            <a:lnSpc>
              <a:spcPct val="100000"/>
            </a:lnSpc>
            <a:spcBef>
              <a:spcPct val="0"/>
            </a:spcBef>
            <a:spcAft>
              <a:spcPct val="35000"/>
            </a:spcAft>
            <a:buNone/>
          </a:pPr>
          <a:r>
            <a:rPr lang="en-US" sz="1800" kern="1200"/>
            <a:t>Knows and understands advanced features</a:t>
          </a:r>
        </a:p>
      </dsp:txBody>
      <dsp:txXfrm>
        <a:off x="848380" y="921609"/>
        <a:ext cx="4036822" cy="734528"/>
      </dsp:txXfrm>
    </dsp:sp>
    <dsp:sp modelId="{215A8E32-2B79-4F69-B4AB-935A53065F6B}">
      <dsp:nvSpPr>
        <dsp:cNvPr id="0" name=""/>
        <dsp:cNvSpPr/>
      </dsp:nvSpPr>
      <dsp:spPr>
        <a:xfrm>
          <a:off x="0" y="1839770"/>
          <a:ext cx="4885203" cy="734528"/>
        </a:xfrm>
        <a:prstGeom prst="roundRect">
          <a:avLst>
            <a:gd name="adj" fmla="val 10000"/>
          </a:avLst>
        </a:prstGeom>
        <a:solidFill>
          <a:schemeClr val="bg1">
            <a:lumMod val="95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51456B70-F583-4360-8822-20D27519A95E}">
      <dsp:nvSpPr>
        <dsp:cNvPr id="0" name=""/>
        <dsp:cNvSpPr/>
      </dsp:nvSpPr>
      <dsp:spPr>
        <a:xfrm>
          <a:off x="222194" y="2005039"/>
          <a:ext cx="403990" cy="403990"/>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B14E4011-ECE9-49FA-BC21-C3211BDE0944}">
      <dsp:nvSpPr>
        <dsp:cNvPr id="0" name=""/>
        <dsp:cNvSpPr/>
      </dsp:nvSpPr>
      <dsp:spPr>
        <a:xfrm>
          <a:off x="848380" y="1839770"/>
          <a:ext cx="4036822" cy="73452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7738" tIns="77738" rIns="77738" bIns="77738" numCol="1" spcCol="1270" anchor="ctr" anchorCtr="0">
          <a:noAutofit/>
        </a:bodyPr>
        <a:lstStyle/>
        <a:p>
          <a:pPr marL="0" lvl="0" indent="0" algn="l" defTabSz="800100">
            <a:lnSpc>
              <a:spcPct val="100000"/>
            </a:lnSpc>
            <a:spcBef>
              <a:spcPct val="0"/>
            </a:spcBef>
            <a:spcAft>
              <a:spcPct val="35000"/>
            </a:spcAft>
            <a:buNone/>
          </a:pPr>
          <a:r>
            <a:rPr lang="en-US" sz="1800" kern="1200"/>
            <a:t>Helps others</a:t>
          </a:r>
        </a:p>
      </dsp:txBody>
      <dsp:txXfrm>
        <a:off x="848380" y="1839770"/>
        <a:ext cx="4036822" cy="734528"/>
      </dsp:txXfrm>
    </dsp:sp>
    <dsp:sp modelId="{192DC5DB-6B46-40E0-AC30-C3C4F87867E7}">
      <dsp:nvSpPr>
        <dsp:cNvPr id="0" name=""/>
        <dsp:cNvSpPr/>
      </dsp:nvSpPr>
      <dsp:spPr>
        <a:xfrm>
          <a:off x="0" y="2757931"/>
          <a:ext cx="4885203" cy="734528"/>
        </a:xfrm>
        <a:prstGeom prst="roundRect">
          <a:avLst>
            <a:gd name="adj" fmla="val 10000"/>
          </a:avLst>
        </a:prstGeom>
        <a:solidFill>
          <a:schemeClr val="bg1">
            <a:lumMod val="95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62CC14E3-7A44-432F-A38A-680DAC5F3AF6}">
      <dsp:nvSpPr>
        <dsp:cNvPr id="0" name=""/>
        <dsp:cNvSpPr/>
      </dsp:nvSpPr>
      <dsp:spPr>
        <a:xfrm>
          <a:off x="222194" y="2923199"/>
          <a:ext cx="403990" cy="403990"/>
        </a:xfrm>
        <a:prstGeom prst="rect">
          <a:avLst/>
        </a:prstGeom>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7523455E-20EC-4E11-A940-43DCF903B3B5}">
      <dsp:nvSpPr>
        <dsp:cNvPr id="0" name=""/>
        <dsp:cNvSpPr/>
      </dsp:nvSpPr>
      <dsp:spPr>
        <a:xfrm>
          <a:off x="848380" y="2757931"/>
          <a:ext cx="4036822" cy="73452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7738" tIns="77738" rIns="77738" bIns="77738" numCol="1" spcCol="1270" anchor="ctr" anchorCtr="0">
          <a:noAutofit/>
        </a:bodyPr>
        <a:lstStyle/>
        <a:p>
          <a:pPr marL="0" lvl="0" indent="0" algn="l" defTabSz="800100">
            <a:lnSpc>
              <a:spcPct val="100000"/>
            </a:lnSpc>
            <a:spcBef>
              <a:spcPct val="0"/>
            </a:spcBef>
            <a:spcAft>
              <a:spcPct val="35000"/>
            </a:spcAft>
            <a:buNone/>
          </a:pPr>
          <a:r>
            <a:rPr lang="en-US" sz="1800" kern="1200"/>
            <a:t>Understands the business and it’s processes</a:t>
          </a:r>
        </a:p>
      </dsp:txBody>
      <dsp:txXfrm>
        <a:off x="848380" y="2757931"/>
        <a:ext cx="4036822" cy="734528"/>
      </dsp:txXfrm>
    </dsp:sp>
    <dsp:sp modelId="{CEECAC2C-E6B1-43A7-919E-8796FABB8700}">
      <dsp:nvSpPr>
        <dsp:cNvPr id="0" name=""/>
        <dsp:cNvSpPr/>
      </dsp:nvSpPr>
      <dsp:spPr>
        <a:xfrm>
          <a:off x="0" y="3676091"/>
          <a:ext cx="4885203" cy="734528"/>
        </a:xfrm>
        <a:prstGeom prst="roundRect">
          <a:avLst>
            <a:gd name="adj" fmla="val 10000"/>
          </a:avLst>
        </a:prstGeom>
        <a:solidFill>
          <a:schemeClr val="bg1">
            <a:lumMod val="95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C6B81338-102A-4814-BAC4-BE66F21BBBFE}">
      <dsp:nvSpPr>
        <dsp:cNvPr id="0" name=""/>
        <dsp:cNvSpPr/>
      </dsp:nvSpPr>
      <dsp:spPr>
        <a:xfrm>
          <a:off x="222194" y="3841360"/>
          <a:ext cx="403990" cy="403990"/>
        </a:xfrm>
        <a:prstGeom prst="rect">
          <a:avLst/>
        </a:prstGeom>
        <a:blipFill>
          <a:blip xmlns:r="http://schemas.openxmlformats.org/officeDocument/2006/relationships"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a:blip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B79015ED-2EB4-4B59-BECE-FD1D1DE36623}">
      <dsp:nvSpPr>
        <dsp:cNvPr id="0" name=""/>
        <dsp:cNvSpPr/>
      </dsp:nvSpPr>
      <dsp:spPr>
        <a:xfrm>
          <a:off x="848380" y="3676091"/>
          <a:ext cx="4036822" cy="73452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7738" tIns="77738" rIns="77738" bIns="77738" numCol="1" spcCol="1270" anchor="ctr" anchorCtr="0">
          <a:noAutofit/>
        </a:bodyPr>
        <a:lstStyle/>
        <a:p>
          <a:pPr marL="0" lvl="0" indent="0" algn="l" defTabSz="800100">
            <a:lnSpc>
              <a:spcPct val="100000"/>
            </a:lnSpc>
            <a:spcBef>
              <a:spcPct val="0"/>
            </a:spcBef>
            <a:spcAft>
              <a:spcPct val="35000"/>
            </a:spcAft>
            <a:buNone/>
          </a:pPr>
          <a:r>
            <a:rPr lang="en-US" sz="1800" kern="1200"/>
            <a:t>Can create automation (processes)</a:t>
          </a:r>
        </a:p>
      </dsp:txBody>
      <dsp:txXfrm>
        <a:off x="848380" y="3676091"/>
        <a:ext cx="4036822" cy="734528"/>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8502DB3-55B8-41DF-8F77-04F38680D9B6}">
      <dsp:nvSpPr>
        <dsp:cNvPr id="0" name=""/>
        <dsp:cNvSpPr/>
      </dsp:nvSpPr>
      <dsp:spPr>
        <a:xfrm>
          <a:off x="0" y="538"/>
          <a:ext cx="4885203" cy="1260854"/>
        </a:xfrm>
        <a:prstGeom prst="roundRect">
          <a:avLst>
            <a:gd name="adj" fmla="val 10000"/>
          </a:avLst>
        </a:prstGeom>
        <a:solidFill>
          <a:schemeClr val="bg1">
            <a:lumMod val="95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4F8472E0-8BCD-4F29-9606-289227B4B6FA}">
      <dsp:nvSpPr>
        <dsp:cNvPr id="0" name=""/>
        <dsp:cNvSpPr/>
      </dsp:nvSpPr>
      <dsp:spPr>
        <a:xfrm>
          <a:off x="381408" y="284231"/>
          <a:ext cx="693470" cy="693470"/>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8E215BA4-BBD2-4494-9CF1-88BB45B9480E}">
      <dsp:nvSpPr>
        <dsp:cNvPr id="0" name=""/>
        <dsp:cNvSpPr/>
      </dsp:nvSpPr>
      <dsp:spPr>
        <a:xfrm>
          <a:off x="1456287" y="538"/>
          <a:ext cx="3428915" cy="126085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33440" tIns="133440" rIns="133440" bIns="133440" numCol="1" spcCol="1270" anchor="ctr" anchorCtr="0">
          <a:noAutofit/>
        </a:bodyPr>
        <a:lstStyle/>
        <a:p>
          <a:pPr marL="0" lvl="0" indent="0" algn="l" defTabSz="1022350">
            <a:lnSpc>
              <a:spcPct val="90000"/>
            </a:lnSpc>
            <a:spcBef>
              <a:spcPct val="0"/>
            </a:spcBef>
            <a:spcAft>
              <a:spcPct val="35000"/>
            </a:spcAft>
            <a:buNone/>
          </a:pPr>
          <a:r>
            <a:rPr lang="en-US" sz="2300" kern="1200"/>
            <a:t>Builds on the power-user skills</a:t>
          </a:r>
        </a:p>
      </dsp:txBody>
      <dsp:txXfrm>
        <a:off x="1456287" y="538"/>
        <a:ext cx="3428915" cy="1260854"/>
      </dsp:txXfrm>
    </dsp:sp>
    <dsp:sp modelId="{1BF1460B-9DC1-41B7-828E-008031505679}">
      <dsp:nvSpPr>
        <dsp:cNvPr id="0" name=""/>
        <dsp:cNvSpPr/>
      </dsp:nvSpPr>
      <dsp:spPr>
        <a:xfrm>
          <a:off x="0" y="1576607"/>
          <a:ext cx="4885203" cy="1260854"/>
        </a:xfrm>
        <a:prstGeom prst="roundRect">
          <a:avLst>
            <a:gd name="adj" fmla="val 10000"/>
          </a:avLst>
        </a:prstGeom>
        <a:solidFill>
          <a:schemeClr val="bg1">
            <a:lumMod val="95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97D54578-6195-4B61-9D7C-646088AB2A0E}">
      <dsp:nvSpPr>
        <dsp:cNvPr id="0" name=""/>
        <dsp:cNvSpPr/>
      </dsp:nvSpPr>
      <dsp:spPr>
        <a:xfrm>
          <a:off x="381408" y="1860299"/>
          <a:ext cx="693470" cy="693470"/>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56A48A03-1F93-442F-A1B8-6D009BB1B278}">
      <dsp:nvSpPr>
        <dsp:cNvPr id="0" name=""/>
        <dsp:cNvSpPr/>
      </dsp:nvSpPr>
      <dsp:spPr>
        <a:xfrm>
          <a:off x="1456287" y="1576607"/>
          <a:ext cx="3428915" cy="126085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33440" tIns="133440" rIns="133440" bIns="133440" numCol="1" spcCol="1270" anchor="ctr" anchorCtr="0">
          <a:noAutofit/>
        </a:bodyPr>
        <a:lstStyle/>
        <a:p>
          <a:pPr marL="0" lvl="0" indent="0" algn="l" defTabSz="1022350">
            <a:lnSpc>
              <a:spcPct val="90000"/>
            </a:lnSpc>
            <a:spcBef>
              <a:spcPct val="0"/>
            </a:spcBef>
            <a:spcAft>
              <a:spcPct val="35000"/>
            </a:spcAft>
            <a:buNone/>
          </a:pPr>
          <a:r>
            <a:rPr lang="en-US" sz="2300" kern="1200"/>
            <a:t>Adds day-to-day administration abilities</a:t>
          </a:r>
        </a:p>
      </dsp:txBody>
      <dsp:txXfrm>
        <a:off x="1456287" y="1576607"/>
        <a:ext cx="3428915" cy="1260854"/>
      </dsp:txXfrm>
    </dsp:sp>
    <dsp:sp modelId="{ED28A74F-CCBC-42EA-A848-63780CDB73E9}">
      <dsp:nvSpPr>
        <dsp:cNvPr id="0" name=""/>
        <dsp:cNvSpPr/>
      </dsp:nvSpPr>
      <dsp:spPr>
        <a:xfrm>
          <a:off x="0" y="3152675"/>
          <a:ext cx="4885203" cy="1260854"/>
        </a:xfrm>
        <a:prstGeom prst="roundRect">
          <a:avLst>
            <a:gd name="adj" fmla="val 10000"/>
          </a:avLst>
        </a:prstGeom>
        <a:solidFill>
          <a:schemeClr val="bg1">
            <a:lumMod val="95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3B2DA05E-2C27-4BF3-AEC9-719A5478C7AD}">
      <dsp:nvSpPr>
        <dsp:cNvPr id="0" name=""/>
        <dsp:cNvSpPr/>
      </dsp:nvSpPr>
      <dsp:spPr>
        <a:xfrm>
          <a:off x="381408" y="3436367"/>
          <a:ext cx="693470" cy="693470"/>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686E2654-3589-40B5-BB62-E4710382D3EE}">
      <dsp:nvSpPr>
        <dsp:cNvPr id="0" name=""/>
        <dsp:cNvSpPr/>
      </dsp:nvSpPr>
      <dsp:spPr>
        <a:xfrm>
          <a:off x="1456287" y="3152675"/>
          <a:ext cx="3428915" cy="126085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33440" tIns="133440" rIns="133440" bIns="133440" numCol="1" spcCol="1270" anchor="ctr" anchorCtr="0">
          <a:noAutofit/>
        </a:bodyPr>
        <a:lstStyle/>
        <a:p>
          <a:pPr marL="0" lvl="0" indent="0" algn="l" defTabSz="1022350">
            <a:lnSpc>
              <a:spcPct val="90000"/>
            </a:lnSpc>
            <a:spcBef>
              <a:spcPct val="0"/>
            </a:spcBef>
            <a:spcAft>
              <a:spcPct val="35000"/>
            </a:spcAft>
            <a:buNone/>
          </a:pPr>
          <a:r>
            <a:rPr lang="en-US" sz="2300" kern="1200"/>
            <a:t>Finds solutions to problems [you didn’t know you had]</a:t>
          </a:r>
        </a:p>
      </dsp:txBody>
      <dsp:txXfrm>
        <a:off x="1456287" y="3152675"/>
        <a:ext cx="3428915" cy="1260854"/>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8256E65-F0F8-488E-A2F3-84C1418E2C39}">
      <dsp:nvSpPr>
        <dsp:cNvPr id="0" name=""/>
        <dsp:cNvSpPr/>
      </dsp:nvSpPr>
      <dsp:spPr>
        <a:xfrm>
          <a:off x="0" y="1832"/>
          <a:ext cx="4885203" cy="928506"/>
        </a:xfrm>
        <a:prstGeom prst="roundRect">
          <a:avLst>
            <a:gd name="adj" fmla="val 10000"/>
          </a:avLst>
        </a:prstGeom>
        <a:solidFill>
          <a:schemeClr val="bg1">
            <a:lumMod val="95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BC32A277-65B3-4DE3-9AB6-6CA3BF8F1EF0}">
      <dsp:nvSpPr>
        <dsp:cNvPr id="0" name=""/>
        <dsp:cNvSpPr/>
      </dsp:nvSpPr>
      <dsp:spPr>
        <a:xfrm>
          <a:off x="280873" y="210745"/>
          <a:ext cx="510678" cy="510678"/>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5DE64924-516C-40D1-8218-1DCCDC031CE1}">
      <dsp:nvSpPr>
        <dsp:cNvPr id="0" name=""/>
        <dsp:cNvSpPr/>
      </dsp:nvSpPr>
      <dsp:spPr>
        <a:xfrm>
          <a:off x="1072424" y="1832"/>
          <a:ext cx="3812778" cy="92850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8267" tIns="98267" rIns="98267" bIns="98267" numCol="1" spcCol="1270" anchor="ctr" anchorCtr="0">
          <a:noAutofit/>
        </a:bodyPr>
        <a:lstStyle/>
        <a:p>
          <a:pPr marL="0" lvl="0" indent="0" algn="l" defTabSz="977900">
            <a:lnSpc>
              <a:spcPct val="100000"/>
            </a:lnSpc>
            <a:spcBef>
              <a:spcPct val="0"/>
            </a:spcBef>
            <a:spcAft>
              <a:spcPct val="35000"/>
            </a:spcAft>
            <a:buNone/>
          </a:pPr>
          <a:r>
            <a:rPr lang="en-US" sz="2200" i="1" kern="1200"/>
            <a:t>Can</a:t>
          </a:r>
          <a:r>
            <a:rPr lang="en-US" sz="2200" kern="1200"/>
            <a:t> build on administrator skills</a:t>
          </a:r>
        </a:p>
      </dsp:txBody>
      <dsp:txXfrm>
        <a:off x="1072424" y="1832"/>
        <a:ext cx="3812778" cy="928506"/>
      </dsp:txXfrm>
    </dsp:sp>
    <dsp:sp modelId="{7646B446-80A5-453A-84A0-3635397B7123}">
      <dsp:nvSpPr>
        <dsp:cNvPr id="0" name=""/>
        <dsp:cNvSpPr/>
      </dsp:nvSpPr>
      <dsp:spPr>
        <a:xfrm>
          <a:off x="0" y="1162464"/>
          <a:ext cx="4885203" cy="928506"/>
        </a:xfrm>
        <a:prstGeom prst="roundRect">
          <a:avLst>
            <a:gd name="adj" fmla="val 10000"/>
          </a:avLst>
        </a:prstGeom>
        <a:solidFill>
          <a:schemeClr val="bg1">
            <a:lumMod val="95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53B78311-328C-4FB4-A580-9F8D7C9E20FC}">
      <dsp:nvSpPr>
        <dsp:cNvPr id="0" name=""/>
        <dsp:cNvSpPr/>
      </dsp:nvSpPr>
      <dsp:spPr>
        <a:xfrm>
          <a:off x="280873" y="1371378"/>
          <a:ext cx="510678" cy="510678"/>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55AC7080-3ED5-4ACB-858E-330078DCA809}">
      <dsp:nvSpPr>
        <dsp:cNvPr id="0" name=""/>
        <dsp:cNvSpPr/>
      </dsp:nvSpPr>
      <dsp:spPr>
        <a:xfrm>
          <a:off x="1072424" y="1162464"/>
          <a:ext cx="3812778" cy="92850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8267" tIns="98267" rIns="98267" bIns="98267" numCol="1" spcCol="1270" anchor="ctr" anchorCtr="0">
          <a:noAutofit/>
        </a:bodyPr>
        <a:lstStyle/>
        <a:p>
          <a:pPr marL="0" lvl="0" indent="0" algn="l" defTabSz="977900">
            <a:lnSpc>
              <a:spcPct val="100000"/>
            </a:lnSpc>
            <a:spcBef>
              <a:spcPct val="0"/>
            </a:spcBef>
            <a:spcAft>
              <a:spcPct val="35000"/>
            </a:spcAft>
            <a:buNone/>
          </a:pPr>
          <a:r>
            <a:rPr lang="en-US" sz="2200" kern="1200"/>
            <a:t>Creates new components</a:t>
          </a:r>
        </a:p>
      </dsp:txBody>
      <dsp:txXfrm>
        <a:off x="1072424" y="1162464"/>
        <a:ext cx="3812778" cy="928506"/>
      </dsp:txXfrm>
    </dsp:sp>
    <dsp:sp modelId="{9E3AC9A5-8790-4A97-8E4A-6CF32A951C83}">
      <dsp:nvSpPr>
        <dsp:cNvPr id="0" name=""/>
        <dsp:cNvSpPr/>
      </dsp:nvSpPr>
      <dsp:spPr>
        <a:xfrm>
          <a:off x="0" y="2323097"/>
          <a:ext cx="4885203" cy="928506"/>
        </a:xfrm>
        <a:prstGeom prst="roundRect">
          <a:avLst>
            <a:gd name="adj" fmla="val 10000"/>
          </a:avLst>
        </a:prstGeom>
        <a:solidFill>
          <a:schemeClr val="bg1">
            <a:lumMod val="95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7F992D43-A40C-402B-ADF4-D22923097187}">
      <dsp:nvSpPr>
        <dsp:cNvPr id="0" name=""/>
        <dsp:cNvSpPr/>
      </dsp:nvSpPr>
      <dsp:spPr>
        <a:xfrm>
          <a:off x="280873" y="2532011"/>
          <a:ext cx="510678" cy="510678"/>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4ADDC749-DD4A-4D05-8787-210AE8802D91}">
      <dsp:nvSpPr>
        <dsp:cNvPr id="0" name=""/>
        <dsp:cNvSpPr/>
      </dsp:nvSpPr>
      <dsp:spPr>
        <a:xfrm>
          <a:off x="1072424" y="2323097"/>
          <a:ext cx="3812778" cy="92850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8267" tIns="98267" rIns="98267" bIns="98267" numCol="1" spcCol="1270" anchor="ctr" anchorCtr="0">
          <a:noAutofit/>
        </a:bodyPr>
        <a:lstStyle/>
        <a:p>
          <a:pPr marL="0" lvl="0" indent="0" algn="l" defTabSz="977900">
            <a:lnSpc>
              <a:spcPct val="100000"/>
            </a:lnSpc>
            <a:spcBef>
              <a:spcPct val="0"/>
            </a:spcBef>
            <a:spcAft>
              <a:spcPct val="35000"/>
            </a:spcAft>
            <a:buNone/>
          </a:pPr>
          <a:r>
            <a:rPr lang="en-US" sz="2200" kern="1200"/>
            <a:t>Basic development skills using JavaScript</a:t>
          </a:r>
        </a:p>
      </dsp:txBody>
      <dsp:txXfrm>
        <a:off x="1072424" y="2323097"/>
        <a:ext cx="3812778" cy="928506"/>
      </dsp:txXfrm>
    </dsp:sp>
    <dsp:sp modelId="{541E1C2A-5EBD-4DB3-AB48-05EAD425AE60}">
      <dsp:nvSpPr>
        <dsp:cNvPr id="0" name=""/>
        <dsp:cNvSpPr/>
      </dsp:nvSpPr>
      <dsp:spPr>
        <a:xfrm>
          <a:off x="0" y="3483730"/>
          <a:ext cx="4885203" cy="928506"/>
        </a:xfrm>
        <a:prstGeom prst="roundRect">
          <a:avLst>
            <a:gd name="adj" fmla="val 10000"/>
          </a:avLst>
        </a:prstGeom>
        <a:solidFill>
          <a:schemeClr val="bg1">
            <a:lumMod val="95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6A66939C-F7F1-4AC5-B5DE-A8FCF41192F5}">
      <dsp:nvSpPr>
        <dsp:cNvPr id="0" name=""/>
        <dsp:cNvSpPr/>
      </dsp:nvSpPr>
      <dsp:spPr>
        <a:xfrm>
          <a:off x="280873" y="3692644"/>
          <a:ext cx="510678" cy="510678"/>
        </a:xfrm>
        <a:prstGeom prst="rect">
          <a:avLst/>
        </a:prstGeom>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556202EC-6667-4E95-8DB8-C226406472FE}">
      <dsp:nvSpPr>
        <dsp:cNvPr id="0" name=""/>
        <dsp:cNvSpPr/>
      </dsp:nvSpPr>
      <dsp:spPr>
        <a:xfrm>
          <a:off x="1072424" y="3483730"/>
          <a:ext cx="3812778" cy="92850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8267" tIns="98267" rIns="98267" bIns="98267" numCol="1" spcCol="1270" anchor="ctr" anchorCtr="0">
          <a:noAutofit/>
        </a:bodyPr>
        <a:lstStyle/>
        <a:p>
          <a:pPr marL="0" lvl="0" indent="0" algn="l" defTabSz="977900">
            <a:lnSpc>
              <a:spcPct val="100000"/>
            </a:lnSpc>
            <a:spcBef>
              <a:spcPct val="0"/>
            </a:spcBef>
            <a:spcAft>
              <a:spcPct val="35000"/>
            </a:spcAft>
            <a:buNone/>
          </a:pPr>
          <a:r>
            <a:rPr lang="en-US" sz="2200" kern="1200"/>
            <a:t>Uses Power Automate</a:t>
          </a:r>
        </a:p>
      </dsp:txBody>
      <dsp:txXfrm>
        <a:off x="1072424" y="3483730"/>
        <a:ext cx="3812778" cy="928506"/>
      </dsp:txXfrm>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40847F7-ABD7-4D3F-8251-7756384D6399}">
      <dsp:nvSpPr>
        <dsp:cNvPr id="0" name=""/>
        <dsp:cNvSpPr/>
      </dsp:nvSpPr>
      <dsp:spPr>
        <a:xfrm>
          <a:off x="0" y="1832"/>
          <a:ext cx="4885203" cy="928506"/>
        </a:xfrm>
        <a:prstGeom prst="roundRect">
          <a:avLst>
            <a:gd name="adj" fmla="val 10000"/>
          </a:avLst>
        </a:prstGeom>
        <a:solidFill>
          <a:schemeClr val="bg1">
            <a:lumMod val="95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B0C530FD-A7BF-4DE8-959E-3D1972C3A7E6}">
      <dsp:nvSpPr>
        <dsp:cNvPr id="0" name=""/>
        <dsp:cNvSpPr/>
      </dsp:nvSpPr>
      <dsp:spPr>
        <a:xfrm>
          <a:off x="280873" y="210745"/>
          <a:ext cx="510678" cy="510678"/>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41F5D721-4493-47EE-AEE2-3DACBB61E43C}">
      <dsp:nvSpPr>
        <dsp:cNvPr id="0" name=""/>
        <dsp:cNvSpPr/>
      </dsp:nvSpPr>
      <dsp:spPr>
        <a:xfrm>
          <a:off x="1072424" y="1832"/>
          <a:ext cx="3812778" cy="92850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8267" tIns="98267" rIns="98267" bIns="98267" numCol="1" spcCol="1270" anchor="ctr" anchorCtr="0">
          <a:noAutofit/>
        </a:bodyPr>
        <a:lstStyle/>
        <a:p>
          <a:pPr marL="0" lvl="0" indent="0" algn="l" defTabSz="844550">
            <a:lnSpc>
              <a:spcPct val="100000"/>
            </a:lnSpc>
            <a:spcBef>
              <a:spcPct val="0"/>
            </a:spcBef>
            <a:spcAft>
              <a:spcPct val="35000"/>
            </a:spcAft>
            <a:buNone/>
          </a:pPr>
          <a:r>
            <a:rPr lang="en-US" sz="1900" kern="1200"/>
            <a:t>Builds on customizer skills</a:t>
          </a:r>
        </a:p>
      </dsp:txBody>
      <dsp:txXfrm>
        <a:off x="1072424" y="1832"/>
        <a:ext cx="3812778" cy="928506"/>
      </dsp:txXfrm>
    </dsp:sp>
    <dsp:sp modelId="{E189E3F5-86D3-4930-B618-635F2E1F4630}">
      <dsp:nvSpPr>
        <dsp:cNvPr id="0" name=""/>
        <dsp:cNvSpPr/>
      </dsp:nvSpPr>
      <dsp:spPr>
        <a:xfrm>
          <a:off x="0" y="1162464"/>
          <a:ext cx="4885203" cy="928506"/>
        </a:xfrm>
        <a:prstGeom prst="roundRect">
          <a:avLst>
            <a:gd name="adj" fmla="val 10000"/>
          </a:avLst>
        </a:prstGeom>
        <a:solidFill>
          <a:schemeClr val="bg1">
            <a:lumMod val="95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9410E50B-32F7-499E-A74E-903ADADF1A75}">
      <dsp:nvSpPr>
        <dsp:cNvPr id="0" name=""/>
        <dsp:cNvSpPr/>
      </dsp:nvSpPr>
      <dsp:spPr>
        <a:xfrm>
          <a:off x="280873" y="1371378"/>
          <a:ext cx="510678" cy="510678"/>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4656DA59-A7F1-41E6-8C91-4213832BD4A8}">
      <dsp:nvSpPr>
        <dsp:cNvPr id="0" name=""/>
        <dsp:cNvSpPr/>
      </dsp:nvSpPr>
      <dsp:spPr>
        <a:xfrm>
          <a:off x="1072424" y="1162464"/>
          <a:ext cx="3812778" cy="92850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8267" tIns="98267" rIns="98267" bIns="98267" numCol="1" spcCol="1270" anchor="ctr" anchorCtr="0">
          <a:noAutofit/>
        </a:bodyPr>
        <a:lstStyle/>
        <a:p>
          <a:pPr marL="0" lvl="0" indent="0" algn="l" defTabSz="844550">
            <a:lnSpc>
              <a:spcPct val="100000"/>
            </a:lnSpc>
            <a:spcBef>
              <a:spcPct val="0"/>
            </a:spcBef>
            <a:spcAft>
              <a:spcPct val="35000"/>
            </a:spcAft>
            <a:buNone/>
          </a:pPr>
          <a:r>
            <a:rPr lang="en-US" sz="1900" kern="1200"/>
            <a:t>Fluent in the Dynamics 365 JavaScript object model</a:t>
          </a:r>
        </a:p>
      </dsp:txBody>
      <dsp:txXfrm>
        <a:off x="1072424" y="1162464"/>
        <a:ext cx="3812778" cy="928506"/>
      </dsp:txXfrm>
    </dsp:sp>
    <dsp:sp modelId="{E4DB5741-70E7-4254-8CCD-5F45EE730167}">
      <dsp:nvSpPr>
        <dsp:cNvPr id="0" name=""/>
        <dsp:cNvSpPr/>
      </dsp:nvSpPr>
      <dsp:spPr>
        <a:xfrm>
          <a:off x="0" y="2323097"/>
          <a:ext cx="4885203" cy="928506"/>
        </a:xfrm>
        <a:prstGeom prst="roundRect">
          <a:avLst>
            <a:gd name="adj" fmla="val 10000"/>
          </a:avLst>
        </a:prstGeom>
        <a:solidFill>
          <a:schemeClr val="bg1">
            <a:lumMod val="95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971922AD-4B2F-4084-ACF8-048593612C24}">
      <dsp:nvSpPr>
        <dsp:cNvPr id="0" name=""/>
        <dsp:cNvSpPr/>
      </dsp:nvSpPr>
      <dsp:spPr>
        <a:xfrm>
          <a:off x="280873" y="2532011"/>
          <a:ext cx="510678" cy="510678"/>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7C54499F-9617-46F2-BB39-A2D1DED78FAF}">
      <dsp:nvSpPr>
        <dsp:cNvPr id="0" name=""/>
        <dsp:cNvSpPr/>
      </dsp:nvSpPr>
      <dsp:spPr>
        <a:xfrm>
          <a:off x="1072424" y="2323097"/>
          <a:ext cx="3812778" cy="92850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8267" tIns="98267" rIns="98267" bIns="98267" numCol="1" spcCol="1270" anchor="ctr" anchorCtr="0">
          <a:noAutofit/>
        </a:bodyPr>
        <a:lstStyle/>
        <a:p>
          <a:pPr marL="0" lvl="0" indent="0" algn="l" defTabSz="844550">
            <a:lnSpc>
              <a:spcPct val="100000"/>
            </a:lnSpc>
            <a:spcBef>
              <a:spcPct val="0"/>
            </a:spcBef>
            <a:spcAft>
              <a:spcPct val="35000"/>
            </a:spcAft>
            <a:buNone/>
          </a:pPr>
          <a:r>
            <a:rPr lang="en-US" sz="1900" kern="1200"/>
            <a:t>Can create plugins</a:t>
          </a:r>
        </a:p>
      </dsp:txBody>
      <dsp:txXfrm>
        <a:off x="1072424" y="2323097"/>
        <a:ext cx="3812778" cy="928506"/>
      </dsp:txXfrm>
    </dsp:sp>
    <dsp:sp modelId="{A15ECB6D-3CF2-4474-B329-61917B97AA92}">
      <dsp:nvSpPr>
        <dsp:cNvPr id="0" name=""/>
        <dsp:cNvSpPr/>
      </dsp:nvSpPr>
      <dsp:spPr>
        <a:xfrm>
          <a:off x="0" y="3483730"/>
          <a:ext cx="4885203" cy="928506"/>
        </a:xfrm>
        <a:prstGeom prst="roundRect">
          <a:avLst>
            <a:gd name="adj" fmla="val 10000"/>
          </a:avLst>
        </a:prstGeom>
        <a:solidFill>
          <a:schemeClr val="bg1">
            <a:lumMod val="95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ECA8F3F4-7A04-44C7-B55E-988A8DC69393}">
      <dsp:nvSpPr>
        <dsp:cNvPr id="0" name=""/>
        <dsp:cNvSpPr/>
      </dsp:nvSpPr>
      <dsp:spPr>
        <a:xfrm>
          <a:off x="280873" y="3692644"/>
          <a:ext cx="510678" cy="510678"/>
        </a:xfrm>
        <a:prstGeom prst="rect">
          <a:avLst/>
        </a:prstGeom>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7F25B222-F51B-4652-9921-E144C59393EE}">
      <dsp:nvSpPr>
        <dsp:cNvPr id="0" name=""/>
        <dsp:cNvSpPr/>
      </dsp:nvSpPr>
      <dsp:spPr>
        <a:xfrm>
          <a:off x="1072424" y="3483730"/>
          <a:ext cx="3812778" cy="92850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8267" tIns="98267" rIns="98267" bIns="98267" numCol="1" spcCol="1270" anchor="ctr" anchorCtr="0">
          <a:noAutofit/>
        </a:bodyPr>
        <a:lstStyle/>
        <a:p>
          <a:pPr marL="0" lvl="0" indent="0" algn="l" defTabSz="844550">
            <a:lnSpc>
              <a:spcPct val="100000"/>
            </a:lnSpc>
            <a:spcBef>
              <a:spcPct val="0"/>
            </a:spcBef>
            <a:spcAft>
              <a:spcPct val="35000"/>
            </a:spcAft>
            <a:buNone/>
          </a:pPr>
          <a:r>
            <a:rPr lang="en-US" sz="1900" kern="1200"/>
            <a:t>Understands business processes and how to map them to Dynamics 365</a:t>
          </a:r>
        </a:p>
      </dsp:txBody>
      <dsp:txXfrm>
        <a:off x="1072424" y="3483730"/>
        <a:ext cx="3812778" cy="928506"/>
      </dsp:txXfrm>
    </dsp:sp>
  </dsp:spTree>
</dsp:drawing>
</file>

<file path=ppt/diagrams/drawing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7387913-A106-41F9-ACE3-09EDA15CF525}">
      <dsp:nvSpPr>
        <dsp:cNvPr id="0" name=""/>
        <dsp:cNvSpPr/>
      </dsp:nvSpPr>
      <dsp:spPr>
        <a:xfrm>
          <a:off x="0" y="3448"/>
          <a:ext cx="4885203" cy="734528"/>
        </a:xfrm>
        <a:prstGeom prst="roundRect">
          <a:avLst>
            <a:gd name="adj" fmla="val 10000"/>
          </a:avLst>
        </a:prstGeom>
        <a:solidFill>
          <a:schemeClr val="bg1">
            <a:lumMod val="95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DE74E767-B3E0-4D36-81C2-A457AE0F6760}">
      <dsp:nvSpPr>
        <dsp:cNvPr id="0" name=""/>
        <dsp:cNvSpPr/>
      </dsp:nvSpPr>
      <dsp:spPr>
        <a:xfrm>
          <a:off x="222194" y="168717"/>
          <a:ext cx="403990" cy="403990"/>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4A80B5A4-D74B-4DEC-8AEC-FE77FD68BE63}">
      <dsp:nvSpPr>
        <dsp:cNvPr id="0" name=""/>
        <dsp:cNvSpPr/>
      </dsp:nvSpPr>
      <dsp:spPr>
        <a:xfrm>
          <a:off x="848380" y="3448"/>
          <a:ext cx="4036822" cy="73452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7738" tIns="77738" rIns="77738" bIns="77738" numCol="1" spcCol="1270" anchor="ctr" anchorCtr="0">
          <a:noAutofit/>
        </a:bodyPr>
        <a:lstStyle/>
        <a:p>
          <a:pPr marL="0" lvl="0" indent="0" algn="l" defTabSz="800100">
            <a:lnSpc>
              <a:spcPct val="100000"/>
            </a:lnSpc>
            <a:spcBef>
              <a:spcPct val="0"/>
            </a:spcBef>
            <a:spcAft>
              <a:spcPct val="35000"/>
            </a:spcAft>
            <a:buNone/>
          </a:pPr>
          <a:r>
            <a:rPr lang="en-US" sz="1800" kern="1200"/>
            <a:t>Builds on all of the previous skillsets</a:t>
          </a:r>
        </a:p>
      </dsp:txBody>
      <dsp:txXfrm>
        <a:off x="848380" y="3448"/>
        <a:ext cx="4036822" cy="734528"/>
      </dsp:txXfrm>
    </dsp:sp>
    <dsp:sp modelId="{0356B307-3B7C-4D05-BE93-4D713B5D22CB}">
      <dsp:nvSpPr>
        <dsp:cNvPr id="0" name=""/>
        <dsp:cNvSpPr/>
      </dsp:nvSpPr>
      <dsp:spPr>
        <a:xfrm>
          <a:off x="0" y="921609"/>
          <a:ext cx="4885203" cy="734528"/>
        </a:xfrm>
        <a:prstGeom prst="roundRect">
          <a:avLst>
            <a:gd name="adj" fmla="val 10000"/>
          </a:avLst>
        </a:prstGeom>
        <a:solidFill>
          <a:schemeClr val="bg1">
            <a:lumMod val="95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78D6FC8F-9CCA-4A81-AA9F-7D5BD12DBCC3}">
      <dsp:nvSpPr>
        <dsp:cNvPr id="0" name=""/>
        <dsp:cNvSpPr/>
      </dsp:nvSpPr>
      <dsp:spPr>
        <a:xfrm>
          <a:off x="222194" y="1086878"/>
          <a:ext cx="403990" cy="403990"/>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517C0F44-77D3-4ADF-9164-0BF8AA4C22D9}">
      <dsp:nvSpPr>
        <dsp:cNvPr id="0" name=""/>
        <dsp:cNvSpPr/>
      </dsp:nvSpPr>
      <dsp:spPr>
        <a:xfrm>
          <a:off x="848380" y="921609"/>
          <a:ext cx="4036822" cy="73452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7738" tIns="77738" rIns="77738" bIns="77738" numCol="1" spcCol="1270" anchor="ctr" anchorCtr="0">
          <a:noAutofit/>
        </a:bodyPr>
        <a:lstStyle/>
        <a:p>
          <a:pPr marL="0" lvl="0" indent="0" algn="l" defTabSz="800100">
            <a:lnSpc>
              <a:spcPct val="100000"/>
            </a:lnSpc>
            <a:spcBef>
              <a:spcPct val="0"/>
            </a:spcBef>
            <a:spcAft>
              <a:spcPct val="35000"/>
            </a:spcAft>
            <a:buNone/>
          </a:pPr>
          <a:r>
            <a:rPr lang="en-US" sz="1800" kern="1200"/>
            <a:t>Knows the product inside and out</a:t>
          </a:r>
        </a:p>
      </dsp:txBody>
      <dsp:txXfrm>
        <a:off x="848380" y="921609"/>
        <a:ext cx="4036822" cy="734528"/>
      </dsp:txXfrm>
    </dsp:sp>
    <dsp:sp modelId="{5AA64216-0C46-4149-A750-E69C469CBF02}">
      <dsp:nvSpPr>
        <dsp:cNvPr id="0" name=""/>
        <dsp:cNvSpPr/>
      </dsp:nvSpPr>
      <dsp:spPr>
        <a:xfrm>
          <a:off x="0" y="1839770"/>
          <a:ext cx="4885203" cy="734528"/>
        </a:xfrm>
        <a:prstGeom prst="roundRect">
          <a:avLst>
            <a:gd name="adj" fmla="val 10000"/>
          </a:avLst>
        </a:prstGeom>
        <a:solidFill>
          <a:schemeClr val="bg1">
            <a:lumMod val="95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EBBD1DE7-0479-4F24-AC88-B8257789D7FB}">
      <dsp:nvSpPr>
        <dsp:cNvPr id="0" name=""/>
        <dsp:cNvSpPr/>
      </dsp:nvSpPr>
      <dsp:spPr>
        <a:xfrm>
          <a:off x="222194" y="2005039"/>
          <a:ext cx="403990" cy="403990"/>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7231974B-92E7-4FE4-B3BA-01A3F4170E75}">
      <dsp:nvSpPr>
        <dsp:cNvPr id="0" name=""/>
        <dsp:cNvSpPr/>
      </dsp:nvSpPr>
      <dsp:spPr>
        <a:xfrm>
          <a:off x="848380" y="1839770"/>
          <a:ext cx="4036822" cy="73452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7738" tIns="77738" rIns="77738" bIns="77738" numCol="1" spcCol="1270" anchor="ctr" anchorCtr="0">
          <a:noAutofit/>
        </a:bodyPr>
        <a:lstStyle/>
        <a:p>
          <a:pPr marL="0" lvl="0" indent="0" algn="l" defTabSz="800100">
            <a:lnSpc>
              <a:spcPct val="100000"/>
            </a:lnSpc>
            <a:spcBef>
              <a:spcPct val="0"/>
            </a:spcBef>
            <a:spcAft>
              <a:spcPct val="35000"/>
            </a:spcAft>
            <a:buNone/>
          </a:pPr>
          <a:r>
            <a:rPr lang="en-US" sz="1800" kern="1200"/>
            <a:t>Knows what features are generally best for any given requirement</a:t>
          </a:r>
        </a:p>
      </dsp:txBody>
      <dsp:txXfrm>
        <a:off x="848380" y="1839770"/>
        <a:ext cx="4036822" cy="734528"/>
      </dsp:txXfrm>
    </dsp:sp>
    <dsp:sp modelId="{E4CAA327-A246-4FEC-98AF-4D1A7A183B0A}">
      <dsp:nvSpPr>
        <dsp:cNvPr id="0" name=""/>
        <dsp:cNvSpPr/>
      </dsp:nvSpPr>
      <dsp:spPr>
        <a:xfrm>
          <a:off x="0" y="2757931"/>
          <a:ext cx="4885203" cy="734528"/>
        </a:xfrm>
        <a:prstGeom prst="roundRect">
          <a:avLst>
            <a:gd name="adj" fmla="val 10000"/>
          </a:avLst>
        </a:prstGeom>
        <a:solidFill>
          <a:schemeClr val="bg1">
            <a:lumMod val="95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586EF4C5-62EA-4694-A5A2-2D00EC68DB50}">
      <dsp:nvSpPr>
        <dsp:cNvPr id="0" name=""/>
        <dsp:cNvSpPr/>
      </dsp:nvSpPr>
      <dsp:spPr>
        <a:xfrm>
          <a:off x="222194" y="2923199"/>
          <a:ext cx="403990" cy="403990"/>
        </a:xfrm>
        <a:prstGeom prst="rect">
          <a:avLst/>
        </a:prstGeom>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4466571C-2626-43E3-A15E-3B44C27C530A}">
      <dsp:nvSpPr>
        <dsp:cNvPr id="0" name=""/>
        <dsp:cNvSpPr/>
      </dsp:nvSpPr>
      <dsp:spPr>
        <a:xfrm>
          <a:off x="848380" y="2757931"/>
          <a:ext cx="4036822" cy="73452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7738" tIns="77738" rIns="77738" bIns="77738" numCol="1" spcCol="1270" anchor="ctr" anchorCtr="0">
          <a:noAutofit/>
        </a:bodyPr>
        <a:lstStyle/>
        <a:p>
          <a:pPr marL="0" lvl="0" indent="0" algn="l" defTabSz="800100">
            <a:lnSpc>
              <a:spcPct val="100000"/>
            </a:lnSpc>
            <a:spcBef>
              <a:spcPct val="0"/>
            </a:spcBef>
            <a:spcAft>
              <a:spcPct val="35000"/>
            </a:spcAft>
            <a:buNone/>
          </a:pPr>
          <a:r>
            <a:rPr lang="en-US" sz="1800" kern="1200"/>
            <a:t>Can translate business requirements into functional requirements</a:t>
          </a:r>
        </a:p>
      </dsp:txBody>
      <dsp:txXfrm>
        <a:off x="848380" y="2757931"/>
        <a:ext cx="4036822" cy="734528"/>
      </dsp:txXfrm>
    </dsp:sp>
    <dsp:sp modelId="{6F25A872-AEF5-4330-87C0-51E88647002B}">
      <dsp:nvSpPr>
        <dsp:cNvPr id="0" name=""/>
        <dsp:cNvSpPr/>
      </dsp:nvSpPr>
      <dsp:spPr>
        <a:xfrm>
          <a:off x="0" y="3676091"/>
          <a:ext cx="4885203" cy="734528"/>
        </a:xfrm>
        <a:prstGeom prst="roundRect">
          <a:avLst>
            <a:gd name="adj" fmla="val 10000"/>
          </a:avLst>
        </a:prstGeom>
        <a:solidFill>
          <a:schemeClr val="bg1">
            <a:lumMod val="95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DEE1F829-DD06-41C0-BDB4-C80A9AB0C54F}">
      <dsp:nvSpPr>
        <dsp:cNvPr id="0" name=""/>
        <dsp:cNvSpPr/>
      </dsp:nvSpPr>
      <dsp:spPr>
        <a:xfrm>
          <a:off x="222194" y="3841360"/>
          <a:ext cx="403990" cy="403990"/>
        </a:xfrm>
        <a:prstGeom prst="rect">
          <a:avLst/>
        </a:prstGeom>
        <a:blipFill>
          <a:blip xmlns:r="http://schemas.openxmlformats.org/officeDocument/2006/relationships"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a:blip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78461CA3-B497-45B4-9779-2ED784664EA4}">
      <dsp:nvSpPr>
        <dsp:cNvPr id="0" name=""/>
        <dsp:cNvSpPr/>
      </dsp:nvSpPr>
      <dsp:spPr>
        <a:xfrm>
          <a:off x="848380" y="3676091"/>
          <a:ext cx="4036822" cy="73452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7738" tIns="77738" rIns="77738" bIns="77738" numCol="1" spcCol="1270" anchor="ctr" anchorCtr="0">
          <a:noAutofit/>
        </a:bodyPr>
        <a:lstStyle/>
        <a:p>
          <a:pPr marL="0" lvl="0" indent="0" algn="l" defTabSz="800100">
            <a:lnSpc>
              <a:spcPct val="100000"/>
            </a:lnSpc>
            <a:spcBef>
              <a:spcPct val="0"/>
            </a:spcBef>
            <a:spcAft>
              <a:spcPct val="35000"/>
            </a:spcAft>
            <a:buNone/>
          </a:pPr>
          <a:r>
            <a:rPr lang="en-US" sz="1800" kern="1200"/>
            <a:t>Can work with end-users and developers to define a solution</a:t>
          </a:r>
        </a:p>
      </dsp:txBody>
      <dsp:txXfrm>
        <a:off x="848380" y="3676091"/>
        <a:ext cx="4036822" cy="734528"/>
      </dsp:txXfrm>
    </dsp:sp>
  </dsp:spTree>
</dsp:drawing>
</file>

<file path=ppt/diagrams/layout1.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layout10.xml><?xml version="1.0" encoding="utf-8"?>
<dgm:layoutDef xmlns:dgm="http://schemas.openxmlformats.org/drawingml/2006/diagram" xmlns:a="http://schemas.openxmlformats.org/drawingml/2006/main" uniqueId="urn:microsoft.com/office/officeart/2018/2/layout/IconVerticalSolidList">
  <dgm:title val="Icon Vertical Solid List"/>
  <dgm:desc val="Use to show a series of visuals from top to bottom with Level 1 or Level 1 and Level 2 text grouped in a shape. Works best with icons or small pictures with lengthier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hoose name="Name3">
      <dgm:if name="Name4" axis="ch" ptType="node" func="cnt" op="lte" val="3">
        <dgm:constrLst>
          <dgm:constr type="h" for="ch" forName="compNode" refType="h" fact="0.3"/>
          <dgm:constr type="w" for="ch" forName="compNode" refType="w"/>
          <dgm:constr type="h" for="ch" forName="sibTrans" refType="h" refFor="ch" refForName="compNode" fact="0.25"/>
          <dgm:constr type="primFontSz" for="des" forName="parTx" val="25"/>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5" axis="ch" ptType="node" func="cnt" op="lte" val="4">
        <dgm:constrLst>
          <dgm:constr type="h" for="ch" forName="compNode" refType="h" fact="0.3"/>
          <dgm:constr type="w" for="ch" forName="compNode" refType="w"/>
          <dgm:constr type="h" for="ch" forName="sibTrans" refType="h" refFor="ch" refForName="compNode" fact="0.25"/>
          <dgm:constr type="primFontSz" for="des" forName="parTx" val="22"/>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6" axis="ch" ptType="node" func="cnt" op="lte" val="6">
        <dgm:constrLst>
          <dgm:constr type="h" for="ch" forName="compNode" refType="h" fact="0.3"/>
          <dgm:constr type="w" for="ch" forName="compNode" refType="w"/>
          <dgm:constr type="h" for="ch" forName="sibTrans" refType="h" refFor="ch" refForName="compNode" fact="0.25"/>
          <dgm:constr type="primFontSz" for="des" forName="parTx" val="19"/>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else name="Name7">
        <dgm:constrLst>
          <dgm:constr type="h" for="ch" forName="compNode" refType="h" fact="0.3"/>
          <dgm:constr type="w" for="ch" forName="compNode" refType="w"/>
          <dgm:constr type="h" for="ch" forName="sibTrans" refType="h" refFor="ch" refForName="compNode" fact="0.25"/>
          <dgm:constr type="primFontSz" for="des" forName="parTx" val="16"/>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else>
    </dgm:choose>
    <dgm:ruleLst>
      <dgm:rule type="h" for="ch" forName="compNode" val="0" fact="NaN" max="NaN"/>
    </dgm:ruleLst>
    <dgm:forEach name="Name8" axis="ch" ptType="node">
      <dgm:layoutNode name="compNode">
        <dgm:alg type="composite"/>
        <dgm:shape xmlns:r="http://schemas.openxmlformats.org/officeDocument/2006/relationships" r:blip="">
          <dgm:adjLst/>
        </dgm:shape>
        <dgm:presOf axis="self"/>
        <dgm:choose name="Name9">
          <dgm:if name="Name10" axis="ch" ptType="node" func="cnt" op="gte" val="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w" for="ch" forName="parTx" refType="w" fact="0.45"/>
              <dgm:constr type="h" for="ch" forName="parTx" refType="h"/>
              <dgm:constr type="l" for="ch" forName="parTx" refType="r" refFor="ch" refForName="spaceRect"/>
              <dgm:constr type="t" for="ch" forName="parTx"/>
              <dgm:constr type="h" for="ch" forName="desTx" refType="h"/>
              <dgm:constr type="l" for="ch" forName="desTx" refType="r" refFor="ch" refForName="parTx"/>
              <dgm:constr type="t" for="ch" forName="desTx"/>
            </dgm:constrLst>
          </dgm:if>
          <dgm:else name="Name1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h" for="ch" forName="parTx" refType="h"/>
              <dgm:constr type="l" for="ch" forName="parTx" refType="r" refFor="ch" refForName="spaceRect"/>
              <dgm:constr type="t" for="ch" forName="parTx"/>
            </dgm:constrLst>
          </dgm:else>
        </dgm:choose>
        <dgm:ruleLst>
          <dgm:rule type="h" val="INF" fact="NaN" max="NaN"/>
        </dgm:ruleLst>
        <dgm:layoutNode name="bgRect" styleLbl="bgShp">
          <dgm:alg type="sp"/>
          <dgm:shape xmlns:r="http://schemas.openxmlformats.org/officeDocument/2006/relationships" type="roundRect" r:blip="">
            <dgm:adjLst>
              <dgm:adj idx="1" val="0.1"/>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parTx" styleLbl="revTx">
          <dgm:varLst>
            <dgm:chMax val="0"/>
            <dgm:chPref val="0"/>
          </dgm:varLst>
          <dgm:alg type="tx">
            <dgm:param type="txAnchorVert" val="mid"/>
            <dgm:param type="parTxLTRAlign" val="l"/>
            <dgm:param type="shpTxLTRAlignCh" val="l"/>
            <dgm:param type="parTxRTLAlign" val="r"/>
            <dgm:param type="shpTxRTLAlignCh" val="r"/>
          </dgm:alg>
          <dgm:shape xmlns:r="http://schemas.openxmlformats.org/officeDocument/2006/relationships" type="rect" r:blip="">
            <dgm:adjLst/>
          </dgm:shape>
          <dgm:presOf axis="self" ptType="node"/>
          <dgm:constrLst>
            <dgm:constr type="lMarg" refType="h" fact="0.3"/>
            <dgm:constr type="rMarg" refType="h" fact="0.3"/>
            <dgm:constr type="tMarg" refType="h" fact="0.3"/>
            <dgm:constr type="bMarg" refType="h" fact="0.3"/>
          </dgm:constrLst>
          <dgm:ruleLst>
            <dgm:rule type="primFontSz" val="14" fact="NaN" max="NaN"/>
            <dgm:rule type="h" val="INF" fact="NaN" max="NaN"/>
          </dgm:ruleLst>
        </dgm:layoutNode>
        <dgm:choose name="Name12">
          <dgm:if name="Name13" axis="ch" ptType="node" func="cnt" op="gte" val="1">
            <dgm:layoutNode name="desTx" styleLbl="revTx">
              <dgm:varLst/>
              <dgm:alg type="tx">
                <dgm:param type="txAnchorVertCh" val="mid"/>
                <dgm:param type="parTxLTRAlign" val="l"/>
                <dgm:param type="shpTxLTRAlignCh" val="l"/>
                <dgm:param type="parTxRTLAlign" val="r"/>
                <dgm:param type="shpTxRTLAlignCh" val="r"/>
                <dgm:param type="stBulletLvl" val="0"/>
              </dgm:alg>
              <dgm:shape xmlns:r="http://schemas.openxmlformats.org/officeDocument/2006/relationships" type="rect" r:blip="">
                <dgm:adjLst/>
              </dgm:shape>
              <dgm:presOf axis="des" ptType="node"/>
              <dgm:constrLst>
                <dgm:constr type="primFontSz" val="18"/>
                <dgm:constr type="secFontSz" refType="primFontSz"/>
                <dgm:constr type="lMarg" refType="h" fact="0.3"/>
                <dgm:constr type="rMarg" refType="h" fact="0.3"/>
                <dgm:constr type="tMarg" refType="h" fact="0.3"/>
                <dgm:constr type="bMarg" refType="h" fact="0.3"/>
              </dgm:constrLst>
              <dgm:ruleLst>
                <dgm:rule type="primFontSz" val="11" fact="NaN" max="NaN"/>
              </dgm:ruleLst>
            </dgm:layoutNode>
          </dgm:if>
          <dgm:else name="Name14"/>
        </dgm:choose>
      </dgm:layoutNode>
      <dgm:forEach name="Name15"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lvl1pPr>
        <a:lvl2pPr>
          <a:lnSpc>
            <a:spcPct val="100000"/>
          </a:lnSpc>
        </a:lvl2pPr>
      </dgm1612:lstStyle>
    </a:ext>
  </dgm:extLst>
</dgm:layoutDef>
</file>

<file path=ppt/diagrams/layout11.xml><?xml version="1.0" encoding="utf-8"?>
<dgm:layoutDef xmlns:dgm="http://schemas.openxmlformats.org/drawingml/2006/diagram" xmlns:a="http://schemas.openxmlformats.org/drawingml/2006/main" uniqueId="urn:microsoft.com/office/officeart/2018/2/layout/IconVerticalSolidList">
  <dgm:title val="Icon Vertical Solid List"/>
  <dgm:desc val="Use to show a series of visuals from top to bottom with Level 1 or Level 1 and Level 2 text grouped in a shape. Works best with icons or small pictures with lengthier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hoose name="Name3">
      <dgm:if name="Name4" axis="ch" ptType="node" func="cnt" op="lte" val="3">
        <dgm:constrLst>
          <dgm:constr type="h" for="ch" forName="compNode" refType="h" fact="0.3"/>
          <dgm:constr type="w" for="ch" forName="compNode" refType="w"/>
          <dgm:constr type="h" for="ch" forName="sibTrans" refType="h" refFor="ch" refForName="compNode" fact="0.25"/>
          <dgm:constr type="primFontSz" for="des" forName="parTx" val="25"/>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5" axis="ch" ptType="node" func="cnt" op="lte" val="4">
        <dgm:constrLst>
          <dgm:constr type="h" for="ch" forName="compNode" refType="h" fact="0.3"/>
          <dgm:constr type="w" for="ch" forName="compNode" refType="w"/>
          <dgm:constr type="h" for="ch" forName="sibTrans" refType="h" refFor="ch" refForName="compNode" fact="0.25"/>
          <dgm:constr type="primFontSz" for="des" forName="parTx" val="22"/>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6" axis="ch" ptType="node" func="cnt" op="lte" val="6">
        <dgm:constrLst>
          <dgm:constr type="h" for="ch" forName="compNode" refType="h" fact="0.3"/>
          <dgm:constr type="w" for="ch" forName="compNode" refType="w"/>
          <dgm:constr type="h" for="ch" forName="sibTrans" refType="h" refFor="ch" refForName="compNode" fact="0.25"/>
          <dgm:constr type="primFontSz" for="des" forName="parTx" val="19"/>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else name="Name7">
        <dgm:constrLst>
          <dgm:constr type="h" for="ch" forName="compNode" refType="h" fact="0.3"/>
          <dgm:constr type="w" for="ch" forName="compNode" refType="w"/>
          <dgm:constr type="h" for="ch" forName="sibTrans" refType="h" refFor="ch" refForName="compNode" fact="0.25"/>
          <dgm:constr type="primFontSz" for="des" forName="parTx" val="16"/>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else>
    </dgm:choose>
    <dgm:ruleLst>
      <dgm:rule type="h" for="ch" forName="compNode" val="0" fact="NaN" max="NaN"/>
    </dgm:ruleLst>
    <dgm:forEach name="Name8" axis="ch" ptType="node">
      <dgm:layoutNode name="compNode">
        <dgm:alg type="composite"/>
        <dgm:shape xmlns:r="http://schemas.openxmlformats.org/officeDocument/2006/relationships" r:blip="">
          <dgm:adjLst/>
        </dgm:shape>
        <dgm:presOf axis="self"/>
        <dgm:choose name="Name9">
          <dgm:if name="Name10" axis="ch" ptType="node" func="cnt" op="gte" val="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w" for="ch" forName="parTx" refType="w" fact="0.45"/>
              <dgm:constr type="h" for="ch" forName="parTx" refType="h"/>
              <dgm:constr type="l" for="ch" forName="parTx" refType="r" refFor="ch" refForName="spaceRect"/>
              <dgm:constr type="t" for="ch" forName="parTx"/>
              <dgm:constr type="h" for="ch" forName="desTx" refType="h"/>
              <dgm:constr type="l" for="ch" forName="desTx" refType="r" refFor="ch" refForName="parTx"/>
              <dgm:constr type="t" for="ch" forName="desTx"/>
            </dgm:constrLst>
          </dgm:if>
          <dgm:else name="Name1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h" for="ch" forName="parTx" refType="h"/>
              <dgm:constr type="l" for="ch" forName="parTx" refType="r" refFor="ch" refForName="spaceRect"/>
              <dgm:constr type="t" for="ch" forName="parTx"/>
            </dgm:constrLst>
          </dgm:else>
        </dgm:choose>
        <dgm:ruleLst>
          <dgm:rule type="h" val="INF" fact="NaN" max="NaN"/>
        </dgm:ruleLst>
        <dgm:layoutNode name="bgRect" styleLbl="bgShp">
          <dgm:alg type="sp"/>
          <dgm:shape xmlns:r="http://schemas.openxmlformats.org/officeDocument/2006/relationships" type="roundRect" r:blip="">
            <dgm:adjLst>
              <dgm:adj idx="1" val="0.1"/>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parTx" styleLbl="revTx">
          <dgm:varLst>
            <dgm:chMax val="0"/>
            <dgm:chPref val="0"/>
          </dgm:varLst>
          <dgm:alg type="tx">
            <dgm:param type="txAnchorVert" val="mid"/>
            <dgm:param type="parTxLTRAlign" val="l"/>
            <dgm:param type="shpTxLTRAlignCh" val="l"/>
            <dgm:param type="parTxRTLAlign" val="r"/>
            <dgm:param type="shpTxRTLAlignCh" val="r"/>
          </dgm:alg>
          <dgm:shape xmlns:r="http://schemas.openxmlformats.org/officeDocument/2006/relationships" type="rect" r:blip="">
            <dgm:adjLst/>
          </dgm:shape>
          <dgm:presOf axis="self" ptType="node"/>
          <dgm:constrLst>
            <dgm:constr type="lMarg" refType="h" fact="0.3"/>
            <dgm:constr type="rMarg" refType="h" fact="0.3"/>
            <dgm:constr type="tMarg" refType="h" fact="0.3"/>
            <dgm:constr type="bMarg" refType="h" fact="0.3"/>
          </dgm:constrLst>
          <dgm:ruleLst>
            <dgm:rule type="primFontSz" val="14" fact="NaN" max="NaN"/>
            <dgm:rule type="h" val="INF" fact="NaN" max="NaN"/>
          </dgm:ruleLst>
        </dgm:layoutNode>
        <dgm:choose name="Name12">
          <dgm:if name="Name13" axis="ch" ptType="node" func="cnt" op="gte" val="1">
            <dgm:layoutNode name="desTx" styleLbl="revTx">
              <dgm:varLst/>
              <dgm:alg type="tx">
                <dgm:param type="txAnchorVertCh" val="mid"/>
                <dgm:param type="parTxLTRAlign" val="l"/>
                <dgm:param type="shpTxLTRAlignCh" val="l"/>
                <dgm:param type="parTxRTLAlign" val="r"/>
                <dgm:param type="shpTxRTLAlignCh" val="r"/>
                <dgm:param type="stBulletLvl" val="0"/>
              </dgm:alg>
              <dgm:shape xmlns:r="http://schemas.openxmlformats.org/officeDocument/2006/relationships" type="rect" r:blip="">
                <dgm:adjLst/>
              </dgm:shape>
              <dgm:presOf axis="des" ptType="node"/>
              <dgm:constrLst>
                <dgm:constr type="primFontSz" val="18"/>
                <dgm:constr type="secFontSz" refType="primFontSz"/>
                <dgm:constr type="lMarg" refType="h" fact="0.3"/>
                <dgm:constr type="rMarg" refType="h" fact="0.3"/>
                <dgm:constr type="tMarg" refType="h" fact="0.3"/>
                <dgm:constr type="bMarg" refType="h" fact="0.3"/>
              </dgm:constrLst>
              <dgm:ruleLst>
                <dgm:rule type="primFontSz" val="11" fact="NaN" max="NaN"/>
              </dgm:ruleLst>
            </dgm:layoutNode>
          </dgm:if>
          <dgm:else name="Name14"/>
        </dgm:choose>
      </dgm:layoutNode>
      <dgm:forEach name="Name15"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lvl1pPr>
        <a:lvl2pPr>
          <a:lnSpc>
            <a:spcPct val="100000"/>
          </a:lnSpc>
        </a:lvl2pPr>
      </dgm1612:lstStyle>
    </a:ext>
  </dgm:extLst>
</dgm:layoutDef>
</file>

<file path=ppt/diagrams/layout12.xml><?xml version="1.0" encoding="utf-8"?>
<dgm:layoutDef xmlns:dgm="http://schemas.openxmlformats.org/drawingml/2006/diagram" xmlns:a="http://schemas.openxmlformats.org/drawingml/2006/main" uniqueId="urn:microsoft.com/office/officeart/2018/2/layout/IconVerticalSolidList">
  <dgm:title val="Icon Vertical Solid List"/>
  <dgm:desc val="Use to show a series of visuals from top to bottom with Level 1 or Level 1 and Level 2 text grouped in a shape. Works best with icons or small pictures with lengthier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hoose name="Name3">
      <dgm:if name="Name4" axis="ch" ptType="node" func="cnt" op="lte" val="3">
        <dgm:constrLst>
          <dgm:constr type="h" for="ch" forName="compNode" refType="h" fact="0.3"/>
          <dgm:constr type="w" for="ch" forName="compNode" refType="w"/>
          <dgm:constr type="h" for="ch" forName="sibTrans" refType="h" refFor="ch" refForName="compNode" fact="0.25"/>
          <dgm:constr type="primFontSz" for="des" forName="parTx" val="25"/>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5" axis="ch" ptType="node" func="cnt" op="lte" val="4">
        <dgm:constrLst>
          <dgm:constr type="h" for="ch" forName="compNode" refType="h" fact="0.3"/>
          <dgm:constr type="w" for="ch" forName="compNode" refType="w"/>
          <dgm:constr type="h" for="ch" forName="sibTrans" refType="h" refFor="ch" refForName="compNode" fact="0.25"/>
          <dgm:constr type="primFontSz" for="des" forName="parTx" val="22"/>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6" axis="ch" ptType="node" func="cnt" op="lte" val="6">
        <dgm:constrLst>
          <dgm:constr type="h" for="ch" forName="compNode" refType="h" fact="0.3"/>
          <dgm:constr type="w" for="ch" forName="compNode" refType="w"/>
          <dgm:constr type="h" for="ch" forName="sibTrans" refType="h" refFor="ch" refForName="compNode" fact="0.25"/>
          <dgm:constr type="primFontSz" for="des" forName="parTx" val="19"/>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else name="Name7">
        <dgm:constrLst>
          <dgm:constr type="h" for="ch" forName="compNode" refType="h" fact="0.3"/>
          <dgm:constr type="w" for="ch" forName="compNode" refType="w"/>
          <dgm:constr type="h" for="ch" forName="sibTrans" refType="h" refFor="ch" refForName="compNode" fact="0.25"/>
          <dgm:constr type="primFontSz" for="des" forName="parTx" val="16"/>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else>
    </dgm:choose>
    <dgm:ruleLst>
      <dgm:rule type="h" for="ch" forName="compNode" val="0" fact="NaN" max="NaN"/>
    </dgm:ruleLst>
    <dgm:forEach name="Name8" axis="ch" ptType="node">
      <dgm:layoutNode name="compNode">
        <dgm:alg type="composite"/>
        <dgm:shape xmlns:r="http://schemas.openxmlformats.org/officeDocument/2006/relationships" r:blip="">
          <dgm:adjLst/>
        </dgm:shape>
        <dgm:presOf axis="self"/>
        <dgm:choose name="Name9">
          <dgm:if name="Name10" axis="ch" ptType="node" func="cnt" op="gte" val="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w" for="ch" forName="parTx" refType="w" fact="0.45"/>
              <dgm:constr type="h" for="ch" forName="parTx" refType="h"/>
              <dgm:constr type="l" for="ch" forName="parTx" refType="r" refFor="ch" refForName="spaceRect"/>
              <dgm:constr type="t" for="ch" forName="parTx"/>
              <dgm:constr type="h" for="ch" forName="desTx" refType="h"/>
              <dgm:constr type="l" for="ch" forName="desTx" refType="r" refFor="ch" refForName="parTx"/>
              <dgm:constr type="t" for="ch" forName="desTx"/>
            </dgm:constrLst>
          </dgm:if>
          <dgm:else name="Name1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h" for="ch" forName="parTx" refType="h"/>
              <dgm:constr type="l" for="ch" forName="parTx" refType="r" refFor="ch" refForName="spaceRect"/>
              <dgm:constr type="t" for="ch" forName="parTx"/>
            </dgm:constrLst>
          </dgm:else>
        </dgm:choose>
        <dgm:ruleLst>
          <dgm:rule type="h" val="INF" fact="NaN" max="NaN"/>
        </dgm:ruleLst>
        <dgm:layoutNode name="bgRect" styleLbl="bgShp">
          <dgm:alg type="sp"/>
          <dgm:shape xmlns:r="http://schemas.openxmlformats.org/officeDocument/2006/relationships" type="roundRect" r:blip="">
            <dgm:adjLst>
              <dgm:adj idx="1" val="0.1"/>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parTx" styleLbl="revTx">
          <dgm:varLst>
            <dgm:chMax val="0"/>
            <dgm:chPref val="0"/>
          </dgm:varLst>
          <dgm:alg type="tx">
            <dgm:param type="txAnchorVert" val="mid"/>
            <dgm:param type="parTxLTRAlign" val="l"/>
            <dgm:param type="shpTxLTRAlignCh" val="l"/>
            <dgm:param type="parTxRTLAlign" val="r"/>
            <dgm:param type="shpTxRTLAlignCh" val="r"/>
          </dgm:alg>
          <dgm:shape xmlns:r="http://schemas.openxmlformats.org/officeDocument/2006/relationships" type="rect" r:blip="">
            <dgm:adjLst/>
          </dgm:shape>
          <dgm:presOf axis="self" ptType="node"/>
          <dgm:constrLst>
            <dgm:constr type="lMarg" refType="h" fact="0.3"/>
            <dgm:constr type="rMarg" refType="h" fact="0.3"/>
            <dgm:constr type="tMarg" refType="h" fact="0.3"/>
            <dgm:constr type="bMarg" refType="h" fact="0.3"/>
          </dgm:constrLst>
          <dgm:ruleLst>
            <dgm:rule type="primFontSz" val="14" fact="NaN" max="NaN"/>
            <dgm:rule type="h" val="INF" fact="NaN" max="NaN"/>
          </dgm:ruleLst>
        </dgm:layoutNode>
        <dgm:choose name="Name12">
          <dgm:if name="Name13" axis="ch" ptType="node" func="cnt" op="gte" val="1">
            <dgm:layoutNode name="desTx" styleLbl="revTx">
              <dgm:varLst/>
              <dgm:alg type="tx">
                <dgm:param type="txAnchorVertCh" val="mid"/>
                <dgm:param type="parTxLTRAlign" val="l"/>
                <dgm:param type="shpTxLTRAlignCh" val="l"/>
                <dgm:param type="parTxRTLAlign" val="r"/>
                <dgm:param type="shpTxRTLAlignCh" val="r"/>
                <dgm:param type="stBulletLvl" val="0"/>
              </dgm:alg>
              <dgm:shape xmlns:r="http://schemas.openxmlformats.org/officeDocument/2006/relationships" type="rect" r:blip="">
                <dgm:adjLst/>
              </dgm:shape>
              <dgm:presOf axis="des" ptType="node"/>
              <dgm:constrLst>
                <dgm:constr type="primFontSz" val="18"/>
                <dgm:constr type="secFontSz" refType="primFontSz"/>
                <dgm:constr type="lMarg" refType="h" fact="0.3"/>
                <dgm:constr type="rMarg" refType="h" fact="0.3"/>
                <dgm:constr type="tMarg" refType="h" fact="0.3"/>
                <dgm:constr type="bMarg" refType="h" fact="0.3"/>
              </dgm:constrLst>
              <dgm:ruleLst>
                <dgm:rule type="primFontSz" val="11" fact="NaN" max="NaN"/>
              </dgm:ruleLst>
            </dgm:layoutNode>
          </dgm:if>
          <dgm:else name="Name14"/>
        </dgm:choose>
      </dgm:layoutNode>
      <dgm:forEach name="Name15"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lvl1pPr>
        <a:lvl2pPr>
          <a:lnSpc>
            <a:spcPct val="100000"/>
          </a:lnSpc>
        </a:lvl2pPr>
      </dgm1612:lstStyle>
    </a:ext>
  </dgm:extLst>
</dgm:layoutDef>
</file>

<file path=ppt/diagrams/layout13.xml><?xml version="1.0" encoding="utf-8"?>
<dgm:layoutDef xmlns:dgm="http://schemas.openxmlformats.org/drawingml/2006/diagram" xmlns:a="http://schemas.openxmlformats.org/drawingml/2006/main" uniqueId="urn:microsoft.com/office/officeart/2018/2/layout/IconVerticalSolidList">
  <dgm:title val="Icon Vertical Solid List"/>
  <dgm:desc val="Use to show a series of visuals from top to bottom with Level 1 or Level 1 and Level 2 text grouped in a shape. Works best with icons or small pictures with lengthier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hoose name="Name3">
      <dgm:if name="Name4" axis="ch" ptType="node" func="cnt" op="lte" val="3">
        <dgm:constrLst>
          <dgm:constr type="h" for="ch" forName="compNode" refType="h" fact="0.3"/>
          <dgm:constr type="w" for="ch" forName="compNode" refType="w"/>
          <dgm:constr type="h" for="ch" forName="sibTrans" refType="h" refFor="ch" refForName="compNode" fact="0.25"/>
          <dgm:constr type="primFontSz" for="des" forName="parTx" val="25"/>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5" axis="ch" ptType="node" func="cnt" op="lte" val="4">
        <dgm:constrLst>
          <dgm:constr type="h" for="ch" forName="compNode" refType="h" fact="0.3"/>
          <dgm:constr type="w" for="ch" forName="compNode" refType="w"/>
          <dgm:constr type="h" for="ch" forName="sibTrans" refType="h" refFor="ch" refForName="compNode" fact="0.25"/>
          <dgm:constr type="primFontSz" for="des" forName="parTx" val="22"/>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6" axis="ch" ptType="node" func="cnt" op="lte" val="6">
        <dgm:constrLst>
          <dgm:constr type="h" for="ch" forName="compNode" refType="h" fact="0.3"/>
          <dgm:constr type="w" for="ch" forName="compNode" refType="w"/>
          <dgm:constr type="h" for="ch" forName="sibTrans" refType="h" refFor="ch" refForName="compNode" fact="0.25"/>
          <dgm:constr type="primFontSz" for="des" forName="parTx" val="19"/>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else name="Name7">
        <dgm:constrLst>
          <dgm:constr type="h" for="ch" forName="compNode" refType="h" fact="0.3"/>
          <dgm:constr type="w" for="ch" forName="compNode" refType="w"/>
          <dgm:constr type="h" for="ch" forName="sibTrans" refType="h" refFor="ch" refForName="compNode" fact="0.25"/>
          <dgm:constr type="primFontSz" for="des" forName="parTx" val="16"/>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else>
    </dgm:choose>
    <dgm:ruleLst>
      <dgm:rule type="h" for="ch" forName="compNode" val="0" fact="NaN" max="NaN"/>
    </dgm:ruleLst>
    <dgm:forEach name="Name8" axis="ch" ptType="node">
      <dgm:layoutNode name="compNode">
        <dgm:alg type="composite"/>
        <dgm:shape xmlns:r="http://schemas.openxmlformats.org/officeDocument/2006/relationships" r:blip="">
          <dgm:adjLst/>
        </dgm:shape>
        <dgm:presOf axis="self"/>
        <dgm:choose name="Name9">
          <dgm:if name="Name10" axis="ch" ptType="node" func="cnt" op="gte" val="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w" for="ch" forName="parTx" refType="w" fact="0.45"/>
              <dgm:constr type="h" for="ch" forName="parTx" refType="h"/>
              <dgm:constr type="l" for="ch" forName="parTx" refType="r" refFor="ch" refForName="spaceRect"/>
              <dgm:constr type="t" for="ch" forName="parTx"/>
              <dgm:constr type="h" for="ch" forName="desTx" refType="h"/>
              <dgm:constr type="l" for="ch" forName="desTx" refType="r" refFor="ch" refForName="parTx"/>
              <dgm:constr type="t" for="ch" forName="desTx"/>
            </dgm:constrLst>
          </dgm:if>
          <dgm:else name="Name1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h" for="ch" forName="parTx" refType="h"/>
              <dgm:constr type="l" for="ch" forName="parTx" refType="r" refFor="ch" refForName="spaceRect"/>
              <dgm:constr type="t" for="ch" forName="parTx"/>
            </dgm:constrLst>
          </dgm:else>
        </dgm:choose>
        <dgm:ruleLst>
          <dgm:rule type="h" val="INF" fact="NaN" max="NaN"/>
        </dgm:ruleLst>
        <dgm:layoutNode name="bgRect" styleLbl="bgShp">
          <dgm:alg type="sp"/>
          <dgm:shape xmlns:r="http://schemas.openxmlformats.org/officeDocument/2006/relationships" type="roundRect" r:blip="">
            <dgm:adjLst>
              <dgm:adj idx="1" val="0.1"/>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parTx" styleLbl="revTx">
          <dgm:varLst>
            <dgm:chMax val="0"/>
            <dgm:chPref val="0"/>
          </dgm:varLst>
          <dgm:alg type="tx">
            <dgm:param type="txAnchorVert" val="mid"/>
            <dgm:param type="parTxLTRAlign" val="l"/>
            <dgm:param type="shpTxLTRAlignCh" val="l"/>
            <dgm:param type="parTxRTLAlign" val="r"/>
            <dgm:param type="shpTxRTLAlignCh" val="r"/>
          </dgm:alg>
          <dgm:shape xmlns:r="http://schemas.openxmlformats.org/officeDocument/2006/relationships" type="rect" r:blip="">
            <dgm:adjLst/>
          </dgm:shape>
          <dgm:presOf axis="self" ptType="node"/>
          <dgm:constrLst>
            <dgm:constr type="lMarg" refType="h" fact="0.3"/>
            <dgm:constr type="rMarg" refType="h" fact="0.3"/>
            <dgm:constr type="tMarg" refType="h" fact="0.3"/>
            <dgm:constr type="bMarg" refType="h" fact="0.3"/>
          </dgm:constrLst>
          <dgm:ruleLst>
            <dgm:rule type="primFontSz" val="14" fact="NaN" max="NaN"/>
            <dgm:rule type="h" val="INF" fact="NaN" max="NaN"/>
          </dgm:ruleLst>
        </dgm:layoutNode>
        <dgm:choose name="Name12">
          <dgm:if name="Name13" axis="ch" ptType="node" func="cnt" op="gte" val="1">
            <dgm:layoutNode name="desTx" styleLbl="revTx">
              <dgm:varLst/>
              <dgm:alg type="tx">
                <dgm:param type="txAnchorVertCh" val="mid"/>
                <dgm:param type="parTxLTRAlign" val="l"/>
                <dgm:param type="shpTxLTRAlignCh" val="l"/>
                <dgm:param type="parTxRTLAlign" val="r"/>
                <dgm:param type="shpTxRTLAlignCh" val="r"/>
                <dgm:param type="stBulletLvl" val="0"/>
              </dgm:alg>
              <dgm:shape xmlns:r="http://schemas.openxmlformats.org/officeDocument/2006/relationships" type="rect" r:blip="">
                <dgm:adjLst/>
              </dgm:shape>
              <dgm:presOf axis="des" ptType="node"/>
              <dgm:constrLst>
                <dgm:constr type="primFontSz" val="18"/>
                <dgm:constr type="secFontSz" refType="primFontSz"/>
                <dgm:constr type="lMarg" refType="h" fact="0.3"/>
                <dgm:constr type="rMarg" refType="h" fact="0.3"/>
                <dgm:constr type="tMarg" refType="h" fact="0.3"/>
                <dgm:constr type="bMarg" refType="h" fact="0.3"/>
              </dgm:constrLst>
              <dgm:ruleLst>
                <dgm:rule type="primFontSz" val="11" fact="NaN" max="NaN"/>
              </dgm:ruleLst>
            </dgm:layoutNode>
          </dgm:if>
          <dgm:else name="Name14"/>
        </dgm:choose>
      </dgm:layoutNode>
      <dgm:forEach name="Name15"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lvl1pPr>
        <a:lvl2pPr>
          <a:lnSpc>
            <a:spcPct val="100000"/>
          </a:lnSpc>
        </a:lvl2pPr>
      </dgm1612:lstStyle>
    </a:ext>
  </dgm:extLst>
</dgm:layoutDef>
</file>

<file path=ppt/diagrams/layout14.xml><?xml version="1.0" encoding="utf-8"?>
<dgm:layoutDef xmlns:dgm="http://schemas.openxmlformats.org/drawingml/2006/diagram" xmlns:a="http://schemas.openxmlformats.org/drawingml/2006/main" uniqueId="urn:microsoft.com/office/officeart/2005/8/layout/venn2">
  <dgm:title val=""/>
  <dgm:desc val=""/>
  <dgm:catLst>
    <dgm:cat type="relationship" pri="30000"/>
  </dgm:catLst>
  <dgm:samp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resizeHandles val="exact"/>
    </dgm:varLst>
    <dgm:alg type="composite">
      <dgm:param type="ar" val="1"/>
    </dgm:alg>
    <dgm:shape xmlns:r="http://schemas.openxmlformats.org/officeDocument/2006/relationships" r:blip="">
      <dgm:adjLst/>
    </dgm:shape>
    <dgm:presOf/>
    <dgm:choose name="Name1">
      <dgm:if name="Name2" axis="ch" ptType="node" func="cnt" op="lte" val="3">
        <dgm:constrLst>
          <dgm:constr type="w" for="ch" forName="comp1" refType="w"/>
          <dgm:constr type="h" for="ch" forName="comp1" refType="w" refFor="ch" refForName="comp1"/>
          <dgm:constr type="w" for="ch" forName="comp2" refType="w" fact="0.75"/>
          <dgm:constr type="h" for="ch" forName="comp2" refType="w" refFor="ch" refForName="comp2"/>
          <dgm:constr type="ctrX" for="ch" forName="comp2" refType="ctrX" refFor="ch" refForName="comp1"/>
          <dgm:constr type="b" for="ch" forName="comp2" refType="b" refFor="ch" refForName="comp1"/>
          <dgm:constr type="w" for="ch" forName="comp3" refType="w" fact="0.5"/>
          <dgm:constr type="h" for="ch" forName="comp3" refType="w" refFor="ch" refForName="comp3"/>
          <dgm:constr type="ctrX" for="ch" forName="comp3" refType="ctrX" refFor="ch" refForName="comp1"/>
          <dgm:constr type="b" for="ch" forName="comp3" refType="b" refFor="ch" refForName="comp1"/>
          <dgm:constr type="primFontSz" for="des" ptType="node" op="equ" val="65"/>
        </dgm:constrLst>
      </dgm:if>
      <dgm:if name="Name3" axis="ch" ptType="node" func="cnt" op="equ" val="4">
        <dgm:constrLst>
          <dgm:constr type="w" for="ch" forName="comp1" refType="w"/>
          <dgm:constr type="h" for="ch" forName="comp1" refType="w" refFor="ch" refForName="comp1"/>
          <dgm:constr type="w" for="ch" forName="comp2" refType="w" fact="0.8"/>
          <dgm:constr type="h" for="ch" forName="comp2" refType="w" refFor="ch" refForName="comp2"/>
          <dgm:constr type="ctrX" for="ch" forName="comp2" refType="ctrX" refFor="ch" refForName="comp1"/>
          <dgm:constr type="b" for="ch" forName="comp2" refType="b" refFor="ch" refForName="comp1"/>
          <dgm:constr type="w" for="ch" forName="comp3" refType="w" fact="0.6"/>
          <dgm:constr type="h" for="ch" forName="comp3" refType="w" refFor="ch" refForName="comp3"/>
          <dgm:constr type="ctrX" for="ch" forName="comp3" refType="ctrX" refFor="ch" refForName="comp1"/>
          <dgm:constr type="b" for="ch" forName="comp3" refType="b" refFor="ch" refForName="comp1"/>
          <dgm:constr type="w" for="ch" forName="comp4" refType="w" fact="0.4"/>
          <dgm:constr type="h" for="ch" forName="comp4" refType="w" refFor="ch" refForName="comp4"/>
          <dgm:constr type="ctrX" for="ch" forName="comp4" refType="ctrX" refFor="ch" refForName="comp1"/>
          <dgm:constr type="b" for="ch" forName="comp4" refType="b" refFor="ch" refForName="comp1"/>
          <dgm:constr type="primFontSz" for="des" ptType="node" op="equ" val="65"/>
        </dgm:constrLst>
      </dgm:if>
      <dgm:else name="Name4">
        <dgm:constrLst>
          <dgm:constr type="w" for="ch" forName="comp1" refType="w"/>
          <dgm:constr type="h" for="ch" forName="comp1" refType="w" refFor="ch" refForName="comp1"/>
          <dgm:constr type="w" for="ch" forName="comp2" refType="w" fact="0.85"/>
          <dgm:constr type="h" for="ch" forName="comp2" refType="w" refFor="ch" refForName="comp2"/>
          <dgm:constr type="ctrX" for="ch" forName="comp2" refType="ctrX" refFor="ch" refForName="comp1"/>
          <dgm:constr type="b" for="ch" forName="comp2" refType="b" refFor="ch" refForName="comp1"/>
          <dgm:constr type="w" for="ch" forName="comp3" refType="w" fact="0.7"/>
          <dgm:constr type="h" for="ch" forName="comp3" refType="w" refFor="ch" refForName="comp3"/>
          <dgm:constr type="ctrX" for="ch" forName="comp3" refType="ctrX" refFor="ch" refForName="comp1"/>
          <dgm:constr type="b" for="ch" forName="comp3" refType="b" refFor="ch" refForName="comp1"/>
          <dgm:constr type="w" for="ch" forName="comp4" refType="w" fact="0.55"/>
          <dgm:constr type="h" for="ch" forName="comp4" refType="w" refFor="ch" refForName="comp4"/>
          <dgm:constr type="ctrX" for="ch" forName="comp4" refType="ctrX" refFor="ch" refForName="comp1"/>
          <dgm:constr type="b" for="ch" forName="comp4" refType="b" refFor="ch" refForName="comp1"/>
          <dgm:constr type="w" for="ch" forName="comp5" refType="w" fact="0.4"/>
          <dgm:constr type="h" for="ch" forName="comp5" refType="w" refFor="ch" refForName="comp5"/>
          <dgm:constr type="ctrX" for="ch" forName="comp5" refType="ctrX" refFor="ch" refForName="comp1"/>
          <dgm:constr type="b" for="ch" forName="comp5" refType="b" refFor="ch" refForName="comp1"/>
          <dgm:constr type="w" for="ch" forName="comp6" refType="w" fact="0.25"/>
          <dgm:constr type="h" for="ch" forName="comp6" refType="w" refFor="ch" refForName="comp6"/>
          <dgm:constr type="ctrX" for="ch" forName="comp6" refType="ctrX" refFor="ch" refForName="comp1"/>
          <dgm:constr type="b" for="ch" forName="comp6" refType="b" refFor="ch" refForName="comp1"/>
          <dgm:constr type="w" for="ch" forName="comp7" refType="w" fact="0.15"/>
          <dgm:constr type="h" for="ch" forName="comp7" refType="w" refFor="ch" refForName="comp7"/>
          <dgm:constr type="ctrX" for="ch" forName="comp7" refType="ctrX" refFor="ch" refForName="comp1"/>
          <dgm:constr type="b" for="ch" forName="comp7" refType="b" refFor="ch" refForName="comp1"/>
          <dgm:constr type="primFontSz" for="des" ptType="node" op="equ" val="65"/>
        </dgm:constrLst>
      </dgm:else>
    </dgm:choose>
    <dgm:ruleLst/>
    <dgm:choose name="Name5">
      <dgm:if name="Name6" axis="ch" ptType="node" func="cnt" op="gte" val="1">
        <dgm:layoutNode name="comp1">
          <dgm:alg type="composite"/>
          <dgm:shape xmlns:r="http://schemas.openxmlformats.org/officeDocument/2006/relationships" r:blip="">
            <dgm:adjLst/>
          </dgm:shape>
          <dgm:presOf/>
          <dgm:choose name="Name7">
            <dgm:if name="Name8" axis="ch" ptType="node" func="cnt" op="equ" val="1">
              <dgm:constrLst>
                <dgm:constr type="w" for="ch" forName="circle1" refType="w"/>
                <dgm:constr type="h" for="ch" forName="circle1" refType="h"/>
                <dgm:constr type="ctrX" for="ch" forName="circle1" refType="w" fact="0.5"/>
                <dgm:constr type="ctrY" for="ch" forName="circle1" refType="h" fact="0.5"/>
                <dgm:constr type="ctrX" for="ch" forName="c1text" refType="w" fact="0.5"/>
                <dgm:constr type="ctrY" for="ch" forName="c1text" refType="h" fact="0.5"/>
                <dgm:constr type="w" for="ch" forName="c1text" refType="w" refFor="ch" refForName="circle1" fact="0.70711"/>
                <dgm:constr type="h" for="ch" forName="c1text" refType="h" refFor="ch" refForName="circle1" fact="0.5"/>
              </dgm:constrLst>
            </dgm:if>
            <dgm:if name="Name9" axis="ch" ptType="node" func="cnt" op="equ" val="2">
              <dgm:constrLst>
                <dgm:constr type="w" for="ch" forName="circle1" refType="w"/>
                <dgm:constr type="h" for="ch" forName="circle1" refType="h"/>
                <dgm:constr type="ctrX" for="ch" forName="circle1" refType="w" fact="0.5"/>
                <dgm:constr type="ctrY" for="ch" forName="circle1" refType="h" fact="0.5"/>
                <dgm:constr type="ctrX" for="ch" forName="c1text" refType="w" fact="0.5"/>
                <dgm:constr type="ctrY" for="ch" forName="c1text" refType="h" fact="0.16"/>
                <dgm:constr type="w" for="ch" forName="c1text" refType="w" refFor="ch" refForName="circle1" fact="0.525"/>
                <dgm:constr type="h" for="ch" forName="c1text" refType="h" refFor="ch" refForName="circle1" fact="0.17"/>
              </dgm:constrLst>
            </dgm:if>
            <dgm:if name="Name10" axis="ch" ptType="node" func="cnt" op="equ" val="3">
              <dgm:constrLst>
                <dgm:constr type="w" for="ch" forName="circle1" refType="w"/>
                <dgm:constr type="h" for="ch" forName="circle1" refType="h"/>
                <dgm:constr type="ctrX" for="ch" forName="circle1" refType="w" fact="0.5"/>
                <dgm:constr type="ctrY" for="ch" forName="circle1" refType="h" fact="0.5"/>
                <dgm:constr type="ctrX" for="ch" forName="c1text" refType="w" fact="0.5"/>
                <dgm:constr type="ctrY" for="ch" forName="c1text" refType="h" fact="0.125"/>
                <dgm:constr type="w" for="ch" forName="c1text" refType="w" refFor="ch" refForName="circle1" fact="0.3495"/>
                <dgm:constr type="h" for="ch" forName="c1text" refType="h" refFor="ch" refForName="circle1" fact="0.15"/>
              </dgm:constrLst>
            </dgm:if>
            <dgm:if name="Name11" axis="ch" ptType="node" func="cnt" op="equ" val="4">
              <dgm:constrLst>
                <dgm:constr type="w" for="ch" forName="circle1" refType="w"/>
                <dgm:constr type="h" for="ch" forName="circle1" refType="h"/>
                <dgm:constr type="ctrX" for="ch" forName="circle1" refType="w" fact="0.5"/>
                <dgm:constr type="ctrY" for="ch" forName="circle1" refType="h" fact="0.5"/>
                <dgm:constr type="ctrX" for="ch" forName="c1text" refType="w" fact="0.5"/>
                <dgm:constr type="ctrY" for="ch" forName="c1text" refType="h" fact="0.125"/>
                <dgm:constr type="w" for="ch" forName="c1text" refType="w" refFor="ch" refForName="circle1" fact="0.2796"/>
                <dgm:constr type="h" for="ch" forName="c1text" refType="h" refFor="ch" refForName="circle1" fact="0.15"/>
              </dgm:constrLst>
            </dgm:if>
            <dgm:if name="Name12" axis="ch" ptType="node" func="cnt" op="gte" val="5">
              <dgm:constrLst>
                <dgm:constr type="w" for="ch" forName="circle1" refType="w"/>
                <dgm:constr type="h" for="ch" forName="circle1" refType="h"/>
                <dgm:constr type="ctrX" for="ch" forName="circle1" refType="w" fact="0.5"/>
                <dgm:constr type="ctrY" for="ch" forName="circle1" refType="h" fact="0.5"/>
                <dgm:constr type="ctrX" for="ch" forName="c1text" refType="w" fact="0.5"/>
                <dgm:constr type="ctrY" for="ch" forName="c1text" refType="h" fact="0.1"/>
                <dgm:constr type="w" for="ch" forName="c1text" refType="w" refFor="ch" refForName="circle1" fact="0.375"/>
                <dgm:constr type="h" for="ch" forName="c1text" refType="h" refFor="ch" refForName="circle1" fact="0.1"/>
              </dgm:constrLst>
            </dgm:if>
            <dgm:else name="Name13"/>
          </dgm:choose>
          <dgm:ruleLst/>
          <dgm:layoutNode name="circle1" styleLbl="node1">
            <dgm:alg type="sp"/>
            <dgm:shape xmlns:r="http://schemas.openxmlformats.org/officeDocument/2006/relationships" type="ellipse" r:blip="">
              <dgm:adjLst/>
            </dgm:shape>
            <dgm:presOf axis="ch desOrSelf" ptType="node node" st="1 1" cnt="1 0"/>
            <dgm:constrLst>
              <dgm:constr type="h" refType="w"/>
            </dgm:constrLst>
            <dgm:ruleLst/>
          </dgm:layoutNode>
          <dgm:layoutNode name="c1text">
            <dgm:varLst>
              <dgm:bulletEnabled val="1"/>
            </dgm:varLst>
            <dgm:alg type="tx"/>
            <dgm:shape xmlns:r="http://schemas.openxmlformats.org/officeDocument/2006/relationships" type="rect" r:blip="" hideGeom="1">
              <dgm:adjLst/>
            </dgm:shape>
            <dgm:presOf axis="ch desOrSelf" ptType="node node" st="1 1" cnt="1 0"/>
            <dgm:constrLst/>
            <dgm:ruleLst>
              <dgm:rule type="primFontSz" val="5" fact="NaN" max="NaN"/>
            </dgm:ruleLst>
          </dgm:layoutNode>
        </dgm:layoutNode>
      </dgm:if>
      <dgm:else name="Name14"/>
    </dgm:choose>
    <dgm:choose name="Name15">
      <dgm:if name="Name16" axis="ch" ptType="node" func="cnt" op="gte" val="2">
        <dgm:layoutNode name="comp2">
          <dgm:alg type="composite"/>
          <dgm:shape xmlns:r="http://schemas.openxmlformats.org/officeDocument/2006/relationships" r:blip="">
            <dgm:adjLst/>
          </dgm:shape>
          <dgm:presOf/>
          <dgm:choose name="Name17">
            <dgm:if name="Name18" axis="ch" ptType="node" func="cnt" op="equ" val="2">
              <dgm:constrLst>
                <dgm:constr type="w" for="ch" forName="circle2" refType="w"/>
                <dgm:constr type="h" for="ch" forName="circle2" refType="h"/>
                <dgm:constr type="ctrX" for="ch" forName="circle2" refType="w" fact="0.5"/>
                <dgm:constr type="ctrY" for="ch" forName="circle2" refType="h" fact="0.5"/>
                <dgm:constr type="ctrX" for="ch" forName="c2text" refType="w" fact="0.5"/>
                <dgm:constr type="ctrY" for="ch" forName="c2text" refType="h" fact="0.5"/>
                <dgm:constr type="w" for="ch" forName="c2text" refType="w" refFor="ch" refForName="circle2" fact="0.70711"/>
                <dgm:constr type="h" for="ch" forName="c2text" refType="h" refFor="ch" refForName="circle2" fact="0.5"/>
              </dgm:constrLst>
            </dgm:if>
            <dgm:if name="Name19" axis="ch" ptType="node" func="cnt" op="equ" val="3">
              <dgm:constrLst>
                <dgm:constr type="w" for="ch" forName="circle2" refType="w"/>
                <dgm:constr type="h" for="ch" forName="circle2" refType="h"/>
                <dgm:constr type="ctrX" for="ch" forName="circle2" refType="w" fact="0.5"/>
                <dgm:constr type="ctrY" for="ch" forName="circle2" refType="h" fact="0.5"/>
                <dgm:constr type="ctrX" for="ch" forName="c2text" refType="w" fact="0.5"/>
                <dgm:constr type="ctrY" for="ch" forName="c2text" refType="h" fact="0.15625"/>
                <dgm:constr type="w" for="ch" forName="c2text" refType="w" refFor="ch" refForName="circle2" fact="0.466"/>
                <dgm:constr type="h" for="ch" forName="c2text" refType="h" refFor="ch" refForName="circle2" fact="0.1875"/>
              </dgm:constrLst>
            </dgm:if>
            <dgm:if name="Name20" axis="ch" ptType="node" func="cnt" op="equ" val="4">
              <dgm:constrLst>
                <dgm:constr type="w" for="ch" forName="circle2" refType="w"/>
                <dgm:constr type="h" for="ch" forName="circle2" refType="h"/>
                <dgm:constr type="ctrX" for="ch" forName="circle2" refType="w" fact="0.5"/>
                <dgm:constr type="ctrY" for="ch" forName="circle2" refType="h" fact="0.5"/>
                <dgm:constr type="ctrX" for="ch" forName="c2text" refType="w" fact="0.5"/>
                <dgm:constr type="ctrY" for="ch" forName="c2text" refType="h" fact="0.15"/>
                <dgm:constr type="w" for="ch" forName="c2text" refType="w" refFor="ch" refForName="circle2" fact="0.3495"/>
                <dgm:constr type="h" for="ch" forName="c2text" refType="h" refFor="ch" refForName="circle2" fact="0.18"/>
              </dgm:constrLst>
            </dgm:if>
            <dgm:if name="Name21" axis="ch" ptType="node" func="cnt" op="gte" val="5">
              <dgm:constrLst>
                <dgm:constr type="w" for="ch" forName="circle2" refType="w"/>
                <dgm:constr type="h" for="ch" forName="circle2" refType="h"/>
                <dgm:constr type="ctrX" for="ch" forName="circle2" refType="w" fact="0.5"/>
                <dgm:constr type="ctrY" for="ch" forName="circle2" refType="h" fact="0.5"/>
                <dgm:constr type="ctrX" for="ch" forName="c2text" refType="w" fact="0.5"/>
                <dgm:constr type="ctrY" for="ch" forName="c2text" refType="h" fact="0.115"/>
                <dgm:constr type="w" for="ch" forName="c2text" refType="w" refFor="ch" refForName="circle2" fact="0.43125"/>
                <dgm:constr type="h" for="ch" forName="c2text" refType="h" refFor="ch" refForName="circle2" fact="0.115"/>
              </dgm:constrLst>
            </dgm:if>
            <dgm:else name="Name22"/>
          </dgm:choose>
          <dgm:ruleLst/>
          <dgm:layoutNode name="circle2" styleLbl="node1">
            <dgm:alg type="sp"/>
            <dgm:shape xmlns:r="http://schemas.openxmlformats.org/officeDocument/2006/relationships" type="ellipse" r:blip="">
              <dgm:adjLst/>
            </dgm:shape>
            <dgm:presOf axis="ch desOrSelf" ptType="node node" st="2 1" cnt="1 0"/>
            <dgm:constrLst>
              <dgm:constr type="h" refType="w"/>
            </dgm:constrLst>
            <dgm:ruleLst/>
          </dgm:layoutNode>
          <dgm:layoutNode name="c2text">
            <dgm:varLst>
              <dgm:bulletEnabled val="1"/>
            </dgm:varLst>
            <dgm:alg type="tx"/>
            <dgm:shape xmlns:r="http://schemas.openxmlformats.org/officeDocument/2006/relationships" type="rect" r:blip="" hideGeom="1">
              <dgm:adjLst/>
            </dgm:shape>
            <dgm:presOf axis="ch desOrSelf" ptType="node node" st="2 1" cnt="1 0"/>
            <dgm:constrLst/>
            <dgm:ruleLst>
              <dgm:rule type="primFontSz" val="5" fact="NaN" max="NaN"/>
            </dgm:ruleLst>
          </dgm:layoutNode>
        </dgm:layoutNode>
      </dgm:if>
      <dgm:else name="Name23"/>
    </dgm:choose>
    <dgm:choose name="Name24">
      <dgm:if name="Name25" axis="ch" ptType="node" func="cnt" op="gte" val="3">
        <dgm:layoutNode name="comp3">
          <dgm:alg type="composite"/>
          <dgm:shape xmlns:r="http://schemas.openxmlformats.org/officeDocument/2006/relationships" r:blip="">
            <dgm:adjLst/>
          </dgm:shape>
          <dgm:presOf/>
          <dgm:choose name="Name26">
            <dgm:if name="Name27" axis="ch" ptType="node" func="cnt" op="equ" val="3">
              <dgm:constrLst>
                <dgm:constr type="w" for="ch" forName="circle3" refType="w"/>
                <dgm:constr type="h" for="ch" forName="circle3" refType="h"/>
                <dgm:constr type="ctrX" for="ch" forName="circle3" refType="w" fact="0.5"/>
                <dgm:constr type="ctrY" for="ch" forName="circle3" refType="h" fact="0.5"/>
                <dgm:constr type="ctrX" for="ch" forName="c3text" refType="w" fact="0.5"/>
                <dgm:constr type="ctrY" for="ch" forName="c3text" refType="h" fact="0.5"/>
                <dgm:constr type="w" for="ch" forName="c3text" refType="w" refFor="ch" refForName="circle3" fact="0.70711"/>
                <dgm:constr type="h" for="ch" forName="c3text" refType="h" refFor="ch" refForName="circle3" fact="0.5"/>
              </dgm:constrLst>
            </dgm:if>
            <dgm:if name="Name28" axis="ch" ptType="node" func="cnt" op="equ" val="4">
              <dgm:constrLst>
                <dgm:constr type="w" for="ch" forName="circle3" refType="w"/>
                <dgm:constr type="h" for="ch" forName="circle3" refType="h"/>
                <dgm:constr type="ctrX" for="ch" forName="circle3" refType="w" fact="0.5"/>
                <dgm:constr type="ctrY" for="ch" forName="circle3" refType="h" fact="0.5"/>
                <dgm:constr type="ctrX" for="ch" forName="c3text" refType="w" fact="0.5"/>
                <dgm:constr type="ctrY" for="ch" forName="c3text" refType="h" fact="0.1875"/>
                <dgm:constr type="w" for="ch" forName="c3text" refType="w" refFor="ch" refForName="circle3" fact="0.466"/>
                <dgm:constr type="h" for="ch" forName="c3text" refType="h" refFor="ch" refForName="circle3" fact="0.225"/>
              </dgm:constrLst>
            </dgm:if>
            <dgm:if name="Name29" axis="ch" ptType="node" func="cnt" op="gte" val="5">
              <dgm:constrLst>
                <dgm:constr type="w" for="ch" forName="circle3" refType="w"/>
                <dgm:constr type="h" for="ch" forName="circle3" refType="h"/>
                <dgm:constr type="ctrX" for="ch" forName="circle3" refType="w" fact="0.5"/>
                <dgm:constr type="ctrY" for="ch" forName="circle3" refType="h" fact="0.5"/>
                <dgm:constr type="ctrX" for="ch" forName="c3text" refType="w" fact="0.5"/>
                <dgm:constr type="ctrY" for="ch" forName="c3text" refType="h" fact="0.138"/>
                <dgm:constr type="w" for="ch" forName="c3text" refType="w" refFor="ch" refForName="circle3" fact="0.5175"/>
                <dgm:constr type="h" for="ch" forName="c3text" refType="h" refFor="ch" refForName="circle3" fact="0.138"/>
              </dgm:constrLst>
            </dgm:if>
            <dgm:else name="Name30"/>
          </dgm:choose>
          <dgm:ruleLst/>
          <dgm:layoutNode name="circle3" styleLbl="node1">
            <dgm:alg type="sp"/>
            <dgm:shape xmlns:r="http://schemas.openxmlformats.org/officeDocument/2006/relationships" type="ellipse" r:blip="">
              <dgm:adjLst/>
            </dgm:shape>
            <dgm:presOf axis="ch desOrSelf" ptType="node node" st="3 1" cnt="1 0"/>
            <dgm:constrLst>
              <dgm:constr type="h" refType="w"/>
            </dgm:constrLst>
            <dgm:ruleLst/>
          </dgm:layoutNode>
          <dgm:layoutNode name="c3text">
            <dgm:varLst>
              <dgm:bulletEnabled val="1"/>
            </dgm:varLst>
            <dgm:alg type="tx"/>
            <dgm:shape xmlns:r="http://schemas.openxmlformats.org/officeDocument/2006/relationships" type="rect" r:blip="" hideGeom="1">
              <dgm:adjLst/>
            </dgm:shape>
            <dgm:presOf axis="ch desOrSelf" ptType="node node" st="3 1" cnt="1 0"/>
            <dgm:constrLst/>
            <dgm:ruleLst>
              <dgm:rule type="primFontSz" val="5" fact="NaN" max="NaN"/>
            </dgm:ruleLst>
          </dgm:layoutNode>
        </dgm:layoutNode>
      </dgm:if>
      <dgm:else name="Name31"/>
    </dgm:choose>
    <dgm:choose name="Name32">
      <dgm:if name="Name33" axis="ch" ptType="node" func="cnt" op="gte" val="4">
        <dgm:layoutNode name="comp4">
          <dgm:alg type="composite"/>
          <dgm:shape xmlns:r="http://schemas.openxmlformats.org/officeDocument/2006/relationships" r:blip="">
            <dgm:adjLst/>
          </dgm:shape>
          <dgm:presOf/>
          <dgm:choose name="Name34">
            <dgm:if name="Name35" axis="ch" ptType="node" func="cnt" op="equ" val="4">
              <dgm:constrLst>
                <dgm:constr type="w" for="ch" forName="circle4" refType="w"/>
                <dgm:constr type="h" for="ch" forName="circle4" refType="h"/>
                <dgm:constr type="ctrX" for="ch" forName="circle4" refType="w" fact="0.5"/>
                <dgm:constr type="ctrY" for="ch" forName="circle4" refType="h" fact="0.5"/>
                <dgm:constr type="ctrX" for="ch" forName="c4text" refType="w" fact="0.5"/>
                <dgm:constr type="ctrY" for="ch" forName="c4text" refType="h" fact="0.5"/>
                <dgm:constr type="w" for="ch" forName="c4text" refType="w" refFor="ch" refForName="circle4" fact="0.70711"/>
                <dgm:constr type="h" for="ch" forName="c4text" refType="h" refFor="ch" refForName="circle4" fact="0.5"/>
              </dgm:constrLst>
            </dgm:if>
            <dgm:if name="Name36" axis="ch" ptType="node" func="cnt" op="gte" val="5">
              <dgm:constrLst>
                <dgm:constr type="w" for="ch" forName="circle4" refType="w"/>
                <dgm:constr type="h" for="ch" forName="circle4" refType="h"/>
                <dgm:constr type="ctrX" for="ch" forName="circle4" refType="w" fact="0.5"/>
                <dgm:constr type="ctrY" for="ch" forName="circle4" refType="h" fact="0.5"/>
                <dgm:constr type="ctrX" for="ch" forName="c4text" refType="w" fact="0.5"/>
                <dgm:constr type="ctrY" for="ch" forName="c4text" refType="h" fact="0.18"/>
                <dgm:constr type="w" for="ch" forName="c4text" refType="w" refFor="ch" refForName="circle4" fact="0.54"/>
                <dgm:constr type="h" for="ch" forName="c4text" refType="h" refFor="ch" refForName="circle4" fact="0.18"/>
              </dgm:constrLst>
            </dgm:if>
            <dgm:else name="Name37"/>
          </dgm:choose>
          <dgm:ruleLst/>
          <dgm:layoutNode name="circle4" styleLbl="node1">
            <dgm:alg type="sp"/>
            <dgm:shape xmlns:r="http://schemas.openxmlformats.org/officeDocument/2006/relationships" type="ellipse" r:blip="">
              <dgm:adjLst/>
            </dgm:shape>
            <dgm:presOf axis="ch desOrSelf" ptType="node node" st="4 1" cnt="1 0"/>
            <dgm:constrLst>
              <dgm:constr type="h" refType="w"/>
            </dgm:constrLst>
            <dgm:ruleLst/>
          </dgm:layoutNode>
          <dgm:layoutNode name="c4text">
            <dgm:varLst>
              <dgm:bulletEnabled val="1"/>
            </dgm:varLst>
            <dgm:alg type="tx"/>
            <dgm:shape xmlns:r="http://schemas.openxmlformats.org/officeDocument/2006/relationships" type="rect" r:blip="" hideGeom="1">
              <dgm:adjLst/>
            </dgm:shape>
            <dgm:presOf axis="ch desOrSelf" ptType="node node" st="4 1" cnt="1 0"/>
            <dgm:constrLst/>
            <dgm:ruleLst>
              <dgm:rule type="primFontSz" val="5" fact="NaN" max="NaN"/>
            </dgm:ruleLst>
          </dgm:layoutNode>
        </dgm:layoutNode>
      </dgm:if>
      <dgm:else name="Name38"/>
    </dgm:choose>
    <dgm:choose name="Name39">
      <dgm:if name="Name40" axis="ch" ptType="node" func="cnt" op="gte" val="5">
        <dgm:layoutNode name="comp5">
          <dgm:alg type="composite"/>
          <dgm:shape xmlns:r="http://schemas.openxmlformats.org/officeDocument/2006/relationships" r:blip="">
            <dgm:adjLst/>
          </dgm:shape>
          <dgm:presOf/>
          <dgm:choose name="Name41">
            <dgm:if name="Name42" axis="ch" ptType="node" func="cnt" op="equ" val="5">
              <dgm:constrLst>
                <dgm:constr type="w" for="ch" forName="circle5" refType="w"/>
                <dgm:constr type="h" for="ch" forName="circle5" refType="h"/>
                <dgm:constr type="ctrX" for="ch" forName="circle5" refType="w" fact="0.5"/>
                <dgm:constr type="ctrY" for="ch" forName="circle5" refType="h" fact="0.5"/>
                <dgm:constr type="ctrX" for="ch" forName="c5text" refType="w" fact="0.5"/>
                <dgm:constr type="ctrY" for="ch" forName="c5text" refType="h" fact="0.5"/>
                <dgm:constr type="w" for="ch" forName="c5text" refType="w" refFor="ch" refForName="circle5" fact="0.70711"/>
                <dgm:constr type="h" for="ch" forName="c5text" refType="h" refFor="ch" refForName="circle5" fact="0.5"/>
              </dgm:constrLst>
            </dgm:if>
            <dgm:if name="Name43" axis="ch" ptType="node" func="cnt" op="gte" val="6">
              <dgm:constrLst>
                <dgm:constr type="w" for="ch" forName="circle5" refType="w"/>
                <dgm:constr type="h" for="ch" forName="circle5" refType="h"/>
                <dgm:constr type="ctrX" for="ch" forName="circle5" refType="w" fact="0.5"/>
                <dgm:constr type="ctrY" for="ch" forName="circle5" refType="h" fact="0.5"/>
                <dgm:constr type="ctrX" for="ch" forName="c5text" refType="w" fact="0.5"/>
                <dgm:constr type="ctrY" for="ch" forName="c5text" refType="h" fact="0.25"/>
                <dgm:constr type="w" for="ch" forName="c5text" refType="w" refFor="ch" refForName="circle5" fact="0.65"/>
                <dgm:constr type="h" for="ch" forName="c5text" refType="h" refFor="ch" refForName="circle5" fact="0.25"/>
              </dgm:constrLst>
            </dgm:if>
            <dgm:else name="Name44"/>
          </dgm:choose>
          <dgm:ruleLst/>
          <dgm:layoutNode name="circle5" styleLbl="node1">
            <dgm:alg type="sp"/>
            <dgm:shape xmlns:r="http://schemas.openxmlformats.org/officeDocument/2006/relationships" type="ellipse" r:blip="">
              <dgm:adjLst/>
            </dgm:shape>
            <dgm:presOf axis="ch desOrSelf" ptType="node node" st="5 1" cnt="1 0"/>
            <dgm:constrLst>
              <dgm:constr type="h" refType="w"/>
            </dgm:constrLst>
            <dgm:ruleLst/>
          </dgm:layoutNode>
          <dgm:layoutNode name="c5text">
            <dgm:varLst>
              <dgm:bulletEnabled val="1"/>
            </dgm:varLst>
            <dgm:alg type="tx"/>
            <dgm:shape xmlns:r="http://schemas.openxmlformats.org/officeDocument/2006/relationships" type="rect" r:blip="" hideGeom="1">
              <dgm:adjLst/>
            </dgm:shape>
            <dgm:presOf axis="ch desOrSelf" ptType="node node" st="5 1" cnt="1 0"/>
            <dgm:constrLst/>
            <dgm:ruleLst>
              <dgm:rule type="primFontSz" val="5" fact="NaN" max="NaN"/>
            </dgm:ruleLst>
          </dgm:layoutNode>
        </dgm:layoutNode>
      </dgm:if>
      <dgm:else name="Name45"/>
    </dgm:choose>
    <dgm:choose name="Name46">
      <dgm:if name="Name47" axis="ch" ptType="node" func="cnt" op="gte" val="6">
        <dgm:layoutNode name="comp6">
          <dgm:alg type="composite"/>
          <dgm:shape xmlns:r="http://schemas.openxmlformats.org/officeDocument/2006/relationships" r:blip="">
            <dgm:adjLst/>
          </dgm:shape>
          <dgm:presOf/>
          <dgm:choose name="Name48">
            <dgm:if name="Name49" axis="ch" ptType="node" func="cnt" op="equ" val="6">
              <dgm:constrLst>
                <dgm:constr type="w" for="ch" forName="circle6" refType="w"/>
                <dgm:constr type="h" for="ch" forName="circle6" refType="h"/>
                <dgm:constr type="ctrX" for="ch" forName="circle6" refType="w" fact="0.5"/>
                <dgm:constr type="ctrY" for="ch" forName="circle6" refType="h" fact="0.5"/>
                <dgm:constr type="ctrX" for="ch" forName="c6text" refType="w" fact="0.5"/>
                <dgm:constr type="ctrY" for="ch" forName="c6text" refType="h" fact="0.5"/>
                <dgm:constr type="w" for="ch" forName="c6text" refType="w" refFor="ch" refForName="circle6" fact="0.70711"/>
                <dgm:constr type="h" for="ch" forName="c6text" refType="h" refFor="ch" refForName="circle6" fact="0.5"/>
              </dgm:constrLst>
            </dgm:if>
            <dgm:if name="Name50" axis="ch" ptType="node" func="cnt" op="gte" val="7">
              <dgm:constrLst>
                <dgm:constr type="w" for="ch" forName="circle6" refType="w"/>
                <dgm:constr type="h" for="ch" forName="circle6" refType="h"/>
                <dgm:constr type="ctrX" for="ch" forName="circle6" refType="w" fact="0.5"/>
                <dgm:constr type="ctrY" for="ch" forName="circle6" refType="h" fact="0.5"/>
                <dgm:constr type="ctrX" for="ch" forName="c6text" refType="w" fact="0.5"/>
                <dgm:constr type="ctrY" for="ch" forName="c6text" refType="h" fact="0.27"/>
                <dgm:constr type="w" for="ch" forName="c6text" refType="w" refFor="ch" refForName="circle6" fact="0.68"/>
                <dgm:constr type="h" for="ch" forName="c6text" refType="h" refFor="ch" refForName="circle6" fact="0.241"/>
              </dgm:constrLst>
            </dgm:if>
            <dgm:else name="Name51"/>
          </dgm:choose>
          <dgm:ruleLst/>
          <dgm:layoutNode name="circle6" styleLbl="node1">
            <dgm:alg type="sp"/>
            <dgm:shape xmlns:r="http://schemas.openxmlformats.org/officeDocument/2006/relationships" type="ellipse" r:blip="">
              <dgm:adjLst/>
            </dgm:shape>
            <dgm:presOf axis="ch desOrSelf" ptType="node node" st="6 1" cnt="1 0"/>
            <dgm:constrLst>
              <dgm:constr type="h" refType="w"/>
            </dgm:constrLst>
            <dgm:ruleLst/>
          </dgm:layoutNode>
          <dgm:layoutNode name="c6text">
            <dgm:varLst>
              <dgm:bulletEnabled val="1"/>
            </dgm:varLst>
            <dgm:alg type="tx"/>
            <dgm:shape xmlns:r="http://schemas.openxmlformats.org/officeDocument/2006/relationships" type="rect" r:blip="" hideGeom="1">
              <dgm:adjLst/>
            </dgm:shape>
            <dgm:presOf axis="ch desOrSelf" ptType="node node" st="6 1" cnt="1 0"/>
            <dgm:constrLst/>
            <dgm:ruleLst>
              <dgm:rule type="primFontSz" val="5" fact="NaN" max="NaN"/>
            </dgm:ruleLst>
          </dgm:layoutNode>
        </dgm:layoutNode>
      </dgm:if>
      <dgm:else name="Name52"/>
    </dgm:choose>
    <dgm:choose name="Name53">
      <dgm:if name="Name54" axis="ch" ptType="node" func="cnt" op="gte" val="7">
        <dgm:layoutNode name="comp7">
          <dgm:alg type="composite"/>
          <dgm:shape xmlns:r="http://schemas.openxmlformats.org/officeDocument/2006/relationships" r:blip="">
            <dgm:adjLst/>
          </dgm:shape>
          <dgm:presOf/>
          <dgm:constrLst>
            <dgm:constr type="w" for="ch" forName="circle7" refType="w"/>
            <dgm:constr type="h" for="ch" forName="circle7" refType="h"/>
            <dgm:constr type="ctrX" for="ch" forName="circle7" refType="w" fact="0.5"/>
            <dgm:constr type="ctrY" for="ch" forName="circle7" refType="h" fact="0.5"/>
            <dgm:constr type="ctrX" for="ch" forName="c7text" refType="w" fact="0.5"/>
            <dgm:constr type="ctrY" for="ch" forName="c7text" refType="h" fact="0.5"/>
            <dgm:constr type="w" for="ch" forName="c7text" refType="w" refFor="ch" refForName="circle7" fact="0.70711"/>
            <dgm:constr type="h" for="ch" forName="c7text" refType="h" refFor="ch" refForName="circle7" fact="0.5"/>
          </dgm:constrLst>
          <dgm:ruleLst/>
          <dgm:layoutNode name="circle7" styleLbl="node1">
            <dgm:alg type="sp"/>
            <dgm:shape xmlns:r="http://schemas.openxmlformats.org/officeDocument/2006/relationships" type="ellipse" r:blip="">
              <dgm:adjLst/>
            </dgm:shape>
            <dgm:presOf axis="ch desOrSelf" ptType="node node" st="7 1" cnt="1 0"/>
            <dgm:constrLst>
              <dgm:constr type="h" refType="w"/>
            </dgm:constrLst>
            <dgm:ruleLst/>
          </dgm:layoutNode>
          <dgm:layoutNode name="c7text">
            <dgm:varLst>
              <dgm:bulletEnabled val="1"/>
            </dgm:varLst>
            <dgm:alg type="tx"/>
            <dgm:shape xmlns:r="http://schemas.openxmlformats.org/officeDocument/2006/relationships" type="rect" r:blip="" hideGeom="1">
              <dgm:adjLst/>
            </dgm:shape>
            <dgm:presOf axis="ch desOrSelf" ptType="node node" st="7 1" cnt="1 0"/>
            <dgm:constrLst/>
            <dgm:ruleLst>
              <dgm:rule type="primFontSz" val="5" fact="NaN" max="NaN"/>
            </dgm:ruleLst>
          </dgm:layoutNode>
        </dgm:layoutNode>
      </dgm:if>
      <dgm:else name="Name55"/>
    </dgm:choose>
  </dgm:layoutNode>
</dgm:layoutDef>
</file>

<file path=ppt/diagrams/layout15.xml><?xml version="1.0" encoding="utf-8"?>
<dgm:layoutDef xmlns:dgm="http://schemas.openxmlformats.org/drawingml/2006/diagram" xmlns:a="http://schemas.openxmlformats.org/drawingml/2006/main" uniqueId="urn:microsoft.com/office/officeart/2018/2/layout/IconVerticalSolidList">
  <dgm:title val="Icon Vertical Solid List"/>
  <dgm:desc val="Use to show a series of visuals from top to bottom with Level 1 or Level 1 and Level 2 text grouped in a shape. Works best with icons or small pictures with lengthier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hoose name="Name3">
      <dgm:if name="Name4" axis="ch" ptType="node" func="cnt" op="lte" val="3">
        <dgm:constrLst>
          <dgm:constr type="h" for="ch" forName="compNode" refType="h" fact="0.3"/>
          <dgm:constr type="w" for="ch" forName="compNode" refType="w"/>
          <dgm:constr type="h" for="ch" forName="sibTrans" refType="h" refFor="ch" refForName="compNode" fact="0.25"/>
          <dgm:constr type="primFontSz" for="des" forName="parTx" val="25"/>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5" axis="ch" ptType="node" func="cnt" op="lte" val="4">
        <dgm:constrLst>
          <dgm:constr type="h" for="ch" forName="compNode" refType="h" fact="0.3"/>
          <dgm:constr type="w" for="ch" forName="compNode" refType="w"/>
          <dgm:constr type="h" for="ch" forName="sibTrans" refType="h" refFor="ch" refForName="compNode" fact="0.25"/>
          <dgm:constr type="primFontSz" for="des" forName="parTx" val="22"/>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6" axis="ch" ptType="node" func="cnt" op="lte" val="6">
        <dgm:constrLst>
          <dgm:constr type="h" for="ch" forName="compNode" refType="h" fact="0.3"/>
          <dgm:constr type="w" for="ch" forName="compNode" refType="w"/>
          <dgm:constr type="h" for="ch" forName="sibTrans" refType="h" refFor="ch" refForName="compNode" fact="0.25"/>
          <dgm:constr type="primFontSz" for="des" forName="parTx" val="19"/>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else name="Name7">
        <dgm:constrLst>
          <dgm:constr type="h" for="ch" forName="compNode" refType="h" fact="0.3"/>
          <dgm:constr type="w" for="ch" forName="compNode" refType="w"/>
          <dgm:constr type="h" for="ch" forName="sibTrans" refType="h" refFor="ch" refForName="compNode" fact="0.25"/>
          <dgm:constr type="primFontSz" for="des" forName="parTx" val="16"/>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else>
    </dgm:choose>
    <dgm:ruleLst>
      <dgm:rule type="h" for="ch" forName="compNode" val="0" fact="NaN" max="NaN"/>
    </dgm:ruleLst>
    <dgm:forEach name="Name8" axis="ch" ptType="node">
      <dgm:layoutNode name="compNode">
        <dgm:alg type="composite"/>
        <dgm:shape xmlns:r="http://schemas.openxmlformats.org/officeDocument/2006/relationships" r:blip="">
          <dgm:adjLst/>
        </dgm:shape>
        <dgm:presOf axis="self"/>
        <dgm:choose name="Name9">
          <dgm:if name="Name10" axis="ch" ptType="node" func="cnt" op="gte" val="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w" for="ch" forName="parTx" refType="w" fact="0.45"/>
              <dgm:constr type="h" for="ch" forName="parTx" refType="h"/>
              <dgm:constr type="l" for="ch" forName="parTx" refType="r" refFor="ch" refForName="spaceRect"/>
              <dgm:constr type="t" for="ch" forName="parTx"/>
              <dgm:constr type="h" for="ch" forName="desTx" refType="h"/>
              <dgm:constr type="l" for="ch" forName="desTx" refType="r" refFor="ch" refForName="parTx"/>
              <dgm:constr type="t" for="ch" forName="desTx"/>
            </dgm:constrLst>
          </dgm:if>
          <dgm:else name="Name1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h" for="ch" forName="parTx" refType="h"/>
              <dgm:constr type="l" for="ch" forName="parTx" refType="r" refFor="ch" refForName="spaceRect"/>
              <dgm:constr type="t" for="ch" forName="parTx"/>
            </dgm:constrLst>
          </dgm:else>
        </dgm:choose>
        <dgm:ruleLst>
          <dgm:rule type="h" val="INF" fact="NaN" max="NaN"/>
        </dgm:ruleLst>
        <dgm:layoutNode name="bgRect" styleLbl="bgShp">
          <dgm:alg type="sp"/>
          <dgm:shape xmlns:r="http://schemas.openxmlformats.org/officeDocument/2006/relationships" type="roundRect" r:blip="">
            <dgm:adjLst>
              <dgm:adj idx="1" val="0.1"/>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parTx" styleLbl="revTx">
          <dgm:varLst>
            <dgm:chMax val="0"/>
            <dgm:chPref val="0"/>
          </dgm:varLst>
          <dgm:alg type="tx">
            <dgm:param type="txAnchorVert" val="mid"/>
            <dgm:param type="parTxLTRAlign" val="l"/>
            <dgm:param type="shpTxLTRAlignCh" val="l"/>
            <dgm:param type="parTxRTLAlign" val="r"/>
            <dgm:param type="shpTxRTLAlignCh" val="r"/>
          </dgm:alg>
          <dgm:shape xmlns:r="http://schemas.openxmlformats.org/officeDocument/2006/relationships" type="rect" r:blip="">
            <dgm:adjLst/>
          </dgm:shape>
          <dgm:presOf axis="self" ptType="node"/>
          <dgm:constrLst>
            <dgm:constr type="lMarg" refType="h" fact="0.3"/>
            <dgm:constr type="rMarg" refType="h" fact="0.3"/>
            <dgm:constr type="tMarg" refType="h" fact="0.3"/>
            <dgm:constr type="bMarg" refType="h" fact="0.3"/>
          </dgm:constrLst>
          <dgm:ruleLst>
            <dgm:rule type="primFontSz" val="14" fact="NaN" max="NaN"/>
            <dgm:rule type="h" val="INF" fact="NaN" max="NaN"/>
          </dgm:ruleLst>
        </dgm:layoutNode>
        <dgm:choose name="Name12">
          <dgm:if name="Name13" axis="ch" ptType="node" func="cnt" op="gte" val="1">
            <dgm:layoutNode name="desTx" styleLbl="revTx">
              <dgm:varLst/>
              <dgm:alg type="tx">
                <dgm:param type="txAnchorVertCh" val="mid"/>
                <dgm:param type="parTxLTRAlign" val="l"/>
                <dgm:param type="shpTxLTRAlignCh" val="l"/>
                <dgm:param type="parTxRTLAlign" val="r"/>
                <dgm:param type="shpTxRTLAlignCh" val="r"/>
                <dgm:param type="stBulletLvl" val="0"/>
              </dgm:alg>
              <dgm:shape xmlns:r="http://schemas.openxmlformats.org/officeDocument/2006/relationships" type="rect" r:blip="">
                <dgm:adjLst/>
              </dgm:shape>
              <dgm:presOf axis="des" ptType="node"/>
              <dgm:constrLst>
                <dgm:constr type="primFontSz" val="18"/>
                <dgm:constr type="secFontSz" refType="primFontSz"/>
                <dgm:constr type="lMarg" refType="h" fact="0.3"/>
                <dgm:constr type="rMarg" refType="h" fact="0.3"/>
                <dgm:constr type="tMarg" refType="h" fact="0.3"/>
                <dgm:constr type="bMarg" refType="h" fact="0.3"/>
              </dgm:constrLst>
              <dgm:ruleLst>
                <dgm:rule type="primFontSz" val="11" fact="NaN" max="NaN"/>
              </dgm:ruleLst>
            </dgm:layoutNode>
          </dgm:if>
          <dgm:else name="Name14"/>
        </dgm:choose>
      </dgm:layoutNode>
      <dgm:forEach name="Name15"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lvl1pPr>
        <a:lvl2pPr>
          <a:lnSpc>
            <a:spcPct val="100000"/>
          </a:lnSpc>
        </a:lvl2pPr>
      </dgm1612:lstStyle>
    </a:ext>
  </dgm:extLst>
</dgm:layoutDef>
</file>

<file path=ppt/diagrams/layout16.xml><?xml version="1.0" encoding="utf-8"?>
<dgm:layoutDef xmlns:dgm="http://schemas.openxmlformats.org/drawingml/2006/diagram" xmlns:a="http://schemas.openxmlformats.org/drawingml/2006/main" uniqueId="urn:microsoft.com/office/officeart/2018/2/layout/IconVerticalSolidList">
  <dgm:title val="Icon Vertical Solid List"/>
  <dgm:desc val="Use to show a series of visuals from top to bottom with Level 1 or Level 1 and Level 2 text grouped in a shape. Works best with icons or small pictures with lengthier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hoose name="Name3">
      <dgm:if name="Name4" axis="ch" ptType="node" func="cnt" op="lte" val="3">
        <dgm:constrLst>
          <dgm:constr type="h" for="ch" forName="compNode" refType="h" fact="0.3"/>
          <dgm:constr type="w" for="ch" forName="compNode" refType="w"/>
          <dgm:constr type="h" for="ch" forName="sibTrans" refType="h" refFor="ch" refForName="compNode" fact="0.25"/>
          <dgm:constr type="primFontSz" for="des" forName="parTx" val="25"/>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5" axis="ch" ptType="node" func="cnt" op="lte" val="4">
        <dgm:constrLst>
          <dgm:constr type="h" for="ch" forName="compNode" refType="h" fact="0.3"/>
          <dgm:constr type="w" for="ch" forName="compNode" refType="w"/>
          <dgm:constr type="h" for="ch" forName="sibTrans" refType="h" refFor="ch" refForName="compNode" fact="0.25"/>
          <dgm:constr type="primFontSz" for="des" forName="parTx" val="22"/>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6" axis="ch" ptType="node" func="cnt" op="lte" val="6">
        <dgm:constrLst>
          <dgm:constr type="h" for="ch" forName="compNode" refType="h" fact="0.3"/>
          <dgm:constr type="w" for="ch" forName="compNode" refType="w"/>
          <dgm:constr type="h" for="ch" forName="sibTrans" refType="h" refFor="ch" refForName="compNode" fact="0.25"/>
          <dgm:constr type="primFontSz" for="des" forName="parTx" val="19"/>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else name="Name7">
        <dgm:constrLst>
          <dgm:constr type="h" for="ch" forName="compNode" refType="h" fact="0.3"/>
          <dgm:constr type="w" for="ch" forName="compNode" refType="w"/>
          <dgm:constr type="h" for="ch" forName="sibTrans" refType="h" refFor="ch" refForName="compNode" fact="0.25"/>
          <dgm:constr type="primFontSz" for="des" forName="parTx" val="16"/>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else>
    </dgm:choose>
    <dgm:ruleLst>
      <dgm:rule type="h" for="ch" forName="compNode" val="0" fact="NaN" max="NaN"/>
    </dgm:ruleLst>
    <dgm:forEach name="Name8" axis="ch" ptType="node">
      <dgm:layoutNode name="compNode">
        <dgm:alg type="composite"/>
        <dgm:shape xmlns:r="http://schemas.openxmlformats.org/officeDocument/2006/relationships" r:blip="">
          <dgm:adjLst/>
        </dgm:shape>
        <dgm:presOf axis="self"/>
        <dgm:choose name="Name9">
          <dgm:if name="Name10" axis="ch" ptType="node" func="cnt" op="gte" val="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w" for="ch" forName="parTx" refType="w" fact="0.45"/>
              <dgm:constr type="h" for="ch" forName="parTx" refType="h"/>
              <dgm:constr type="l" for="ch" forName="parTx" refType="r" refFor="ch" refForName="spaceRect"/>
              <dgm:constr type="t" for="ch" forName="parTx"/>
              <dgm:constr type="h" for="ch" forName="desTx" refType="h"/>
              <dgm:constr type="l" for="ch" forName="desTx" refType="r" refFor="ch" refForName="parTx"/>
              <dgm:constr type="t" for="ch" forName="desTx"/>
            </dgm:constrLst>
          </dgm:if>
          <dgm:else name="Name1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h" for="ch" forName="parTx" refType="h"/>
              <dgm:constr type="l" for="ch" forName="parTx" refType="r" refFor="ch" refForName="spaceRect"/>
              <dgm:constr type="t" for="ch" forName="parTx"/>
            </dgm:constrLst>
          </dgm:else>
        </dgm:choose>
        <dgm:ruleLst>
          <dgm:rule type="h" val="INF" fact="NaN" max="NaN"/>
        </dgm:ruleLst>
        <dgm:layoutNode name="bgRect" styleLbl="bgShp">
          <dgm:alg type="sp"/>
          <dgm:shape xmlns:r="http://schemas.openxmlformats.org/officeDocument/2006/relationships" type="roundRect" r:blip="">
            <dgm:adjLst>
              <dgm:adj idx="1" val="0.1"/>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parTx" styleLbl="revTx">
          <dgm:varLst>
            <dgm:chMax val="0"/>
            <dgm:chPref val="0"/>
          </dgm:varLst>
          <dgm:alg type="tx">
            <dgm:param type="txAnchorVert" val="mid"/>
            <dgm:param type="parTxLTRAlign" val="l"/>
            <dgm:param type="shpTxLTRAlignCh" val="l"/>
            <dgm:param type="parTxRTLAlign" val="r"/>
            <dgm:param type="shpTxRTLAlignCh" val="r"/>
          </dgm:alg>
          <dgm:shape xmlns:r="http://schemas.openxmlformats.org/officeDocument/2006/relationships" type="rect" r:blip="">
            <dgm:adjLst/>
          </dgm:shape>
          <dgm:presOf axis="self" ptType="node"/>
          <dgm:constrLst>
            <dgm:constr type="lMarg" refType="h" fact="0.3"/>
            <dgm:constr type="rMarg" refType="h" fact="0.3"/>
            <dgm:constr type="tMarg" refType="h" fact="0.3"/>
            <dgm:constr type="bMarg" refType="h" fact="0.3"/>
          </dgm:constrLst>
          <dgm:ruleLst>
            <dgm:rule type="primFontSz" val="14" fact="NaN" max="NaN"/>
            <dgm:rule type="h" val="INF" fact="NaN" max="NaN"/>
          </dgm:ruleLst>
        </dgm:layoutNode>
        <dgm:choose name="Name12">
          <dgm:if name="Name13" axis="ch" ptType="node" func="cnt" op="gte" val="1">
            <dgm:layoutNode name="desTx" styleLbl="revTx">
              <dgm:varLst/>
              <dgm:alg type="tx">
                <dgm:param type="txAnchorVertCh" val="mid"/>
                <dgm:param type="parTxLTRAlign" val="l"/>
                <dgm:param type="shpTxLTRAlignCh" val="l"/>
                <dgm:param type="parTxRTLAlign" val="r"/>
                <dgm:param type="shpTxRTLAlignCh" val="r"/>
                <dgm:param type="stBulletLvl" val="0"/>
              </dgm:alg>
              <dgm:shape xmlns:r="http://schemas.openxmlformats.org/officeDocument/2006/relationships" type="rect" r:blip="">
                <dgm:adjLst/>
              </dgm:shape>
              <dgm:presOf axis="des" ptType="node"/>
              <dgm:constrLst>
                <dgm:constr type="primFontSz" val="18"/>
                <dgm:constr type="secFontSz" refType="primFontSz"/>
                <dgm:constr type="lMarg" refType="h" fact="0.3"/>
                <dgm:constr type="rMarg" refType="h" fact="0.3"/>
                <dgm:constr type="tMarg" refType="h" fact="0.3"/>
                <dgm:constr type="bMarg" refType="h" fact="0.3"/>
              </dgm:constrLst>
              <dgm:ruleLst>
                <dgm:rule type="primFontSz" val="11" fact="NaN" max="NaN"/>
              </dgm:ruleLst>
            </dgm:layoutNode>
          </dgm:if>
          <dgm:else name="Name14"/>
        </dgm:choose>
      </dgm:layoutNode>
      <dgm:forEach name="Name15"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lvl1pPr>
        <a:lvl2pPr>
          <a:lnSpc>
            <a:spcPct val="100000"/>
          </a:lnSpc>
        </a:lvl2pPr>
      </dgm1612:lstStyle>
    </a:ext>
  </dgm:extLst>
</dgm:layoutDef>
</file>

<file path=ppt/diagrams/layout17.xml><?xml version="1.0" encoding="utf-8"?>
<dgm:layoutDef xmlns:dgm="http://schemas.openxmlformats.org/drawingml/2006/diagram" xmlns:a="http://schemas.openxmlformats.org/drawingml/2006/main" uniqueId="urn:microsoft.com/office/officeart/2018/2/layout/IconVerticalSolidList">
  <dgm:title val="Icon Vertical Solid List"/>
  <dgm:desc val="Use to show a series of visuals from top to bottom with Level 1 or Level 1 and Level 2 text grouped in a shape. Works best with icons or small pictures with lengthier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hoose name="Name3">
      <dgm:if name="Name4" axis="ch" ptType="node" func="cnt" op="lte" val="3">
        <dgm:constrLst>
          <dgm:constr type="h" for="ch" forName="compNode" refType="h" fact="0.3"/>
          <dgm:constr type="w" for="ch" forName="compNode" refType="w"/>
          <dgm:constr type="h" for="ch" forName="sibTrans" refType="h" refFor="ch" refForName="compNode" fact="0.25"/>
          <dgm:constr type="primFontSz" for="des" forName="parTx" val="25"/>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5" axis="ch" ptType="node" func="cnt" op="lte" val="4">
        <dgm:constrLst>
          <dgm:constr type="h" for="ch" forName="compNode" refType="h" fact="0.3"/>
          <dgm:constr type="w" for="ch" forName="compNode" refType="w"/>
          <dgm:constr type="h" for="ch" forName="sibTrans" refType="h" refFor="ch" refForName="compNode" fact="0.25"/>
          <dgm:constr type="primFontSz" for="des" forName="parTx" val="22"/>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6" axis="ch" ptType="node" func="cnt" op="lte" val="6">
        <dgm:constrLst>
          <dgm:constr type="h" for="ch" forName="compNode" refType="h" fact="0.3"/>
          <dgm:constr type="w" for="ch" forName="compNode" refType="w"/>
          <dgm:constr type="h" for="ch" forName="sibTrans" refType="h" refFor="ch" refForName="compNode" fact="0.25"/>
          <dgm:constr type="primFontSz" for="des" forName="parTx" val="19"/>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else name="Name7">
        <dgm:constrLst>
          <dgm:constr type="h" for="ch" forName="compNode" refType="h" fact="0.3"/>
          <dgm:constr type="w" for="ch" forName="compNode" refType="w"/>
          <dgm:constr type="h" for="ch" forName="sibTrans" refType="h" refFor="ch" refForName="compNode" fact="0.25"/>
          <dgm:constr type="primFontSz" for="des" forName="parTx" val="16"/>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else>
    </dgm:choose>
    <dgm:ruleLst>
      <dgm:rule type="h" for="ch" forName="compNode" val="0" fact="NaN" max="NaN"/>
    </dgm:ruleLst>
    <dgm:forEach name="Name8" axis="ch" ptType="node">
      <dgm:layoutNode name="compNode">
        <dgm:alg type="composite"/>
        <dgm:shape xmlns:r="http://schemas.openxmlformats.org/officeDocument/2006/relationships" r:blip="">
          <dgm:adjLst/>
        </dgm:shape>
        <dgm:presOf axis="self"/>
        <dgm:choose name="Name9">
          <dgm:if name="Name10" axis="ch" ptType="node" func="cnt" op="gte" val="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w" for="ch" forName="parTx" refType="w" fact="0.45"/>
              <dgm:constr type="h" for="ch" forName="parTx" refType="h"/>
              <dgm:constr type="l" for="ch" forName="parTx" refType="r" refFor="ch" refForName="spaceRect"/>
              <dgm:constr type="t" for="ch" forName="parTx"/>
              <dgm:constr type="h" for="ch" forName="desTx" refType="h"/>
              <dgm:constr type="l" for="ch" forName="desTx" refType="r" refFor="ch" refForName="parTx"/>
              <dgm:constr type="t" for="ch" forName="desTx"/>
            </dgm:constrLst>
          </dgm:if>
          <dgm:else name="Name1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h" for="ch" forName="parTx" refType="h"/>
              <dgm:constr type="l" for="ch" forName="parTx" refType="r" refFor="ch" refForName="spaceRect"/>
              <dgm:constr type="t" for="ch" forName="parTx"/>
            </dgm:constrLst>
          </dgm:else>
        </dgm:choose>
        <dgm:ruleLst>
          <dgm:rule type="h" val="INF" fact="NaN" max="NaN"/>
        </dgm:ruleLst>
        <dgm:layoutNode name="bgRect" styleLbl="bgShp">
          <dgm:alg type="sp"/>
          <dgm:shape xmlns:r="http://schemas.openxmlformats.org/officeDocument/2006/relationships" type="roundRect" r:blip="">
            <dgm:adjLst>
              <dgm:adj idx="1" val="0.1"/>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parTx" styleLbl="revTx">
          <dgm:varLst>
            <dgm:chMax val="0"/>
            <dgm:chPref val="0"/>
          </dgm:varLst>
          <dgm:alg type="tx">
            <dgm:param type="txAnchorVert" val="mid"/>
            <dgm:param type="parTxLTRAlign" val="l"/>
            <dgm:param type="shpTxLTRAlignCh" val="l"/>
            <dgm:param type="parTxRTLAlign" val="r"/>
            <dgm:param type="shpTxRTLAlignCh" val="r"/>
          </dgm:alg>
          <dgm:shape xmlns:r="http://schemas.openxmlformats.org/officeDocument/2006/relationships" type="rect" r:blip="">
            <dgm:adjLst/>
          </dgm:shape>
          <dgm:presOf axis="self" ptType="node"/>
          <dgm:constrLst>
            <dgm:constr type="lMarg" refType="h" fact="0.3"/>
            <dgm:constr type="rMarg" refType="h" fact="0.3"/>
            <dgm:constr type="tMarg" refType="h" fact="0.3"/>
            <dgm:constr type="bMarg" refType="h" fact="0.3"/>
          </dgm:constrLst>
          <dgm:ruleLst>
            <dgm:rule type="primFontSz" val="14" fact="NaN" max="NaN"/>
            <dgm:rule type="h" val="INF" fact="NaN" max="NaN"/>
          </dgm:ruleLst>
        </dgm:layoutNode>
        <dgm:choose name="Name12">
          <dgm:if name="Name13" axis="ch" ptType="node" func="cnt" op="gte" val="1">
            <dgm:layoutNode name="desTx" styleLbl="revTx">
              <dgm:varLst/>
              <dgm:alg type="tx">
                <dgm:param type="txAnchorVertCh" val="mid"/>
                <dgm:param type="parTxLTRAlign" val="l"/>
                <dgm:param type="shpTxLTRAlignCh" val="l"/>
                <dgm:param type="parTxRTLAlign" val="r"/>
                <dgm:param type="shpTxRTLAlignCh" val="r"/>
                <dgm:param type="stBulletLvl" val="0"/>
              </dgm:alg>
              <dgm:shape xmlns:r="http://schemas.openxmlformats.org/officeDocument/2006/relationships" type="rect" r:blip="">
                <dgm:adjLst/>
              </dgm:shape>
              <dgm:presOf axis="des" ptType="node"/>
              <dgm:constrLst>
                <dgm:constr type="primFontSz" val="18"/>
                <dgm:constr type="secFontSz" refType="primFontSz"/>
                <dgm:constr type="lMarg" refType="h" fact="0.3"/>
                <dgm:constr type="rMarg" refType="h" fact="0.3"/>
                <dgm:constr type="tMarg" refType="h" fact="0.3"/>
                <dgm:constr type="bMarg" refType="h" fact="0.3"/>
              </dgm:constrLst>
              <dgm:ruleLst>
                <dgm:rule type="primFontSz" val="11" fact="NaN" max="NaN"/>
              </dgm:ruleLst>
            </dgm:layoutNode>
          </dgm:if>
          <dgm:else name="Name14"/>
        </dgm:choose>
      </dgm:layoutNode>
      <dgm:forEach name="Name15"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lvl1pPr>
        <a:lvl2pPr>
          <a:lnSpc>
            <a:spcPct val="100000"/>
          </a:lnSpc>
        </a:lvl2pPr>
      </dgm1612:lstStyle>
    </a:ext>
  </dgm:extLst>
</dgm:layoutDef>
</file>

<file path=ppt/diagrams/layout18.xml><?xml version="1.0" encoding="utf-8"?>
<dgm:layoutDef xmlns:dgm="http://schemas.openxmlformats.org/drawingml/2006/diagram" xmlns:a="http://schemas.openxmlformats.org/drawingml/2006/main" uniqueId="urn:microsoft.com/office/officeart/2018/2/layout/IconVerticalSolidList">
  <dgm:title val="Icon Vertical Solid List"/>
  <dgm:desc val="Use to show a series of visuals from top to bottom with Level 1 or Level 1 and Level 2 text grouped in a shape. Works best with icons or small pictures with lengthier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hoose name="Name3">
      <dgm:if name="Name4" axis="ch" ptType="node" func="cnt" op="lte" val="3">
        <dgm:constrLst>
          <dgm:constr type="h" for="ch" forName="compNode" refType="h" fact="0.3"/>
          <dgm:constr type="w" for="ch" forName="compNode" refType="w"/>
          <dgm:constr type="h" for="ch" forName="sibTrans" refType="h" refFor="ch" refForName="compNode" fact="0.25"/>
          <dgm:constr type="primFontSz" for="des" forName="parTx" val="25"/>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5" axis="ch" ptType="node" func="cnt" op="lte" val="4">
        <dgm:constrLst>
          <dgm:constr type="h" for="ch" forName="compNode" refType="h" fact="0.3"/>
          <dgm:constr type="w" for="ch" forName="compNode" refType="w"/>
          <dgm:constr type="h" for="ch" forName="sibTrans" refType="h" refFor="ch" refForName="compNode" fact="0.25"/>
          <dgm:constr type="primFontSz" for="des" forName="parTx" val="22"/>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6" axis="ch" ptType="node" func="cnt" op="lte" val="6">
        <dgm:constrLst>
          <dgm:constr type="h" for="ch" forName="compNode" refType="h" fact="0.3"/>
          <dgm:constr type="w" for="ch" forName="compNode" refType="w"/>
          <dgm:constr type="h" for="ch" forName="sibTrans" refType="h" refFor="ch" refForName="compNode" fact="0.25"/>
          <dgm:constr type="primFontSz" for="des" forName="parTx" val="19"/>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else name="Name7">
        <dgm:constrLst>
          <dgm:constr type="h" for="ch" forName="compNode" refType="h" fact="0.3"/>
          <dgm:constr type="w" for="ch" forName="compNode" refType="w"/>
          <dgm:constr type="h" for="ch" forName="sibTrans" refType="h" refFor="ch" refForName="compNode" fact="0.25"/>
          <dgm:constr type="primFontSz" for="des" forName="parTx" val="16"/>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else>
    </dgm:choose>
    <dgm:ruleLst>
      <dgm:rule type="h" for="ch" forName="compNode" val="0" fact="NaN" max="NaN"/>
    </dgm:ruleLst>
    <dgm:forEach name="Name8" axis="ch" ptType="node">
      <dgm:layoutNode name="compNode">
        <dgm:alg type="composite"/>
        <dgm:shape xmlns:r="http://schemas.openxmlformats.org/officeDocument/2006/relationships" r:blip="">
          <dgm:adjLst/>
        </dgm:shape>
        <dgm:presOf axis="self"/>
        <dgm:choose name="Name9">
          <dgm:if name="Name10" axis="ch" ptType="node" func="cnt" op="gte" val="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w" for="ch" forName="parTx" refType="w" fact="0.45"/>
              <dgm:constr type="h" for="ch" forName="parTx" refType="h"/>
              <dgm:constr type="l" for="ch" forName="parTx" refType="r" refFor="ch" refForName="spaceRect"/>
              <dgm:constr type="t" for="ch" forName="parTx"/>
              <dgm:constr type="h" for="ch" forName="desTx" refType="h"/>
              <dgm:constr type="l" for="ch" forName="desTx" refType="r" refFor="ch" refForName="parTx"/>
              <dgm:constr type="t" for="ch" forName="desTx"/>
            </dgm:constrLst>
          </dgm:if>
          <dgm:else name="Name1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h" for="ch" forName="parTx" refType="h"/>
              <dgm:constr type="l" for="ch" forName="parTx" refType="r" refFor="ch" refForName="spaceRect"/>
              <dgm:constr type="t" for="ch" forName="parTx"/>
            </dgm:constrLst>
          </dgm:else>
        </dgm:choose>
        <dgm:ruleLst>
          <dgm:rule type="h" val="INF" fact="NaN" max="NaN"/>
        </dgm:ruleLst>
        <dgm:layoutNode name="bgRect" styleLbl="bgShp">
          <dgm:alg type="sp"/>
          <dgm:shape xmlns:r="http://schemas.openxmlformats.org/officeDocument/2006/relationships" type="roundRect" r:blip="">
            <dgm:adjLst>
              <dgm:adj idx="1" val="0.1"/>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parTx" styleLbl="revTx">
          <dgm:varLst>
            <dgm:chMax val="0"/>
            <dgm:chPref val="0"/>
          </dgm:varLst>
          <dgm:alg type="tx">
            <dgm:param type="txAnchorVert" val="mid"/>
            <dgm:param type="parTxLTRAlign" val="l"/>
            <dgm:param type="shpTxLTRAlignCh" val="l"/>
            <dgm:param type="parTxRTLAlign" val="r"/>
            <dgm:param type="shpTxRTLAlignCh" val="r"/>
          </dgm:alg>
          <dgm:shape xmlns:r="http://schemas.openxmlformats.org/officeDocument/2006/relationships" type="rect" r:blip="">
            <dgm:adjLst/>
          </dgm:shape>
          <dgm:presOf axis="self" ptType="node"/>
          <dgm:constrLst>
            <dgm:constr type="lMarg" refType="h" fact="0.3"/>
            <dgm:constr type="rMarg" refType="h" fact="0.3"/>
            <dgm:constr type="tMarg" refType="h" fact="0.3"/>
            <dgm:constr type="bMarg" refType="h" fact="0.3"/>
          </dgm:constrLst>
          <dgm:ruleLst>
            <dgm:rule type="primFontSz" val="14" fact="NaN" max="NaN"/>
            <dgm:rule type="h" val="INF" fact="NaN" max="NaN"/>
          </dgm:ruleLst>
        </dgm:layoutNode>
        <dgm:choose name="Name12">
          <dgm:if name="Name13" axis="ch" ptType="node" func="cnt" op="gte" val="1">
            <dgm:layoutNode name="desTx" styleLbl="revTx">
              <dgm:varLst/>
              <dgm:alg type="tx">
                <dgm:param type="txAnchorVertCh" val="mid"/>
                <dgm:param type="parTxLTRAlign" val="l"/>
                <dgm:param type="shpTxLTRAlignCh" val="l"/>
                <dgm:param type="parTxRTLAlign" val="r"/>
                <dgm:param type="shpTxRTLAlignCh" val="r"/>
                <dgm:param type="stBulletLvl" val="0"/>
              </dgm:alg>
              <dgm:shape xmlns:r="http://schemas.openxmlformats.org/officeDocument/2006/relationships" type="rect" r:blip="">
                <dgm:adjLst/>
              </dgm:shape>
              <dgm:presOf axis="des" ptType="node"/>
              <dgm:constrLst>
                <dgm:constr type="primFontSz" val="18"/>
                <dgm:constr type="secFontSz" refType="primFontSz"/>
                <dgm:constr type="lMarg" refType="h" fact="0.3"/>
                <dgm:constr type="rMarg" refType="h" fact="0.3"/>
                <dgm:constr type="tMarg" refType="h" fact="0.3"/>
                <dgm:constr type="bMarg" refType="h" fact="0.3"/>
              </dgm:constrLst>
              <dgm:ruleLst>
                <dgm:rule type="primFontSz" val="11" fact="NaN" max="NaN"/>
              </dgm:ruleLst>
            </dgm:layoutNode>
          </dgm:if>
          <dgm:else name="Name14"/>
        </dgm:choose>
      </dgm:layoutNode>
      <dgm:forEach name="Name15"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lvl1pPr>
        <a:lvl2pPr>
          <a:lnSpc>
            <a:spcPct val="100000"/>
          </a:lnSpc>
        </a:lvl2pPr>
      </dgm1612:lstStyle>
    </a:ext>
  </dgm:extLst>
</dgm:layoutDef>
</file>

<file path=ppt/diagrams/layout19.xml><?xml version="1.0" encoding="utf-8"?>
<dgm:layoutDef xmlns:dgm="http://schemas.openxmlformats.org/drawingml/2006/diagram" xmlns:a="http://schemas.openxmlformats.org/drawingml/2006/main" uniqueId="urn:microsoft.com/office/officeart/2018/2/layout/IconVerticalSolidList">
  <dgm:title val="Icon Vertical Solid List"/>
  <dgm:desc val="Use to show a series of visuals from top to bottom with Level 1 or Level 1 and Level 2 text grouped in a shape. Works best with icons or small pictures with lengthier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hoose name="Name3">
      <dgm:if name="Name4" axis="ch" ptType="node" func="cnt" op="lte" val="3">
        <dgm:constrLst>
          <dgm:constr type="h" for="ch" forName="compNode" refType="h" fact="0.3"/>
          <dgm:constr type="w" for="ch" forName="compNode" refType="w"/>
          <dgm:constr type="h" for="ch" forName="sibTrans" refType="h" refFor="ch" refForName="compNode" fact="0.25"/>
          <dgm:constr type="primFontSz" for="des" forName="parTx" val="25"/>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5" axis="ch" ptType="node" func="cnt" op="lte" val="4">
        <dgm:constrLst>
          <dgm:constr type="h" for="ch" forName="compNode" refType="h" fact="0.3"/>
          <dgm:constr type="w" for="ch" forName="compNode" refType="w"/>
          <dgm:constr type="h" for="ch" forName="sibTrans" refType="h" refFor="ch" refForName="compNode" fact="0.25"/>
          <dgm:constr type="primFontSz" for="des" forName="parTx" val="22"/>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6" axis="ch" ptType="node" func="cnt" op="lte" val="6">
        <dgm:constrLst>
          <dgm:constr type="h" for="ch" forName="compNode" refType="h" fact="0.3"/>
          <dgm:constr type="w" for="ch" forName="compNode" refType="w"/>
          <dgm:constr type="h" for="ch" forName="sibTrans" refType="h" refFor="ch" refForName="compNode" fact="0.25"/>
          <dgm:constr type="primFontSz" for="des" forName="parTx" val="19"/>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else name="Name7">
        <dgm:constrLst>
          <dgm:constr type="h" for="ch" forName="compNode" refType="h" fact="0.3"/>
          <dgm:constr type="w" for="ch" forName="compNode" refType="w"/>
          <dgm:constr type="h" for="ch" forName="sibTrans" refType="h" refFor="ch" refForName="compNode" fact="0.25"/>
          <dgm:constr type="primFontSz" for="des" forName="parTx" val="16"/>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else>
    </dgm:choose>
    <dgm:ruleLst>
      <dgm:rule type="h" for="ch" forName="compNode" val="0" fact="NaN" max="NaN"/>
    </dgm:ruleLst>
    <dgm:forEach name="Name8" axis="ch" ptType="node">
      <dgm:layoutNode name="compNode">
        <dgm:alg type="composite"/>
        <dgm:shape xmlns:r="http://schemas.openxmlformats.org/officeDocument/2006/relationships" r:blip="">
          <dgm:adjLst/>
        </dgm:shape>
        <dgm:presOf axis="self"/>
        <dgm:choose name="Name9">
          <dgm:if name="Name10" axis="ch" ptType="node" func="cnt" op="gte" val="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w" for="ch" forName="parTx" refType="w" fact="0.45"/>
              <dgm:constr type="h" for="ch" forName="parTx" refType="h"/>
              <dgm:constr type="l" for="ch" forName="parTx" refType="r" refFor="ch" refForName="spaceRect"/>
              <dgm:constr type="t" for="ch" forName="parTx"/>
              <dgm:constr type="h" for="ch" forName="desTx" refType="h"/>
              <dgm:constr type="l" for="ch" forName="desTx" refType="r" refFor="ch" refForName="parTx"/>
              <dgm:constr type="t" for="ch" forName="desTx"/>
            </dgm:constrLst>
          </dgm:if>
          <dgm:else name="Name1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h" for="ch" forName="parTx" refType="h"/>
              <dgm:constr type="l" for="ch" forName="parTx" refType="r" refFor="ch" refForName="spaceRect"/>
              <dgm:constr type="t" for="ch" forName="parTx"/>
            </dgm:constrLst>
          </dgm:else>
        </dgm:choose>
        <dgm:ruleLst>
          <dgm:rule type="h" val="INF" fact="NaN" max="NaN"/>
        </dgm:ruleLst>
        <dgm:layoutNode name="bgRect" styleLbl="bgShp">
          <dgm:alg type="sp"/>
          <dgm:shape xmlns:r="http://schemas.openxmlformats.org/officeDocument/2006/relationships" type="roundRect" r:blip="">
            <dgm:adjLst>
              <dgm:adj idx="1" val="0.1"/>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parTx" styleLbl="revTx">
          <dgm:varLst>
            <dgm:chMax val="0"/>
            <dgm:chPref val="0"/>
          </dgm:varLst>
          <dgm:alg type="tx">
            <dgm:param type="txAnchorVert" val="mid"/>
            <dgm:param type="parTxLTRAlign" val="l"/>
            <dgm:param type="shpTxLTRAlignCh" val="l"/>
            <dgm:param type="parTxRTLAlign" val="r"/>
            <dgm:param type="shpTxRTLAlignCh" val="r"/>
          </dgm:alg>
          <dgm:shape xmlns:r="http://schemas.openxmlformats.org/officeDocument/2006/relationships" type="rect" r:blip="">
            <dgm:adjLst/>
          </dgm:shape>
          <dgm:presOf axis="self" ptType="node"/>
          <dgm:constrLst>
            <dgm:constr type="lMarg" refType="h" fact="0.3"/>
            <dgm:constr type="rMarg" refType="h" fact="0.3"/>
            <dgm:constr type="tMarg" refType="h" fact="0.3"/>
            <dgm:constr type="bMarg" refType="h" fact="0.3"/>
          </dgm:constrLst>
          <dgm:ruleLst>
            <dgm:rule type="primFontSz" val="14" fact="NaN" max="NaN"/>
            <dgm:rule type="h" val="INF" fact="NaN" max="NaN"/>
          </dgm:ruleLst>
        </dgm:layoutNode>
        <dgm:choose name="Name12">
          <dgm:if name="Name13" axis="ch" ptType="node" func="cnt" op="gte" val="1">
            <dgm:layoutNode name="desTx" styleLbl="revTx">
              <dgm:varLst/>
              <dgm:alg type="tx">
                <dgm:param type="txAnchorVertCh" val="mid"/>
                <dgm:param type="parTxLTRAlign" val="l"/>
                <dgm:param type="shpTxLTRAlignCh" val="l"/>
                <dgm:param type="parTxRTLAlign" val="r"/>
                <dgm:param type="shpTxRTLAlignCh" val="r"/>
                <dgm:param type="stBulletLvl" val="0"/>
              </dgm:alg>
              <dgm:shape xmlns:r="http://schemas.openxmlformats.org/officeDocument/2006/relationships" type="rect" r:blip="">
                <dgm:adjLst/>
              </dgm:shape>
              <dgm:presOf axis="des" ptType="node"/>
              <dgm:constrLst>
                <dgm:constr type="primFontSz" val="18"/>
                <dgm:constr type="secFontSz" refType="primFontSz"/>
                <dgm:constr type="lMarg" refType="h" fact="0.3"/>
                <dgm:constr type="rMarg" refType="h" fact="0.3"/>
                <dgm:constr type="tMarg" refType="h" fact="0.3"/>
                <dgm:constr type="bMarg" refType="h" fact="0.3"/>
              </dgm:constrLst>
              <dgm:ruleLst>
                <dgm:rule type="primFontSz" val="11" fact="NaN" max="NaN"/>
              </dgm:ruleLst>
            </dgm:layoutNode>
          </dgm:if>
          <dgm:else name="Name14"/>
        </dgm:choose>
      </dgm:layoutNode>
      <dgm:forEach name="Name15"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lvl1pPr>
        <a:lvl2pPr>
          <a:lnSpc>
            <a:spcPct val="100000"/>
          </a:lnSpc>
        </a:lvl2pPr>
      </dgm1612:lstStyle>
    </a:ext>
  </dgm:extLst>
</dgm:layoutDef>
</file>

<file path=ppt/diagrams/layout2.xml><?xml version="1.0" encoding="utf-8"?>
<dgm:layoutDef xmlns:dgm="http://schemas.openxmlformats.org/drawingml/2006/diagram" xmlns:a="http://schemas.openxmlformats.org/drawingml/2006/main" uniqueId="urn:microsoft.com/office/officeart/2018/2/layout/IconVerticalSolidList">
  <dgm:title val="Icon Vertical Solid List"/>
  <dgm:desc val="Use to show a series of visuals from top to bottom with Level 1 or Level 1 and Level 2 text grouped in a shape. Works best with icons or small pictures with lengthier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hoose name="Name3">
      <dgm:if name="Name4" axis="ch" ptType="node" func="cnt" op="lte" val="3">
        <dgm:constrLst>
          <dgm:constr type="h" for="ch" forName="compNode" refType="h" fact="0.3"/>
          <dgm:constr type="w" for="ch" forName="compNode" refType="w"/>
          <dgm:constr type="h" for="ch" forName="sibTrans" refType="h" refFor="ch" refForName="compNode" fact="0.25"/>
          <dgm:constr type="primFontSz" for="des" forName="parTx" val="25"/>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5" axis="ch" ptType="node" func="cnt" op="lte" val="4">
        <dgm:constrLst>
          <dgm:constr type="h" for="ch" forName="compNode" refType="h" fact="0.3"/>
          <dgm:constr type="w" for="ch" forName="compNode" refType="w"/>
          <dgm:constr type="h" for="ch" forName="sibTrans" refType="h" refFor="ch" refForName="compNode" fact="0.25"/>
          <dgm:constr type="primFontSz" for="des" forName="parTx" val="22"/>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6" axis="ch" ptType="node" func="cnt" op="lte" val="6">
        <dgm:constrLst>
          <dgm:constr type="h" for="ch" forName="compNode" refType="h" fact="0.3"/>
          <dgm:constr type="w" for="ch" forName="compNode" refType="w"/>
          <dgm:constr type="h" for="ch" forName="sibTrans" refType="h" refFor="ch" refForName="compNode" fact="0.25"/>
          <dgm:constr type="primFontSz" for="des" forName="parTx" val="19"/>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else name="Name7">
        <dgm:constrLst>
          <dgm:constr type="h" for="ch" forName="compNode" refType="h" fact="0.3"/>
          <dgm:constr type="w" for="ch" forName="compNode" refType="w"/>
          <dgm:constr type="h" for="ch" forName="sibTrans" refType="h" refFor="ch" refForName="compNode" fact="0.25"/>
          <dgm:constr type="primFontSz" for="des" forName="parTx" val="16"/>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else>
    </dgm:choose>
    <dgm:ruleLst>
      <dgm:rule type="h" for="ch" forName="compNode" val="0" fact="NaN" max="NaN"/>
    </dgm:ruleLst>
    <dgm:forEach name="Name8" axis="ch" ptType="node">
      <dgm:layoutNode name="compNode">
        <dgm:alg type="composite"/>
        <dgm:shape xmlns:r="http://schemas.openxmlformats.org/officeDocument/2006/relationships" r:blip="">
          <dgm:adjLst/>
        </dgm:shape>
        <dgm:presOf axis="self"/>
        <dgm:choose name="Name9">
          <dgm:if name="Name10" axis="ch" ptType="node" func="cnt" op="gte" val="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w" for="ch" forName="parTx" refType="w" fact="0.45"/>
              <dgm:constr type="h" for="ch" forName="parTx" refType="h"/>
              <dgm:constr type="l" for="ch" forName="parTx" refType="r" refFor="ch" refForName="spaceRect"/>
              <dgm:constr type="t" for="ch" forName="parTx"/>
              <dgm:constr type="h" for="ch" forName="desTx" refType="h"/>
              <dgm:constr type="l" for="ch" forName="desTx" refType="r" refFor="ch" refForName="parTx"/>
              <dgm:constr type="t" for="ch" forName="desTx"/>
            </dgm:constrLst>
          </dgm:if>
          <dgm:else name="Name1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h" for="ch" forName="parTx" refType="h"/>
              <dgm:constr type="l" for="ch" forName="parTx" refType="r" refFor="ch" refForName="spaceRect"/>
              <dgm:constr type="t" for="ch" forName="parTx"/>
            </dgm:constrLst>
          </dgm:else>
        </dgm:choose>
        <dgm:ruleLst>
          <dgm:rule type="h" val="INF" fact="NaN" max="NaN"/>
        </dgm:ruleLst>
        <dgm:layoutNode name="bgRect" styleLbl="bgShp">
          <dgm:alg type="sp"/>
          <dgm:shape xmlns:r="http://schemas.openxmlformats.org/officeDocument/2006/relationships" type="roundRect" r:blip="">
            <dgm:adjLst>
              <dgm:adj idx="1" val="0.1"/>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parTx" styleLbl="revTx">
          <dgm:varLst>
            <dgm:chMax val="0"/>
            <dgm:chPref val="0"/>
          </dgm:varLst>
          <dgm:alg type="tx">
            <dgm:param type="txAnchorVert" val="mid"/>
            <dgm:param type="parTxLTRAlign" val="l"/>
            <dgm:param type="shpTxLTRAlignCh" val="l"/>
            <dgm:param type="parTxRTLAlign" val="r"/>
            <dgm:param type="shpTxRTLAlignCh" val="r"/>
          </dgm:alg>
          <dgm:shape xmlns:r="http://schemas.openxmlformats.org/officeDocument/2006/relationships" type="rect" r:blip="">
            <dgm:adjLst/>
          </dgm:shape>
          <dgm:presOf axis="self" ptType="node"/>
          <dgm:constrLst>
            <dgm:constr type="lMarg" refType="h" fact="0.3"/>
            <dgm:constr type="rMarg" refType="h" fact="0.3"/>
            <dgm:constr type="tMarg" refType="h" fact="0.3"/>
            <dgm:constr type="bMarg" refType="h" fact="0.3"/>
          </dgm:constrLst>
          <dgm:ruleLst>
            <dgm:rule type="primFontSz" val="14" fact="NaN" max="NaN"/>
            <dgm:rule type="h" val="INF" fact="NaN" max="NaN"/>
          </dgm:ruleLst>
        </dgm:layoutNode>
        <dgm:choose name="Name12">
          <dgm:if name="Name13" axis="ch" ptType="node" func="cnt" op="gte" val="1">
            <dgm:layoutNode name="desTx" styleLbl="revTx">
              <dgm:varLst/>
              <dgm:alg type="tx">
                <dgm:param type="txAnchorVertCh" val="mid"/>
                <dgm:param type="parTxLTRAlign" val="l"/>
                <dgm:param type="shpTxLTRAlignCh" val="l"/>
                <dgm:param type="parTxRTLAlign" val="r"/>
                <dgm:param type="shpTxRTLAlignCh" val="r"/>
                <dgm:param type="stBulletLvl" val="0"/>
              </dgm:alg>
              <dgm:shape xmlns:r="http://schemas.openxmlformats.org/officeDocument/2006/relationships" type="rect" r:blip="">
                <dgm:adjLst/>
              </dgm:shape>
              <dgm:presOf axis="des" ptType="node"/>
              <dgm:constrLst>
                <dgm:constr type="primFontSz" val="18"/>
                <dgm:constr type="secFontSz" refType="primFontSz"/>
                <dgm:constr type="lMarg" refType="h" fact="0.3"/>
                <dgm:constr type="rMarg" refType="h" fact="0.3"/>
                <dgm:constr type="tMarg" refType="h" fact="0.3"/>
                <dgm:constr type="bMarg" refType="h" fact="0.3"/>
              </dgm:constrLst>
              <dgm:ruleLst>
                <dgm:rule type="primFontSz" val="11" fact="NaN" max="NaN"/>
              </dgm:ruleLst>
            </dgm:layoutNode>
          </dgm:if>
          <dgm:else name="Name14"/>
        </dgm:choose>
      </dgm:layoutNode>
      <dgm:forEach name="Name15"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lvl1pPr>
        <a:lvl2pPr>
          <a:lnSpc>
            <a:spcPct val="100000"/>
          </a:lnSpc>
        </a:lvl2pPr>
      </dgm1612:lstStyle>
    </a:ext>
  </dgm:extLst>
</dgm:layoutDef>
</file>

<file path=ppt/diagrams/layout20.xml><?xml version="1.0" encoding="utf-8"?>
<dgm:layoutDef xmlns:dgm="http://schemas.openxmlformats.org/drawingml/2006/diagram" xmlns:a="http://schemas.openxmlformats.org/drawingml/2006/main" uniqueId="urn:microsoft.com/office/officeart/2018/2/layout/IconVerticalSolidList">
  <dgm:title val="Icon Vertical Solid List"/>
  <dgm:desc val="Use to show a series of visuals from top to bottom with Level 1 or Level 1 and Level 2 text grouped in a shape. Works best with icons or small pictures with lengthier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hoose name="Name3">
      <dgm:if name="Name4" axis="ch" ptType="node" func="cnt" op="lte" val="3">
        <dgm:constrLst>
          <dgm:constr type="h" for="ch" forName="compNode" refType="h" fact="0.3"/>
          <dgm:constr type="w" for="ch" forName="compNode" refType="w"/>
          <dgm:constr type="h" for="ch" forName="sibTrans" refType="h" refFor="ch" refForName="compNode" fact="0.25"/>
          <dgm:constr type="primFontSz" for="des" forName="parTx" val="25"/>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5" axis="ch" ptType="node" func="cnt" op="lte" val="4">
        <dgm:constrLst>
          <dgm:constr type="h" for="ch" forName="compNode" refType="h" fact="0.3"/>
          <dgm:constr type="w" for="ch" forName="compNode" refType="w"/>
          <dgm:constr type="h" for="ch" forName="sibTrans" refType="h" refFor="ch" refForName="compNode" fact="0.25"/>
          <dgm:constr type="primFontSz" for="des" forName="parTx" val="22"/>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6" axis="ch" ptType="node" func="cnt" op="lte" val="6">
        <dgm:constrLst>
          <dgm:constr type="h" for="ch" forName="compNode" refType="h" fact="0.3"/>
          <dgm:constr type="w" for="ch" forName="compNode" refType="w"/>
          <dgm:constr type="h" for="ch" forName="sibTrans" refType="h" refFor="ch" refForName="compNode" fact="0.25"/>
          <dgm:constr type="primFontSz" for="des" forName="parTx" val="19"/>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else name="Name7">
        <dgm:constrLst>
          <dgm:constr type="h" for="ch" forName="compNode" refType="h" fact="0.3"/>
          <dgm:constr type="w" for="ch" forName="compNode" refType="w"/>
          <dgm:constr type="h" for="ch" forName="sibTrans" refType="h" refFor="ch" refForName="compNode" fact="0.25"/>
          <dgm:constr type="primFontSz" for="des" forName="parTx" val="16"/>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else>
    </dgm:choose>
    <dgm:ruleLst>
      <dgm:rule type="h" for="ch" forName="compNode" val="0" fact="NaN" max="NaN"/>
    </dgm:ruleLst>
    <dgm:forEach name="Name8" axis="ch" ptType="node">
      <dgm:layoutNode name="compNode">
        <dgm:alg type="composite"/>
        <dgm:shape xmlns:r="http://schemas.openxmlformats.org/officeDocument/2006/relationships" r:blip="">
          <dgm:adjLst/>
        </dgm:shape>
        <dgm:presOf axis="self"/>
        <dgm:choose name="Name9">
          <dgm:if name="Name10" axis="ch" ptType="node" func="cnt" op="gte" val="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w" for="ch" forName="parTx" refType="w" fact="0.45"/>
              <dgm:constr type="h" for="ch" forName="parTx" refType="h"/>
              <dgm:constr type="l" for="ch" forName="parTx" refType="r" refFor="ch" refForName="spaceRect"/>
              <dgm:constr type="t" for="ch" forName="parTx"/>
              <dgm:constr type="h" for="ch" forName="desTx" refType="h"/>
              <dgm:constr type="l" for="ch" forName="desTx" refType="r" refFor="ch" refForName="parTx"/>
              <dgm:constr type="t" for="ch" forName="desTx"/>
            </dgm:constrLst>
          </dgm:if>
          <dgm:else name="Name1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h" for="ch" forName="parTx" refType="h"/>
              <dgm:constr type="l" for="ch" forName="parTx" refType="r" refFor="ch" refForName="spaceRect"/>
              <dgm:constr type="t" for="ch" forName="parTx"/>
            </dgm:constrLst>
          </dgm:else>
        </dgm:choose>
        <dgm:ruleLst>
          <dgm:rule type="h" val="INF" fact="NaN" max="NaN"/>
        </dgm:ruleLst>
        <dgm:layoutNode name="bgRect" styleLbl="bgShp">
          <dgm:alg type="sp"/>
          <dgm:shape xmlns:r="http://schemas.openxmlformats.org/officeDocument/2006/relationships" type="roundRect" r:blip="">
            <dgm:adjLst>
              <dgm:adj idx="1" val="0.1"/>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parTx" styleLbl="revTx">
          <dgm:varLst>
            <dgm:chMax val="0"/>
            <dgm:chPref val="0"/>
          </dgm:varLst>
          <dgm:alg type="tx">
            <dgm:param type="txAnchorVert" val="mid"/>
            <dgm:param type="parTxLTRAlign" val="l"/>
            <dgm:param type="shpTxLTRAlignCh" val="l"/>
            <dgm:param type="parTxRTLAlign" val="r"/>
            <dgm:param type="shpTxRTLAlignCh" val="r"/>
          </dgm:alg>
          <dgm:shape xmlns:r="http://schemas.openxmlformats.org/officeDocument/2006/relationships" type="rect" r:blip="">
            <dgm:adjLst/>
          </dgm:shape>
          <dgm:presOf axis="self" ptType="node"/>
          <dgm:constrLst>
            <dgm:constr type="lMarg" refType="h" fact="0.3"/>
            <dgm:constr type="rMarg" refType="h" fact="0.3"/>
            <dgm:constr type="tMarg" refType="h" fact="0.3"/>
            <dgm:constr type="bMarg" refType="h" fact="0.3"/>
          </dgm:constrLst>
          <dgm:ruleLst>
            <dgm:rule type="primFontSz" val="14" fact="NaN" max="NaN"/>
            <dgm:rule type="h" val="INF" fact="NaN" max="NaN"/>
          </dgm:ruleLst>
        </dgm:layoutNode>
        <dgm:choose name="Name12">
          <dgm:if name="Name13" axis="ch" ptType="node" func="cnt" op="gte" val="1">
            <dgm:layoutNode name="desTx" styleLbl="revTx">
              <dgm:varLst/>
              <dgm:alg type="tx">
                <dgm:param type="txAnchorVertCh" val="mid"/>
                <dgm:param type="parTxLTRAlign" val="l"/>
                <dgm:param type="shpTxLTRAlignCh" val="l"/>
                <dgm:param type="parTxRTLAlign" val="r"/>
                <dgm:param type="shpTxRTLAlignCh" val="r"/>
                <dgm:param type="stBulletLvl" val="0"/>
              </dgm:alg>
              <dgm:shape xmlns:r="http://schemas.openxmlformats.org/officeDocument/2006/relationships" type="rect" r:blip="">
                <dgm:adjLst/>
              </dgm:shape>
              <dgm:presOf axis="des" ptType="node"/>
              <dgm:constrLst>
                <dgm:constr type="primFontSz" val="18"/>
                <dgm:constr type="secFontSz" refType="primFontSz"/>
                <dgm:constr type="lMarg" refType="h" fact="0.3"/>
                <dgm:constr type="rMarg" refType="h" fact="0.3"/>
                <dgm:constr type="tMarg" refType="h" fact="0.3"/>
                <dgm:constr type="bMarg" refType="h" fact="0.3"/>
              </dgm:constrLst>
              <dgm:ruleLst>
                <dgm:rule type="primFontSz" val="11" fact="NaN" max="NaN"/>
              </dgm:ruleLst>
            </dgm:layoutNode>
          </dgm:if>
          <dgm:else name="Name14"/>
        </dgm:choose>
      </dgm:layoutNode>
      <dgm:forEach name="Name15"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lvl1pPr>
        <a:lvl2pPr>
          <a:lnSpc>
            <a:spcPct val="100000"/>
          </a:lnSpc>
        </a:lvl2pPr>
      </dgm1612:lstStyle>
    </a:ext>
  </dgm:extLst>
</dgm:layoutDef>
</file>

<file path=ppt/diagrams/layout21.xml><?xml version="1.0" encoding="utf-8"?>
<dgm:layoutDef xmlns:dgm="http://schemas.openxmlformats.org/drawingml/2006/diagram" xmlns:a="http://schemas.openxmlformats.org/drawingml/2006/main" uniqueId="urn:microsoft.com/office/officeart/2018/2/layout/IconVerticalSolidList">
  <dgm:title val="Icon Vertical Solid List"/>
  <dgm:desc val="Use to show a series of visuals from top to bottom with Level 1 or Level 1 and Level 2 text grouped in a shape. Works best with icons or small pictures with lengthier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hoose name="Name3">
      <dgm:if name="Name4" axis="ch" ptType="node" func="cnt" op="lte" val="3">
        <dgm:constrLst>
          <dgm:constr type="h" for="ch" forName="compNode" refType="h" fact="0.3"/>
          <dgm:constr type="w" for="ch" forName="compNode" refType="w"/>
          <dgm:constr type="h" for="ch" forName="sibTrans" refType="h" refFor="ch" refForName="compNode" fact="0.25"/>
          <dgm:constr type="primFontSz" for="des" forName="parTx" val="25"/>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5" axis="ch" ptType="node" func="cnt" op="lte" val="4">
        <dgm:constrLst>
          <dgm:constr type="h" for="ch" forName="compNode" refType="h" fact="0.3"/>
          <dgm:constr type="w" for="ch" forName="compNode" refType="w"/>
          <dgm:constr type="h" for="ch" forName="sibTrans" refType="h" refFor="ch" refForName="compNode" fact="0.25"/>
          <dgm:constr type="primFontSz" for="des" forName="parTx" val="22"/>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6" axis="ch" ptType="node" func="cnt" op="lte" val="6">
        <dgm:constrLst>
          <dgm:constr type="h" for="ch" forName="compNode" refType="h" fact="0.3"/>
          <dgm:constr type="w" for="ch" forName="compNode" refType="w"/>
          <dgm:constr type="h" for="ch" forName="sibTrans" refType="h" refFor="ch" refForName="compNode" fact="0.25"/>
          <dgm:constr type="primFontSz" for="des" forName="parTx" val="19"/>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else name="Name7">
        <dgm:constrLst>
          <dgm:constr type="h" for="ch" forName="compNode" refType="h" fact="0.3"/>
          <dgm:constr type="w" for="ch" forName="compNode" refType="w"/>
          <dgm:constr type="h" for="ch" forName="sibTrans" refType="h" refFor="ch" refForName="compNode" fact="0.25"/>
          <dgm:constr type="primFontSz" for="des" forName="parTx" val="16"/>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else>
    </dgm:choose>
    <dgm:ruleLst>
      <dgm:rule type="h" for="ch" forName="compNode" val="0" fact="NaN" max="NaN"/>
    </dgm:ruleLst>
    <dgm:forEach name="Name8" axis="ch" ptType="node">
      <dgm:layoutNode name="compNode">
        <dgm:alg type="composite"/>
        <dgm:shape xmlns:r="http://schemas.openxmlformats.org/officeDocument/2006/relationships" r:blip="">
          <dgm:adjLst/>
        </dgm:shape>
        <dgm:presOf axis="self"/>
        <dgm:choose name="Name9">
          <dgm:if name="Name10" axis="ch" ptType="node" func="cnt" op="gte" val="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w" for="ch" forName="parTx" refType="w" fact="0.45"/>
              <dgm:constr type="h" for="ch" forName="parTx" refType="h"/>
              <dgm:constr type="l" for="ch" forName="parTx" refType="r" refFor="ch" refForName="spaceRect"/>
              <dgm:constr type="t" for="ch" forName="parTx"/>
              <dgm:constr type="h" for="ch" forName="desTx" refType="h"/>
              <dgm:constr type="l" for="ch" forName="desTx" refType="r" refFor="ch" refForName="parTx"/>
              <dgm:constr type="t" for="ch" forName="desTx"/>
            </dgm:constrLst>
          </dgm:if>
          <dgm:else name="Name1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h" for="ch" forName="parTx" refType="h"/>
              <dgm:constr type="l" for="ch" forName="parTx" refType="r" refFor="ch" refForName="spaceRect"/>
              <dgm:constr type="t" for="ch" forName="parTx"/>
            </dgm:constrLst>
          </dgm:else>
        </dgm:choose>
        <dgm:ruleLst>
          <dgm:rule type="h" val="INF" fact="NaN" max="NaN"/>
        </dgm:ruleLst>
        <dgm:layoutNode name="bgRect" styleLbl="bgShp">
          <dgm:alg type="sp"/>
          <dgm:shape xmlns:r="http://schemas.openxmlformats.org/officeDocument/2006/relationships" type="roundRect" r:blip="">
            <dgm:adjLst>
              <dgm:adj idx="1" val="0.1"/>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parTx" styleLbl="revTx">
          <dgm:varLst>
            <dgm:chMax val="0"/>
            <dgm:chPref val="0"/>
          </dgm:varLst>
          <dgm:alg type="tx">
            <dgm:param type="txAnchorVert" val="mid"/>
            <dgm:param type="parTxLTRAlign" val="l"/>
            <dgm:param type="shpTxLTRAlignCh" val="l"/>
            <dgm:param type="parTxRTLAlign" val="r"/>
            <dgm:param type="shpTxRTLAlignCh" val="r"/>
          </dgm:alg>
          <dgm:shape xmlns:r="http://schemas.openxmlformats.org/officeDocument/2006/relationships" type="rect" r:blip="">
            <dgm:adjLst/>
          </dgm:shape>
          <dgm:presOf axis="self" ptType="node"/>
          <dgm:constrLst>
            <dgm:constr type="lMarg" refType="h" fact="0.3"/>
            <dgm:constr type="rMarg" refType="h" fact="0.3"/>
            <dgm:constr type="tMarg" refType="h" fact="0.3"/>
            <dgm:constr type="bMarg" refType="h" fact="0.3"/>
          </dgm:constrLst>
          <dgm:ruleLst>
            <dgm:rule type="primFontSz" val="14" fact="NaN" max="NaN"/>
            <dgm:rule type="h" val="INF" fact="NaN" max="NaN"/>
          </dgm:ruleLst>
        </dgm:layoutNode>
        <dgm:choose name="Name12">
          <dgm:if name="Name13" axis="ch" ptType="node" func="cnt" op="gte" val="1">
            <dgm:layoutNode name="desTx" styleLbl="revTx">
              <dgm:varLst/>
              <dgm:alg type="tx">
                <dgm:param type="txAnchorVertCh" val="mid"/>
                <dgm:param type="parTxLTRAlign" val="l"/>
                <dgm:param type="shpTxLTRAlignCh" val="l"/>
                <dgm:param type="parTxRTLAlign" val="r"/>
                <dgm:param type="shpTxRTLAlignCh" val="r"/>
                <dgm:param type="stBulletLvl" val="0"/>
              </dgm:alg>
              <dgm:shape xmlns:r="http://schemas.openxmlformats.org/officeDocument/2006/relationships" type="rect" r:blip="">
                <dgm:adjLst/>
              </dgm:shape>
              <dgm:presOf axis="des" ptType="node"/>
              <dgm:constrLst>
                <dgm:constr type="primFontSz" val="18"/>
                <dgm:constr type="secFontSz" refType="primFontSz"/>
                <dgm:constr type="lMarg" refType="h" fact="0.3"/>
                <dgm:constr type="rMarg" refType="h" fact="0.3"/>
                <dgm:constr type="tMarg" refType="h" fact="0.3"/>
                <dgm:constr type="bMarg" refType="h" fact="0.3"/>
              </dgm:constrLst>
              <dgm:ruleLst>
                <dgm:rule type="primFontSz" val="11" fact="NaN" max="NaN"/>
              </dgm:ruleLst>
            </dgm:layoutNode>
          </dgm:if>
          <dgm:else name="Name14"/>
        </dgm:choose>
      </dgm:layoutNode>
      <dgm:forEach name="Name15"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lvl1pPr>
        <a:lvl2pPr>
          <a:lnSpc>
            <a:spcPct val="100000"/>
          </a:lnSpc>
        </a:lvl2pPr>
      </dgm1612:lstStyle>
    </a:ext>
  </dgm:extLst>
</dgm:layoutDef>
</file>

<file path=ppt/diagrams/layout3.xml><?xml version="1.0" encoding="utf-8"?>
<dgm:layoutDef xmlns:dgm="http://schemas.openxmlformats.org/drawingml/2006/diagram" xmlns:a="http://schemas.openxmlformats.org/drawingml/2006/main" uniqueId="urn:microsoft.com/office/officeart/2016/7/layout/RepeatingBendingProcessNew">
  <dgm:title val="Repeating Bending Process New"/>
  <dgm:desc val=""/>
  <dgm:catLst>
    <dgm:cat type="process" pri="5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7" srcId="0" destId="1" srcOrd="0" destOrd="0"/>
        <dgm:cxn modelId="8" srcId="0" destId="2" srcOrd="1" destOrd="0"/>
        <dgm:cxn modelId="9" srcId="0" destId="3" srcOrd="2" destOrd="0"/>
        <dgm:cxn modelId="10" srcId="0" destId="4" srcOrd="3" destOrd="0"/>
        <dgm:cxn modelId="11"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axis="self" func="var" arg="dir" op="equ" val="norm">
        <dgm:alg type="snake">
          <dgm:param type="grDir" val="tL"/>
          <dgm:param type="flowDir" val="row"/>
          <dgm:param type="contDir" val="sameDir"/>
          <dgm:param type="bkpt" val="endCnv"/>
        </dgm:alg>
      </dgm:if>
      <dgm:else name="Name3">
        <dgm:alg type="snake">
          <dgm:param type="grDir" val="tR"/>
          <dgm:param type="flowDir" val="row"/>
          <dgm:param type="contDir" val="sameDir"/>
          <dgm:param type="bkpt" val="endCnv"/>
        </dgm:alg>
      </dgm:else>
    </dgm:choose>
    <dgm:shape xmlns:r="http://schemas.openxmlformats.org/officeDocument/2006/relationships" r:blip="">
      <dgm:adjLst/>
    </dgm:shape>
    <dgm:presOf/>
    <dgm:constrLst>
      <dgm:constr type="w" for="ch" ptType="node" refType="w"/>
      <dgm:constr type="w" for="ch" forName="sibTrans" refType="w" refFor="ch" refPtType="node" op="equ" fact="0.23"/>
      <dgm:constr type="sp" refType="w" refFor="ch" refForName="sibTrans" op="equ"/>
      <dgm:constr type="userB" for="des" forName="connectorText" refType="sp"/>
      <dgm:constr type="primFontSz" for="ch" ptType="node" op="equ" val="65"/>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ect" r:blip="">
          <dgm:adjLst/>
        </dgm:shape>
        <dgm:presOf axis="desOrSelf" ptType="node"/>
        <dgm:constrLst>
          <dgm:constr type="h" refType="w" fact="0.6"/>
          <dgm:constr type="tMarg" refType="h" fact="0.243"/>
          <dgm:constr type="bMarg" refType="h" fact="0.243"/>
          <dgm:constr type="lMarg" refType="w" fact="0.1389"/>
          <dgm:constr type="rMarg" refType="w" fact="0.1389"/>
        </dgm:constrLst>
        <dgm:ruleLst>
          <dgm:rule type="primFontSz" val="12" fact="NaN" max="NaN"/>
        </dgm:ruleLst>
      </dgm:layoutNode>
      <dgm:forEach name="sibTransForEach" axis="followSib" ptType="sibTrans" cnt="1">
        <dgm:layoutNode name="sibTrans">
          <dgm:choose name="Name4">
            <dgm:if name="Name5" axis="self" func="var" arg="dir" op="equ" val="norm">
              <dgm:alg type="conn">
                <dgm:param type="connRout" val="bend"/>
                <dgm:param type="dim" val="1D"/>
                <dgm:param type="begPts" val="midR bCtr"/>
                <dgm:param type="endPts" val="midL tCtr"/>
              </dgm:alg>
            </dgm:if>
            <dgm:else name="Name6">
              <dgm:alg type="conn">
                <dgm:param type="connRout" val="bend"/>
                <dgm:param type="dim" val="1D"/>
                <dgm:param type="begPts" val="midL bCtr"/>
                <dgm:param type="endPts" val="midR tCtr"/>
              </dgm:alg>
            </dgm:else>
          </dgm:choose>
          <dgm:shape xmlns:r="http://schemas.openxmlformats.org/officeDocument/2006/relationships" type="conn" r:blip="" zOrderOff="-2">
            <dgm:adjLst/>
          </dgm:shape>
          <dgm:presOf axis="self"/>
          <dgm:constrLst>
            <dgm:constr type="begPad" val="-0.05"/>
            <dgm:constr type="endPad" val="0.9"/>
            <dgm:constr type="userA" for="ch" refType="connDist"/>
          </dgm:constrLst>
          <dgm:ruleLst/>
          <dgm:layoutNode name="connectorText">
            <dgm:alg type="tx">
              <dgm:param type="autoTxRot" val="upr"/>
            </dgm:alg>
            <dgm:shape xmlns:r="http://schemas.openxmlformats.org/officeDocument/2006/relationships" type="rect" r:blip="" hideGeom="1">
              <dgm:adjLst/>
            </dgm:shape>
            <dgm:presOf axis="self"/>
            <dgm:constrLst>
              <dgm:constr type="userA"/>
              <dgm:constr type="userB"/>
              <dgm:constr type="w" refType="userA" fact="0.05"/>
              <dgm:constr type="h" refType="userB" fact="0.01"/>
              <dgm:constr type="lMarg" val="1"/>
              <dgm:constr type="rMarg" val="1"/>
              <dgm:constr type="tMarg"/>
              <dgm:constr type="bMarg"/>
            </dgm:constrLst>
            <dgm:ruleLst>
              <dgm:rule type="w" val="NaN" fact="0.6" max="NaN"/>
              <dgm:rule type="h" val="NaN" fact="0.6" max="NaN"/>
              <dgm:rule type="primFontSz" val="5" fact="NaN" max="NaN"/>
            </dgm:ruleLst>
          </dgm:layoutNode>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18/2/layout/IconVerticalSolidList">
  <dgm:title val="Icon Vertical Solid List"/>
  <dgm:desc val="Use to show a series of visuals from top to bottom with Level 1 or Level 1 and Level 2 text grouped in a shape. Works best with icons or small pictures with lengthier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hoose name="Name3">
      <dgm:if name="Name4" axis="ch" ptType="node" func="cnt" op="lte" val="3">
        <dgm:constrLst>
          <dgm:constr type="h" for="ch" forName="compNode" refType="h" fact="0.3"/>
          <dgm:constr type="w" for="ch" forName="compNode" refType="w"/>
          <dgm:constr type="h" for="ch" forName="sibTrans" refType="h" refFor="ch" refForName="compNode" fact="0.25"/>
          <dgm:constr type="primFontSz" for="des" forName="parTx" val="25"/>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5" axis="ch" ptType="node" func="cnt" op="lte" val="4">
        <dgm:constrLst>
          <dgm:constr type="h" for="ch" forName="compNode" refType="h" fact="0.3"/>
          <dgm:constr type="w" for="ch" forName="compNode" refType="w"/>
          <dgm:constr type="h" for="ch" forName="sibTrans" refType="h" refFor="ch" refForName="compNode" fact="0.25"/>
          <dgm:constr type="primFontSz" for="des" forName="parTx" val="22"/>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6" axis="ch" ptType="node" func="cnt" op="lte" val="6">
        <dgm:constrLst>
          <dgm:constr type="h" for="ch" forName="compNode" refType="h" fact="0.3"/>
          <dgm:constr type="w" for="ch" forName="compNode" refType="w"/>
          <dgm:constr type="h" for="ch" forName="sibTrans" refType="h" refFor="ch" refForName="compNode" fact="0.25"/>
          <dgm:constr type="primFontSz" for="des" forName="parTx" val="19"/>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else name="Name7">
        <dgm:constrLst>
          <dgm:constr type="h" for="ch" forName="compNode" refType="h" fact="0.3"/>
          <dgm:constr type="w" for="ch" forName="compNode" refType="w"/>
          <dgm:constr type="h" for="ch" forName="sibTrans" refType="h" refFor="ch" refForName="compNode" fact="0.25"/>
          <dgm:constr type="primFontSz" for="des" forName="parTx" val="16"/>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else>
    </dgm:choose>
    <dgm:ruleLst>
      <dgm:rule type="h" for="ch" forName="compNode" val="0" fact="NaN" max="NaN"/>
    </dgm:ruleLst>
    <dgm:forEach name="Name8" axis="ch" ptType="node">
      <dgm:layoutNode name="compNode">
        <dgm:alg type="composite"/>
        <dgm:shape xmlns:r="http://schemas.openxmlformats.org/officeDocument/2006/relationships" r:blip="">
          <dgm:adjLst/>
        </dgm:shape>
        <dgm:presOf axis="self"/>
        <dgm:choose name="Name9">
          <dgm:if name="Name10" axis="ch" ptType="node" func="cnt" op="gte" val="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w" for="ch" forName="parTx" refType="w" fact="0.45"/>
              <dgm:constr type="h" for="ch" forName="parTx" refType="h"/>
              <dgm:constr type="l" for="ch" forName="parTx" refType="r" refFor="ch" refForName="spaceRect"/>
              <dgm:constr type="t" for="ch" forName="parTx"/>
              <dgm:constr type="h" for="ch" forName="desTx" refType="h"/>
              <dgm:constr type="l" for="ch" forName="desTx" refType="r" refFor="ch" refForName="parTx"/>
              <dgm:constr type="t" for="ch" forName="desTx"/>
            </dgm:constrLst>
          </dgm:if>
          <dgm:else name="Name1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h" for="ch" forName="parTx" refType="h"/>
              <dgm:constr type="l" for="ch" forName="parTx" refType="r" refFor="ch" refForName="spaceRect"/>
              <dgm:constr type="t" for="ch" forName="parTx"/>
            </dgm:constrLst>
          </dgm:else>
        </dgm:choose>
        <dgm:ruleLst>
          <dgm:rule type="h" val="INF" fact="NaN" max="NaN"/>
        </dgm:ruleLst>
        <dgm:layoutNode name="bgRect" styleLbl="bgShp">
          <dgm:alg type="sp"/>
          <dgm:shape xmlns:r="http://schemas.openxmlformats.org/officeDocument/2006/relationships" type="roundRect" r:blip="">
            <dgm:adjLst>
              <dgm:adj idx="1" val="0.1"/>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parTx" styleLbl="revTx">
          <dgm:varLst>
            <dgm:chMax val="0"/>
            <dgm:chPref val="0"/>
          </dgm:varLst>
          <dgm:alg type="tx">
            <dgm:param type="txAnchorVert" val="mid"/>
            <dgm:param type="parTxLTRAlign" val="l"/>
            <dgm:param type="shpTxLTRAlignCh" val="l"/>
            <dgm:param type="parTxRTLAlign" val="r"/>
            <dgm:param type="shpTxRTLAlignCh" val="r"/>
          </dgm:alg>
          <dgm:shape xmlns:r="http://schemas.openxmlformats.org/officeDocument/2006/relationships" type="rect" r:blip="">
            <dgm:adjLst/>
          </dgm:shape>
          <dgm:presOf axis="self" ptType="node"/>
          <dgm:constrLst>
            <dgm:constr type="lMarg" refType="h" fact="0.3"/>
            <dgm:constr type="rMarg" refType="h" fact="0.3"/>
            <dgm:constr type="tMarg" refType="h" fact="0.3"/>
            <dgm:constr type="bMarg" refType="h" fact="0.3"/>
          </dgm:constrLst>
          <dgm:ruleLst>
            <dgm:rule type="primFontSz" val="14" fact="NaN" max="NaN"/>
            <dgm:rule type="h" val="INF" fact="NaN" max="NaN"/>
          </dgm:ruleLst>
        </dgm:layoutNode>
        <dgm:choose name="Name12">
          <dgm:if name="Name13" axis="ch" ptType="node" func="cnt" op="gte" val="1">
            <dgm:layoutNode name="desTx" styleLbl="revTx">
              <dgm:varLst/>
              <dgm:alg type="tx">
                <dgm:param type="txAnchorVertCh" val="mid"/>
                <dgm:param type="parTxLTRAlign" val="l"/>
                <dgm:param type="shpTxLTRAlignCh" val="l"/>
                <dgm:param type="parTxRTLAlign" val="r"/>
                <dgm:param type="shpTxRTLAlignCh" val="r"/>
                <dgm:param type="stBulletLvl" val="0"/>
              </dgm:alg>
              <dgm:shape xmlns:r="http://schemas.openxmlformats.org/officeDocument/2006/relationships" type="rect" r:blip="">
                <dgm:adjLst/>
              </dgm:shape>
              <dgm:presOf axis="des" ptType="node"/>
              <dgm:constrLst>
                <dgm:constr type="primFontSz" val="18"/>
                <dgm:constr type="secFontSz" refType="primFontSz"/>
                <dgm:constr type="lMarg" refType="h" fact="0.3"/>
                <dgm:constr type="rMarg" refType="h" fact="0.3"/>
                <dgm:constr type="tMarg" refType="h" fact="0.3"/>
                <dgm:constr type="bMarg" refType="h" fact="0.3"/>
              </dgm:constrLst>
              <dgm:ruleLst>
                <dgm:rule type="primFontSz" val="11" fact="NaN" max="NaN"/>
              </dgm:ruleLst>
            </dgm:layoutNode>
          </dgm:if>
          <dgm:else name="Name14"/>
        </dgm:choose>
      </dgm:layoutNode>
      <dgm:forEach name="Name15"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lvl1pPr>
        <a:lvl2pPr>
          <a:lnSpc>
            <a:spcPct val="100000"/>
          </a:lnSpc>
        </a:lvl2pPr>
      </dgm1612:lstStyle>
    </a:ext>
  </dgm:extLst>
</dgm:layoutDef>
</file>

<file path=ppt/diagrams/layout5.xml><?xml version="1.0" encoding="utf-8"?>
<dgm:layoutDef xmlns:dgm="http://schemas.openxmlformats.org/drawingml/2006/diagram" xmlns:a="http://schemas.openxmlformats.org/drawingml/2006/main" uniqueId="urn:microsoft.com/office/officeart/2018/2/layout/IconVerticalSolidList">
  <dgm:title val="Icon Vertical Solid List"/>
  <dgm:desc val="Use to show a series of visuals from top to bottom with Level 1 or Level 1 and Level 2 text grouped in a shape. Works best with icons or small pictures with lengthier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hoose name="Name3">
      <dgm:if name="Name4" axis="ch" ptType="node" func="cnt" op="lte" val="3">
        <dgm:constrLst>
          <dgm:constr type="h" for="ch" forName="compNode" refType="h" fact="0.3"/>
          <dgm:constr type="w" for="ch" forName="compNode" refType="w"/>
          <dgm:constr type="h" for="ch" forName="sibTrans" refType="h" refFor="ch" refForName="compNode" fact="0.25"/>
          <dgm:constr type="primFontSz" for="des" forName="parTx" val="25"/>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5" axis="ch" ptType="node" func="cnt" op="lte" val="4">
        <dgm:constrLst>
          <dgm:constr type="h" for="ch" forName="compNode" refType="h" fact="0.3"/>
          <dgm:constr type="w" for="ch" forName="compNode" refType="w"/>
          <dgm:constr type="h" for="ch" forName="sibTrans" refType="h" refFor="ch" refForName="compNode" fact="0.25"/>
          <dgm:constr type="primFontSz" for="des" forName="parTx" val="22"/>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6" axis="ch" ptType="node" func="cnt" op="lte" val="6">
        <dgm:constrLst>
          <dgm:constr type="h" for="ch" forName="compNode" refType="h" fact="0.3"/>
          <dgm:constr type="w" for="ch" forName="compNode" refType="w"/>
          <dgm:constr type="h" for="ch" forName="sibTrans" refType="h" refFor="ch" refForName="compNode" fact="0.25"/>
          <dgm:constr type="primFontSz" for="des" forName="parTx" val="19"/>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else name="Name7">
        <dgm:constrLst>
          <dgm:constr type="h" for="ch" forName="compNode" refType="h" fact="0.3"/>
          <dgm:constr type="w" for="ch" forName="compNode" refType="w"/>
          <dgm:constr type="h" for="ch" forName="sibTrans" refType="h" refFor="ch" refForName="compNode" fact="0.25"/>
          <dgm:constr type="primFontSz" for="des" forName="parTx" val="16"/>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else>
    </dgm:choose>
    <dgm:ruleLst>
      <dgm:rule type="h" for="ch" forName="compNode" val="0" fact="NaN" max="NaN"/>
    </dgm:ruleLst>
    <dgm:forEach name="Name8" axis="ch" ptType="node">
      <dgm:layoutNode name="compNode">
        <dgm:alg type="composite"/>
        <dgm:shape xmlns:r="http://schemas.openxmlformats.org/officeDocument/2006/relationships" r:blip="">
          <dgm:adjLst/>
        </dgm:shape>
        <dgm:presOf axis="self"/>
        <dgm:choose name="Name9">
          <dgm:if name="Name10" axis="ch" ptType="node" func="cnt" op="gte" val="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w" for="ch" forName="parTx" refType="w" fact="0.45"/>
              <dgm:constr type="h" for="ch" forName="parTx" refType="h"/>
              <dgm:constr type="l" for="ch" forName="parTx" refType="r" refFor="ch" refForName="spaceRect"/>
              <dgm:constr type="t" for="ch" forName="parTx"/>
              <dgm:constr type="h" for="ch" forName="desTx" refType="h"/>
              <dgm:constr type="l" for="ch" forName="desTx" refType="r" refFor="ch" refForName="parTx"/>
              <dgm:constr type="t" for="ch" forName="desTx"/>
            </dgm:constrLst>
          </dgm:if>
          <dgm:else name="Name1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h" for="ch" forName="parTx" refType="h"/>
              <dgm:constr type="l" for="ch" forName="parTx" refType="r" refFor="ch" refForName="spaceRect"/>
              <dgm:constr type="t" for="ch" forName="parTx"/>
            </dgm:constrLst>
          </dgm:else>
        </dgm:choose>
        <dgm:ruleLst>
          <dgm:rule type="h" val="INF" fact="NaN" max="NaN"/>
        </dgm:ruleLst>
        <dgm:layoutNode name="bgRect" styleLbl="bgShp">
          <dgm:alg type="sp"/>
          <dgm:shape xmlns:r="http://schemas.openxmlformats.org/officeDocument/2006/relationships" type="roundRect" r:blip="">
            <dgm:adjLst>
              <dgm:adj idx="1" val="0.1"/>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parTx" styleLbl="revTx">
          <dgm:varLst>
            <dgm:chMax val="0"/>
            <dgm:chPref val="0"/>
          </dgm:varLst>
          <dgm:alg type="tx">
            <dgm:param type="txAnchorVert" val="mid"/>
            <dgm:param type="parTxLTRAlign" val="l"/>
            <dgm:param type="shpTxLTRAlignCh" val="l"/>
            <dgm:param type="parTxRTLAlign" val="r"/>
            <dgm:param type="shpTxRTLAlignCh" val="r"/>
          </dgm:alg>
          <dgm:shape xmlns:r="http://schemas.openxmlformats.org/officeDocument/2006/relationships" type="rect" r:blip="">
            <dgm:adjLst/>
          </dgm:shape>
          <dgm:presOf axis="self" ptType="node"/>
          <dgm:constrLst>
            <dgm:constr type="lMarg" refType="h" fact="0.3"/>
            <dgm:constr type="rMarg" refType="h" fact="0.3"/>
            <dgm:constr type="tMarg" refType="h" fact="0.3"/>
            <dgm:constr type="bMarg" refType="h" fact="0.3"/>
          </dgm:constrLst>
          <dgm:ruleLst>
            <dgm:rule type="primFontSz" val="14" fact="NaN" max="NaN"/>
            <dgm:rule type="h" val="INF" fact="NaN" max="NaN"/>
          </dgm:ruleLst>
        </dgm:layoutNode>
        <dgm:choose name="Name12">
          <dgm:if name="Name13" axis="ch" ptType="node" func="cnt" op="gte" val="1">
            <dgm:layoutNode name="desTx" styleLbl="revTx">
              <dgm:varLst/>
              <dgm:alg type="tx">
                <dgm:param type="txAnchorVertCh" val="mid"/>
                <dgm:param type="parTxLTRAlign" val="l"/>
                <dgm:param type="shpTxLTRAlignCh" val="l"/>
                <dgm:param type="parTxRTLAlign" val="r"/>
                <dgm:param type="shpTxRTLAlignCh" val="r"/>
                <dgm:param type="stBulletLvl" val="0"/>
              </dgm:alg>
              <dgm:shape xmlns:r="http://schemas.openxmlformats.org/officeDocument/2006/relationships" type="rect" r:blip="">
                <dgm:adjLst/>
              </dgm:shape>
              <dgm:presOf axis="des" ptType="node"/>
              <dgm:constrLst>
                <dgm:constr type="primFontSz" val="18"/>
                <dgm:constr type="secFontSz" refType="primFontSz"/>
                <dgm:constr type="lMarg" refType="h" fact="0.3"/>
                <dgm:constr type="rMarg" refType="h" fact="0.3"/>
                <dgm:constr type="tMarg" refType="h" fact="0.3"/>
                <dgm:constr type="bMarg" refType="h" fact="0.3"/>
              </dgm:constrLst>
              <dgm:ruleLst>
                <dgm:rule type="primFontSz" val="11" fact="NaN" max="NaN"/>
              </dgm:ruleLst>
            </dgm:layoutNode>
          </dgm:if>
          <dgm:else name="Name14"/>
        </dgm:choose>
      </dgm:layoutNode>
      <dgm:forEach name="Name15"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lvl1pPr>
        <a:lvl2pPr>
          <a:lnSpc>
            <a:spcPct val="100000"/>
          </a:lnSpc>
        </a:lvl2pPr>
      </dgm1612:lstStyle>
    </a:ext>
  </dgm:extLst>
</dgm:layoutDef>
</file>

<file path=ppt/diagrams/layout6.xml><?xml version="1.0" encoding="utf-8"?>
<dgm:layoutDef xmlns:dgm="http://schemas.openxmlformats.org/drawingml/2006/diagram" xmlns:a="http://schemas.openxmlformats.org/drawingml/2006/main" uniqueId="urn:microsoft.com/office/officeart/2018/2/layout/IconVerticalSolidList">
  <dgm:title val="Icon Vertical Solid List"/>
  <dgm:desc val="Use to show a series of visuals from top to bottom with Level 1 or Level 1 and Level 2 text grouped in a shape. Works best with icons or small pictures with lengthier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hoose name="Name3">
      <dgm:if name="Name4" axis="ch" ptType="node" func="cnt" op="lte" val="3">
        <dgm:constrLst>
          <dgm:constr type="h" for="ch" forName="compNode" refType="h" fact="0.3"/>
          <dgm:constr type="w" for="ch" forName="compNode" refType="w"/>
          <dgm:constr type="h" for="ch" forName="sibTrans" refType="h" refFor="ch" refForName="compNode" fact="0.25"/>
          <dgm:constr type="primFontSz" for="des" forName="parTx" val="25"/>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5" axis="ch" ptType="node" func="cnt" op="lte" val="4">
        <dgm:constrLst>
          <dgm:constr type="h" for="ch" forName="compNode" refType="h" fact="0.3"/>
          <dgm:constr type="w" for="ch" forName="compNode" refType="w"/>
          <dgm:constr type="h" for="ch" forName="sibTrans" refType="h" refFor="ch" refForName="compNode" fact="0.25"/>
          <dgm:constr type="primFontSz" for="des" forName="parTx" val="22"/>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6" axis="ch" ptType="node" func="cnt" op="lte" val="6">
        <dgm:constrLst>
          <dgm:constr type="h" for="ch" forName="compNode" refType="h" fact="0.3"/>
          <dgm:constr type="w" for="ch" forName="compNode" refType="w"/>
          <dgm:constr type="h" for="ch" forName="sibTrans" refType="h" refFor="ch" refForName="compNode" fact="0.25"/>
          <dgm:constr type="primFontSz" for="des" forName="parTx" val="19"/>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else name="Name7">
        <dgm:constrLst>
          <dgm:constr type="h" for="ch" forName="compNode" refType="h" fact="0.3"/>
          <dgm:constr type="w" for="ch" forName="compNode" refType="w"/>
          <dgm:constr type="h" for="ch" forName="sibTrans" refType="h" refFor="ch" refForName="compNode" fact="0.25"/>
          <dgm:constr type="primFontSz" for="des" forName="parTx" val="16"/>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else>
    </dgm:choose>
    <dgm:ruleLst>
      <dgm:rule type="h" for="ch" forName="compNode" val="0" fact="NaN" max="NaN"/>
    </dgm:ruleLst>
    <dgm:forEach name="Name8" axis="ch" ptType="node">
      <dgm:layoutNode name="compNode">
        <dgm:alg type="composite"/>
        <dgm:shape xmlns:r="http://schemas.openxmlformats.org/officeDocument/2006/relationships" r:blip="">
          <dgm:adjLst/>
        </dgm:shape>
        <dgm:presOf axis="self"/>
        <dgm:choose name="Name9">
          <dgm:if name="Name10" axis="ch" ptType="node" func="cnt" op="gte" val="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w" for="ch" forName="parTx" refType="w" fact="0.45"/>
              <dgm:constr type="h" for="ch" forName="parTx" refType="h"/>
              <dgm:constr type="l" for="ch" forName="parTx" refType="r" refFor="ch" refForName="spaceRect"/>
              <dgm:constr type="t" for="ch" forName="parTx"/>
              <dgm:constr type="h" for="ch" forName="desTx" refType="h"/>
              <dgm:constr type="l" for="ch" forName="desTx" refType="r" refFor="ch" refForName="parTx"/>
              <dgm:constr type="t" for="ch" forName="desTx"/>
            </dgm:constrLst>
          </dgm:if>
          <dgm:else name="Name1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h" for="ch" forName="parTx" refType="h"/>
              <dgm:constr type="l" for="ch" forName="parTx" refType="r" refFor="ch" refForName="spaceRect"/>
              <dgm:constr type="t" for="ch" forName="parTx"/>
            </dgm:constrLst>
          </dgm:else>
        </dgm:choose>
        <dgm:ruleLst>
          <dgm:rule type="h" val="INF" fact="NaN" max="NaN"/>
        </dgm:ruleLst>
        <dgm:layoutNode name="bgRect" styleLbl="bgShp">
          <dgm:alg type="sp"/>
          <dgm:shape xmlns:r="http://schemas.openxmlformats.org/officeDocument/2006/relationships" type="roundRect" r:blip="">
            <dgm:adjLst>
              <dgm:adj idx="1" val="0.1"/>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parTx" styleLbl="revTx">
          <dgm:varLst>
            <dgm:chMax val="0"/>
            <dgm:chPref val="0"/>
          </dgm:varLst>
          <dgm:alg type="tx">
            <dgm:param type="txAnchorVert" val="mid"/>
            <dgm:param type="parTxLTRAlign" val="l"/>
            <dgm:param type="shpTxLTRAlignCh" val="l"/>
            <dgm:param type="parTxRTLAlign" val="r"/>
            <dgm:param type="shpTxRTLAlignCh" val="r"/>
          </dgm:alg>
          <dgm:shape xmlns:r="http://schemas.openxmlformats.org/officeDocument/2006/relationships" type="rect" r:blip="">
            <dgm:adjLst/>
          </dgm:shape>
          <dgm:presOf axis="self" ptType="node"/>
          <dgm:constrLst>
            <dgm:constr type="lMarg" refType="h" fact="0.3"/>
            <dgm:constr type="rMarg" refType="h" fact="0.3"/>
            <dgm:constr type="tMarg" refType="h" fact="0.3"/>
            <dgm:constr type="bMarg" refType="h" fact="0.3"/>
          </dgm:constrLst>
          <dgm:ruleLst>
            <dgm:rule type="primFontSz" val="14" fact="NaN" max="NaN"/>
            <dgm:rule type="h" val="INF" fact="NaN" max="NaN"/>
          </dgm:ruleLst>
        </dgm:layoutNode>
        <dgm:choose name="Name12">
          <dgm:if name="Name13" axis="ch" ptType="node" func="cnt" op="gte" val="1">
            <dgm:layoutNode name="desTx" styleLbl="revTx">
              <dgm:varLst/>
              <dgm:alg type="tx">
                <dgm:param type="txAnchorVertCh" val="mid"/>
                <dgm:param type="parTxLTRAlign" val="l"/>
                <dgm:param type="shpTxLTRAlignCh" val="l"/>
                <dgm:param type="parTxRTLAlign" val="r"/>
                <dgm:param type="shpTxRTLAlignCh" val="r"/>
                <dgm:param type="stBulletLvl" val="0"/>
              </dgm:alg>
              <dgm:shape xmlns:r="http://schemas.openxmlformats.org/officeDocument/2006/relationships" type="rect" r:blip="">
                <dgm:adjLst/>
              </dgm:shape>
              <dgm:presOf axis="des" ptType="node"/>
              <dgm:constrLst>
                <dgm:constr type="primFontSz" val="18"/>
                <dgm:constr type="secFontSz" refType="primFontSz"/>
                <dgm:constr type="lMarg" refType="h" fact="0.3"/>
                <dgm:constr type="rMarg" refType="h" fact="0.3"/>
                <dgm:constr type="tMarg" refType="h" fact="0.3"/>
                <dgm:constr type="bMarg" refType="h" fact="0.3"/>
              </dgm:constrLst>
              <dgm:ruleLst>
                <dgm:rule type="primFontSz" val="11" fact="NaN" max="NaN"/>
              </dgm:ruleLst>
            </dgm:layoutNode>
          </dgm:if>
          <dgm:else name="Name14"/>
        </dgm:choose>
      </dgm:layoutNode>
      <dgm:forEach name="Name15"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lvl1pPr>
        <a:lvl2pPr>
          <a:lnSpc>
            <a:spcPct val="100000"/>
          </a:lnSpc>
        </a:lvl2pPr>
      </dgm1612:lstStyle>
    </a:ext>
  </dgm:extLst>
</dgm:layoutDef>
</file>

<file path=ppt/diagrams/layout7.xml><?xml version="1.0" encoding="utf-8"?>
<dgm:layoutDef xmlns:dgm="http://schemas.openxmlformats.org/drawingml/2006/diagram" xmlns:a="http://schemas.openxmlformats.org/drawingml/2006/main" uniqueId="urn:microsoft.com/office/officeart/2018/2/layout/IconVerticalSolidList">
  <dgm:title val="Icon Vertical Solid List"/>
  <dgm:desc val="Use to show a series of visuals from top to bottom with Level 1 or Level 1 and Level 2 text grouped in a shape. Works best with icons or small pictures with lengthier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hoose name="Name3">
      <dgm:if name="Name4" axis="ch" ptType="node" func="cnt" op="lte" val="3">
        <dgm:constrLst>
          <dgm:constr type="h" for="ch" forName="compNode" refType="h" fact="0.3"/>
          <dgm:constr type="w" for="ch" forName="compNode" refType="w"/>
          <dgm:constr type="h" for="ch" forName="sibTrans" refType="h" refFor="ch" refForName="compNode" fact="0.25"/>
          <dgm:constr type="primFontSz" for="des" forName="parTx" val="25"/>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5" axis="ch" ptType="node" func="cnt" op="lte" val="4">
        <dgm:constrLst>
          <dgm:constr type="h" for="ch" forName="compNode" refType="h" fact="0.3"/>
          <dgm:constr type="w" for="ch" forName="compNode" refType="w"/>
          <dgm:constr type="h" for="ch" forName="sibTrans" refType="h" refFor="ch" refForName="compNode" fact="0.25"/>
          <dgm:constr type="primFontSz" for="des" forName="parTx" val="22"/>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6" axis="ch" ptType="node" func="cnt" op="lte" val="6">
        <dgm:constrLst>
          <dgm:constr type="h" for="ch" forName="compNode" refType="h" fact="0.3"/>
          <dgm:constr type="w" for="ch" forName="compNode" refType="w"/>
          <dgm:constr type="h" for="ch" forName="sibTrans" refType="h" refFor="ch" refForName="compNode" fact="0.25"/>
          <dgm:constr type="primFontSz" for="des" forName="parTx" val="19"/>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else name="Name7">
        <dgm:constrLst>
          <dgm:constr type="h" for="ch" forName="compNode" refType="h" fact="0.3"/>
          <dgm:constr type="w" for="ch" forName="compNode" refType="w"/>
          <dgm:constr type="h" for="ch" forName="sibTrans" refType="h" refFor="ch" refForName="compNode" fact="0.25"/>
          <dgm:constr type="primFontSz" for="des" forName="parTx" val="16"/>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else>
    </dgm:choose>
    <dgm:ruleLst>
      <dgm:rule type="h" for="ch" forName="compNode" val="0" fact="NaN" max="NaN"/>
    </dgm:ruleLst>
    <dgm:forEach name="Name8" axis="ch" ptType="node">
      <dgm:layoutNode name="compNode">
        <dgm:alg type="composite"/>
        <dgm:shape xmlns:r="http://schemas.openxmlformats.org/officeDocument/2006/relationships" r:blip="">
          <dgm:adjLst/>
        </dgm:shape>
        <dgm:presOf axis="self"/>
        <dgm:choose name="Name9">
          <dgm:if name="Name10" axis="ch" ptType="node" func="cnt" op="gte" val="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w" for="ch" forName="parTx" refType="w" fact="0.45"/>
              <dgm:constr type="h" for="ch" forName="parTx" refType="h"/>
              <dgm:constr type="l" for="ch" forName="parTx" refType="r" refFor="ch" refForName="spaceRect"/>
              <dgm:constr type="t" for="ch" forName="parTx"/>
              <dgm:constr type="h" for="ch" forName="desTx" refType="h"/>
              <dgm:constr type="l" for="ch" forName="desTx" refType="r" refFor="ch" refForName="parTx"/>
              <dgm:constr type="t" for="ch" forName="desTx"/>
            </dgm:constrLst>
          </dgm:if>
          <dgm:else name="Name1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h" for="ch" forName="parTx" refType="h"/>
              <dgm:constr type="l" for="ch" forName="parTx" refType="r" refFor="ch" refForName="spaceRect"/>
              <dgm:constr type="t" for="ch" forName="parTx"/>
            </dgm:constrLst>
          </dgm:else>
        </dgm:choose>
        <dgm:ruleLst>
          <dgm:rule type="h" val="INF" fact="NaN" max="NaN"/>
        </dgm:ruleLst>
        <dgm:layoutNode name="bgRect" styleLbl="bgShp">
          <dgm:alg type="sp"/>
          <dgm:shape xmlns:r="http://schemas.openxmlformats.org/officeDocument/2006/relationships" type="roundRect" r:blip="">
            <dgm:adjLst>
              <dgm:adj idx="1" val="0.1"/>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parTx" styleLbl="revTx">
          <dgm:varLst>
            <dgm:chMax val="0"/>
            <dgm:chPref val="0"/>
          </dgm:varLst>
          <dgm:alg type="tx">
            <dgm:param type="txAnchorVert" val="mid"/>
            <dgm:param type="parTxLTRAlign" val="l"/>
            <dgm:param type="shpTxLTRAlignCh" val="l"/>
            <dgm:param type="parTxRTLAlign" val="r"/>
            <dgm:param type="shpTxRTLAlignCh" val="r"/>
          </dgm:alg>
          <dgm:shape xmlns:r="http://schemas.openxmlformats.org/officeDocument/2006/relationships" type="rect" r:blip="">
            <dgm:adjLst/>
          </dgm:shape>
          <dgm:presOf axis="self" ptType="node"/>
          <dgm:constrLst>
            <dgm:constr type="lMarg" refType="h" fact="0.3"/>
            <dgm:constr type="rMarg" refType="h" fact="0.3"/>
            <dgm:constr type="tMarg" refType="h" fact="0.3"/>
            <dgm:constr type="bMarg" refType="h" fact="0.3"/>
          </dgm:constrLst>
          <dgm:ruleLst>
            <dgm:rule type="primFontSz" val="14" fact="NaN" max="NaN"/>
            <dgm:rule type="h" val="INF" fact="NaN" max="NaN"/>
          </dgm:ruleLst>
        </dgm:layoutNode>
        <dgm:choose name="Name12">
          <dgm:if name="Name13" axis="ch" ptType="node" func="cnt" op="gte" val="1">
            <dgm:layoutNode name="desTx" styleLbl="revTx">
              <dgm:varLst/>
              <dgm:alg type="tx">
                <dgm:param type="txAnchorVertCh" val="mid"/>
                <dgm:param type="parTxLTRAlign" val="l"/>
                <dgm:param type="shpTxLTRAlignCh" val="l"/>
                <dgm:param type="parTxRTLAlign" val="r"/>
                <dgm:param type="shpTxRTLAlignCh" val="r"/>
                <dgm:param type="stBulletLvl" val="0"/>
              </dgm:alg>
              <dgm:shape xmlns:r="http://schemas.openxmlformats.org/officeDocument/2006/relationships" type="rect" r:blip="">
                <dgm:adjLst/>
              </dgm:shape>
              <dgm:presOf axis="des" ptType="node"/>
              <dgm:constrLst>
                <dgm:constr type="primFontSz" val="18"/>
                <dgm:constr type="secFontSz" refType="primFontSz"/>
                <dgm:constr type="lMarg" refType="h" fact="0.3"/>
                <dgm:constr type="rMarg" refType="h" fact="0.3"/>
                <dgm:constr type="tMarg" refType="h" fact="0.3"/>
                <dgm:constr type="bMarg" refType="h" fact="0.3"/>
              </dgm:constrLst>
              <dgm:ruleLst>
                <dgm:rule type="primFontSz" val="11" fact="NaN" max="NaN"/>
              </dgm:ruleLst>
            </dgm:layoutNode>
          </dgm:if>
          <dgm:else name="Name14"/>
        </dgm:choose>
      </dgm:layoutNode>
      <dgm:forEach name="Name15"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lvl1pPr>
        <a:lvl2pPr>
          <a:lnSpc>
            <a:spcPct val="100000"/>
          </a:lnSpc>
        </a:lvl2pPr>
      </dgm1612:lstStyle>
    </a:ext>
  </dgm:extLst>
</dgm:layoutDef>
</file>

<file path=ppt/diagrams/layout8.xml><?xml version="1.0" encoding="utf-8"?>
<dgm:layoutDef xmlns:dgm="http://schemas.openxmlformats.org/drawingml/2006/diagram" xmlns:a="http://schemas.openxmlformats.org/drawingml/2006/main" uniqueId="urn:microsoft.com/office/officeart/2018/2/layout/IconVerticalSolidList">
  <dgm:title val="Icon Vertical Solid List"/>
  <dgm:desc val="Use to show a series of visuals from top to bottom with Level 1 or Level 1 and Level 2 text grouped in a shape. Works best with icons or small pictures with lengthier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hoose name="Name3">
      <dgm:if name="Name4" axis="ch" ptType="node" func="cnt" op="lte" val="3">
        <dgm:constrLst>
          <dgm:constr type="h" for="ch" forName="compNode" refType="h" fact="0.3"/>
          <dgm:constr type="w" for="ch" forName="compNode" refType="w"/>
          <dgm:constr type="h" for="ch" forName="sibTrans" refType="h" refFor="ch" refForName="compNode" fact="0.25"/>
          <dgm:constr type="primFontSz" for="des" forName="parTx" val="25"/>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5" axis="ch" ptType="node" func="cnt" op="lte" val="4">
        <dgm:constrLst>
          <dgm:constr type="h" for="ch" forName="compNode" refType="h" fact="0.3"/>
          <dgm:constr type="w" for="ch" forName="compNode" refType="w"/>
          <dgm:constr type="h" for="ch" forName="sibTrans" refType="h" refFor="ch" refForName="compNode" fact="0.25"/>
          <dgm:constr type="primFontSz" for="des" forName="parTx" val="22"/>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6" axis="ch" ptType="node" func="cnt" op="lte" val="6">
        <dgm:constrLst>
          <dgm:constr type="h" for="ch" forName="compNode" refType="h" fact="0.3"/>
          <dgm:constr type="w" for="ch" forName="compNode" refType="w"/>
          <dgm:constr type="h" for="ch" forName="sibTrans" refType="h" refFor="ch" refForName="compNode" fact="0.25"/>
          <dgm:constr type="primFontSz" for="des" forName="parTx" val="19"/>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else name="Name7">
        <dgm:constrLst>
          <dgm:constr type="h" for="ch" forName="compNode" refType="h" fact="0.3"/>
          <dgm:constr type="w" for="ch" forName="compNode" refType="w"/>
          <dgm:constr type="h" for="ch" forName="sibTrans" refType="h" refFor="ch" refForName="compNode" fact="0.25"/>
          <dgm:constr type="primFontSz" for="des" forName="parTx" val="16"/>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else>
    </dgm:choose>
    <dgm:ruleLst>
      <dgm:rule type="h" for="ch" forName="compNode" val="0" fact="NaN" max="NaN"/>
    </dgm:ruleLst>
    <dgm:forEach name="Name8" axis="ch" ptType="node">
      <dgm:layoutNode name="compNode">
        <dgm:alg type="composite"/>
        <dgm:shape xmlns:r="http://schemas.openxmlformats.org/officeDocument/2006/relationships" r:blip="">
          <dgm:adjLst/>
        </dgm:shape>
        <dgm:presOf axis="self"/>
        <dgm:choose name="Name9">
          <dgm:if name="Name10" axis="ch" ptType="node" func="cnt" op="gte" val="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w" for="ch" forName="parTx" refType="w" fact="0.45"/>
              <dgm:constr type="h" for="ch" forName="parTx" refType="h"/>
              <dgm:constr type="l" for="ch" forName="parTx" refType="r" refFor="ch" refForName="spaceRect"/>
              <dgm:constr type="t" for="ch" forName="parTx"/>
              <dgm:constr type="h" for="ch" forName="desTx" refType="h"/>
              <dgm:constr type="l" for="ch" forName="desTx" refType="r" refFor="ch" refForName="parTx"/>
              <dgm:constr type="t" for="ch" forName="desTx"/>
            </dgm:constrLst>
          </dgm:if>
          <dgm:else name="Name1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h" for="ch" forName="parTx" refType="h"/>
              <dgm:constr type="l" for="ch" forName="parTx" refType="r" refFor="ch" refForName="spaceRect"/>
              <dgm:constr type="t" for="ch" forName="parTx"/>
            </dgm:constrLst>
          </dgm:else>
        </dgm:choose>
        <dgm:ruleLst>
          <dgm:rule type="h" val="INF" fact="NaN" max="NaN"/>
        </dgm:ruleLst>
        <dgm:layoutNode name="bgRect" styleLbl="bgShp">
          <dgm:alg type="sp"/>
          <dgm:shape xmlns:r="http://schemas.openxmlformats.org/officeDocument/2006/relationships" type="roundRect" r:blip="">
            <dgm:adjLst>
              <dgm:adj idx="1" val="0.1"/>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parTx" styleLbl="revTx">
          <dgm:varLst>
            <dgm:chMax val="0"/>
            <dgm:chPref val="0"/>
          </dgm:varLst>
          <dgm:alg type="tx">
            <dgm:param type="txAnchorVert" val="mid"/>
            <dgm:param type="parTxLTRAlign" val="l"/>
            <dgm:param type="shpTxLTRAlignCh" val="l"/>
            <dgm:param type="parTxRTLAlign" val="r"/>
            <dgm:param type="shpTxRTLAlignCh" val="r"/>
          </dgm:alg>
          <dgm:shape xmlns:r="http://schemas.openxmlformats.org/officeDocument/2006/relationships" type="rect" r:blip="">
            <dgm:adjLst/>
          </dgm:shape>
          <dgm:presOf axis="self" ptType="node"/>
          <dgm:constrLst>
            <dgm:constr type="lMarg" refType="h" fact="0.3"/>
            <dgm:constr type="rMarg" refType="h" fact="0.3"/>
            <dgm:constr type="tMarg" refType="h" fact="0.3"/>
            <dgm:constr type="bMarg" refType="h" fact="0.3"/>
          </dgm:constrLst>
          <dgm:ruleLst>
            <dgm:rule type="primFontSz" val="14" fact="NaN" max="NaN"/>
            <dgm:rule type="h" val="INF" fact="NaN" max="NaN"/>
          </dgm:ruleLst>
        </dgm:layoutNode>
        <dgm:choose name="Name12">
          <dgm:if name="Name13" axis="ch" ptType="node" func="cnt" op="gte" val="1">
            <dgm:layoutNode name="desTx" styleLbl="revTx">
              <dgm:varLst/>
              <dgm:alg type="tx">
                <dgm:param type="txAnchorVertCh" val="mid"/>
                <dgm:param type="parTxLTRAlign" val="l"/>
                <dgm:param type="shpTxLTRAlignCh" val="l"/>
                <dgm:param type="parTxRTLAlign" val="r"/>
                <dgm:param type="shpTxRTLAlignCh" val="r"/>
                <dgm:param type="stBulletLvl" val="0"/>
              </dgm:alg>
              <dgm:shape xmlns:r="http://schemas.openxmlformats.org/officeDocument/2006/relationships" type="rect" r:blip="">
                <dgm:adjLst/>
              </dgm:shape>
              <dgm:presOf axis="des" ptType="node"/>
              <dgm:constrLst>
                <dgm:constr type="primFontSz" val="18"/>
                <dgm:constr type="secFontSz" refType="primFontSz"/>
                <dgm:constr type="lMarg" refType="h" fact="0.3"/>
                <dgm:constr type="rMarg" refType="h" fact="0.3"/>
                <dgm:constr type="tMarg" refType="h" fact="0.3"/>
                <dgm:constr type="bMarg" refType="h" fact="0.3"/>
              </dgm:constrLst>
              <dgm:ruleLst>
                <dgm:rule type="primFontSz" val="11" fact="NaN" max="NaN"/>
              </dgm:ruleLst>
            </dgm:layoutNode>
          </dgm:if>
          <dgm:else name="Name14"/>
        </dgm:choose>
      </dgm:layoutNode>
      <dgm:forEach name="Name15"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lvl1pPr>
        <a:lvl2pPr>
          <a:lnSpc>
            <a:spcPct val="100000"/>
          </a:lnSpc>
        </a:lvl2pPr>
      </dgm1612:lstStyle>
    </a:ext>
  </dgm:extLst>
</dgm:layoutDef>
</file>

<file path=ppt/diagrams/layout9.xml><?xml version="1.0" encoding="utf-8"?>
<dgm:layoutDef xmlns:dgm="http://schemas.openxmlformats.org/drawingml/2006/diagram" xmlns:a="http://schemas.openxmlformats.org/drawingml/2006/main" uniqueId="urn:microsoft.com/office/officeart/2018/2/layout/IconVerticalSolidList">
  <dgm:title val="Icon Vertical Solid List"/>
  <dgm:desc val="Use to show a series of visuals from top to bottom with Level 1 or Level 1 and Level 2 text grouped in a shape. Works best with icons or small pictures with lengthier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hoose name="Name3">
      <dgm:if name="Name4" axis="ch" ptType="node" func="cnt" op="lte" val="3">
        <dgm:constrLst>
          <dgm:constr type="h" for="ch" forName="compNode" refType="h" fact="0.3"/>
          <dgm:constr type="w" for="ch" forName="compNode" refType="w"/>
          <dgm:constr type="h" for="ch" forName="sibTrans" refType="h" refFor="ch" refForName="compNode" fact="0.25"/>
          <dgm:constr type="primFontSz" for="des" forName="parTx" val="25"/>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5" axis="ch" ptType="node" func="cnt" op="lte" val="4">
        <dgm:constrLst>
          <dgm:constr type="h" for="ch" forName="compNode" refType="h" fact="0.3"/>
          <dgm:constr type="w" for="ch" forName="compNode" refType="w"/>
          <dgm:constr type="h" for="ch" forName="sibTrans" refType="h" refFor="ch" refForName="compNode" fact="0.25"/>
          <dgm:constr type="primFontSz" for="des" forName="parTx" val="22"/>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6" axis="ch" ptType="node" func="cnt" op="lte" val="6">
        <dgm:constrLst>
          <dgm:constr type="h" for="ch" forName="compNode" refType="h" fact="0.3"/>
          <dgm:constr type="w" for="ch" forName="compNode" refType="w"/>
          <dgm:constr type="h" for="ch" forName="sibTrans" refType="h" refFor="ch" refForName="compNode" fact="0.25"/>
          <dgm:constr type="primFontSz" for="des" forName="parTx" val="19"/>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else name="Name7">
        <dgm:constrLst>
          <dgm:constr type="h" for="ch" forName="compNode" refType="h" fact="0.3"/>
          <dgm:constr type="w" for="ch" forName="compNode" refType="w"/>
          <dgm:constr type="h" for="ch" forName="sibTrans" refType="h" refFor="ch" refForName="compNode" fact="0.25"/>
          <dgm:constr type="primFontSz" for="des" forName="parTx" val="16"/>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else>
    </dgm:choose>
    <dgm:ruleLst>
      <dgm:rule type="h" for="ch" forName="compNode" val="0" fact="NaN" max="NaN"/>
    </dgm:ruleLst>
    <dgm:forEach name="Name8" axis="ch" ptType="node">
      <dgm:layoutNode name="compNode">
        <dgm:alg type="composite"/>
        <dgm:shape xmlns:r="http://schemas.openxmlformats.org/officeDocument/2006/relationships" r:blip="">
          <dgm:adjLst/>
        </dgm:shape>
        <dgm:presOf axis="self"/>
        <dgm:choose name="Name9">
          <dgm:if name="Name10" axis="ch" ptType="node" func="cnt" op="gte" val="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w" for="ch" forName="parTx" refType="w" fact="0.45"/>
              <dgm:constr type="h" for="ch" forName="parTx" refType="h"/>
              <dgm:constr type="l" for="ch" forName="parTx" refType="r" refFor="ch" refForName="spaceRect"/>
              <dgm:constr type="t" for="ch" forName="parTx"/>
              <dgm:constr type="h" for="ch" forName="desTx" refType="h"/>
              <dgm:constr type="l" for="ch" forName="desTx" refType="r" refFor="ch" refForName="parTx"/>
              <dgm:constr type="t" for="ch" forName="desTx"/>
            </dgm:constrLst>
          </dgm:if>
          <dgm:else name="Name1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h" for="ch" forName="parTx" refType="h"/>
              <dgm:constr type="l" for="ch" forName="parTx" refType="r" refFor="ch" refForName="spaceRect"/>
              <dgm:constr type="t" for="ch" forName="parTx"/>
            </dgm:constrLst>
          </dgm:else>
        </dgm:choose>
        <dgm:ruleLst>
          <dgm:rule type="h" val="INF" fact="NaN" max="NaN"/>
        </dgm:ruleLst>
        <dgm:layoutNode name="bgRect" styleLbl="bgShp">
          <dgm:alg type="sp"/>
          <dgm:shape xmlns:r="http://schemas.openxmlformats.org/officeDocument/2006/relationships" type="roundRect" r:blip="">
            <dgm:adjLst>
              <dgm:adj idx="1" val="0.1"/>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parTx" styleLbl="revTx">
          <dgm:varLst>
            <dgm:chMax val="0"/>
            <dgm:chPref val="0"/>
          </dgm:varLst>
          <dgm:alg type="tx">
            <dgm:param type="txAnchorVert" val="mid"/>
            <dgm:param type="parTxLTRAlign" val="l"/>
            <dgm:param type="shpTxLTRAlignCh" val="l"/>
            <dgm:param type="parTxRTLAlign" val="r"/>
            <dgm:param type="shpTxRTLAlignCh" val="r"/>
          </dgm:alg>
          <dgm:shape xmlns:r="http://schemas.openxmlformats.org/officeDocument/2006/relationships" type="rect" r:blip="">
            <dgm:adjLst/>
          </dgm:shape>
          <dgm:presOf axis="self" ptType="node"/>
          <dgm:constrLst>
            <dgm:constr type="lMarg" refType="h" fact="0.3"/>
            <dgm:constr type="rMarg" refType="h" fact="0.3"/>
            <dgm:constr type="tMarg" refType="h" fact="0.3"/>
            <dgm:constr type="bMarg" refType="h" fact="0.3"/>
          </dgm:constrLst>
          <dgm:ruleLst>
            <dgm:rule type="primFontSz" val="14" fact="NaN" max="NaN"/>
            <dgm:rule type="h" val="INF" fact="NaN" max="NaN"/>
          </dgm:ruleLst>
        </dgm:layoutNode>
        <dgm:choose name="Name12">
          <dgm:if name="Name13" axis="ch" ptType="node" func="cnt" op="gte" val="1">
            <dgm:layoutNode name="desTx" styleLbl="revTx">
              <dgm:varLst/>
              <dgm:alg type="tx">
                <dgm:param type="txAnchorVertCh" val="mid"/>
                <dgm:param type="parTxLTRAlign" val="l"/>
                <dgm:param type="shpTxLTRAlignCh" val="l"/>
                <dgm:param type="parTxRTLAlign" val="r"/>
                <dgm:param type="shpTxRTLAlignCh" val="r"/>
                <dgm:param type="stBulletLvl" val="0"/>
              </dgm:alg>
              <dgm:shape xmlns:r="http://schemas.openxmlformats.org/officeDocument/2006/relationships" type="rect" r:blip="">
                <dgm:adjLst/>
              </dgm:shape>
              <dgm:presOf axis="des" ptType="node"/>
              <dgm:constrLst>
                <dgm:constr type="primFontSz" val="18"/>
                <dgm:constr type="secFontSz" refType="primFontSz"/>
                <dgm:constr type="lMarg" refType="h" fact="0.3"/>
                <dgm:constr type="rMarg" refType="h" fact="0.3"/>
                <dgm:constr type="tMarg" refType="h" fact="0.3"/>
                <dgm:constr type="bMarg" refType="h" fact="0.3"/>
              </dgm:constrLst>
              <dgm:ruleLst>
                <dgm:rule type="primFontSz" val="11" fact="NaN" max="NaN"/>
              </dgm:ruleLst>
            </dgm:layoutNode>
          </dgm:if>
          <dgm:else name="Name14"/>
        </dgm:choose>
      </dgm:layoutNode>
      <dgm:forEach name="Name15"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lvl1pPr>
        <a:lvl2pPr>
          <a:lnSpc>
            <a:spcPct val="100000"/>
          </a:lnSpc>
        </a:lvl2pPr>
      </dgm1612:lstStyle>
    </a:ext>
  </dgm:extLst>
</dgm:layoutDef>
</file>

<file path=ppt/diagrams/quickStyle1.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16.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962400" cy="344091"/>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5179484" y="0"/>
            <a:ext cx="3962400" cy="344091"/>
          </a:xfrm>
          <a:prstGeom prst="rect">
            <a:avLst/>
          </a:prstGeom>
        </p:spPr>
        <p:txBody>
          <a:bodyPr vert="horz" lIns="91440" tIns="45720" rIns="91440" bIns="45720" rtlCol="0"/>
          <a:lstStyle>
            <a:lvl1pPr algn="r">
              <a:defRPr sz="1200"/>
            </a:lvl1pPr>
          </a:lstStyle>
          <a:p>
            <a:fld id="{E195ACD2-E17C-43B7-8D87-7E1082C8B164}" type="datetimeFigureOut">
              <a:rPr lang="en-US" smtClean="0"/>
              <a:t>4/2/2020</a:t>
            </a:fld>
            <a:endParaRPr lang="en-US"/>
          </a:p>
        </p:txBody>
      </p:sp>
      <p:sp>
        <p:nvSpPr>
          <p:cNvPr id="4" name="Footer Placeholder 3"/>
          <p:cNvSpPr>
            <a:spLocks noGrp="1"/>
          </p:cNvSpPr>
          <p:nvPr>
            <p:ph type="ftr" sz="quarter" idx="2"/>
          </p:nvPr>
        </p:nvSpPr>
        <p:spPr>
          <a:xfrm>
            <a:off x="0" y="6513910"/>
            <a:ext cx="3962400" cy="344090"/>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5179484" y="6513910"/>
            <a:ext cx="3962400" cy="344090"/>
          </a:xfrm>
          <a:prstGeom prst="rect">
            <a:avLst/>
          </a:prstGeom>
        </p:spPr>
        <p:txBody>
          <a:bodyPr vert="horz" lIns="91440" tIns="45720" rIns="91440" bIns="45720" rtlCol="0" anchor="b"/>
          <a:lstStyle>
            <a:lvl1pPr algn="r">
              <a:defRPr sz="1200"/>
            </a:lvl1pPr>
          </a:lstStyle>
          <a:p>
            <a:fld id="{EFDB84BE-AB68-4F36-978D-33AC5A9E00C0}" type="slidenum">
              <a:rPr lang="en-US" smtClean="0"/>
              <a:t>‹#›</a:t>
            </a:fld>
            <a:endParaRPr lang="en-US"/>
          </a:p>
        </p:txBody>
      </p:sp>
    </p:spTree>
    <p:extLst>
      <p:ext uri="{BB962C8B-B14F-4D97-AF65-F5344CB8AC3E}">
        <p14:creationId xmlns:p14="http://schemas.microsoft.com/office/powerpoint/2010/main" val="128899594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962400" cy="3444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5180013" y="0"/>
            <a:ext cx="3962400" cy="344488"/>
          </a:xfrm>
          <a:prstGeom prst="rect">
            <a:avLst/>
          </a:prstGeom>
        </p:spPr>
        <p:txBody>
          <a:bodyPr vert="horz" lIns="91440" tIns="45720" rIns="91440" bIns="45720" rtlCol="0"/>
          <a:lstStyle>
            <a:lvl1pPr algn="r">
              <a:defRPr sz="1200"/>
            </a:lvl1pPr>
          </a:lstStyle>
          <a:p>
            <a:fld id="{E8DB9613-7C7B-45A5-BC21-C6BB9CAF9628}" type="datetimeFigureOut">
              <a:rPr lang="en-US" smtClean="0"/>
              <a:t>4/2/2020</a:t>
            </a:fld>
            <a:endParaRPr lang="en-US"/>
          </a:p>
        </p:txBody>
      </p:sp>
      <p:sp>
        <p:nvSpPr>
          <p:cNvPr id="4" name="Slide Image Placeholder 3"/>
          <p:cNvSpPr>
            <a:spLocks noGrp="1" noRot="1" noChangeAspect="1"/>
          </p:cNvSpPr>
          <p:nvPr>
            <p:ph type="sldImg" idx="2"/>
          </p:nvPr>
        </p:nvSpPr>
        <p:spPr>
          <a:xfrm>
            <a:off x="2514600" y="857250"/>
            <a:ext cx="4114800" cy="2314575"/>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914400" y="3300413"/>
            <a:ext cx="7315200" cy="2700337"/>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6513513"/>
            <a:ext cx="3962400" cy="3444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5180013" y="6513513"/>
            <a:ext cx="3962400" cy="344487"/>
          </a:xfrm>
          <a:prstGeom prst="rect">
            <a:avLst/>
          </a:prstGeom>
        </p:spPr>
        <p:txBody>
          <a:bodyPr vert="horz" lIns="91440" tIns="45720" rIns="91440" bIns="45720" rtlCol="0" anchor="b"/>
          <a:lstStyle>
            <a:lvl1pPr algn="r">
              <a:defRPr sz="1200"/>
            </a:lvl1pPr>
          </a:lstStyle>
          <a:p>
            <a:fld id="{DBC20A3E-3D17-4318-A36F-27D2A819B07E}" type="slidenum">
              <a:rPr lang="en-US" smtClean="0"/>
              <a:t>‹#›</a:t>
            </a:fld>
            <a:endParaRPr lang="en-US"/>
          </a:p>
        </p:txBody>
      </p:sp>
    </p:spTree>
    <p:extLst>
      <p:ext uri="{BB962C8B-B14F-4D97-AF65-F5344CB8AC3E}">
        <p14:creationId xmlns:p14="http://schemas.microsoft.com/office/powerpoint/2010/main" val="118311664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E7DDAF8-CADA-4CCD-8AA9-F346CFA74C57}" type="slidenum">
              <a:rPr lang="en-US" smtClean="0"/>
              <a:t>1</a:t>
            </a:fld>
            <a:endParaRPr lang="en-US"/>
          </a:p>
        </p:txBody>
      </p:sp>
    </p:spTree>
    <p:extLst>
      <p:ext uri="{BB962C8B-B14F-4D97-AF65-F5344CB8AC3E}">
        <p14:creationId xmlns:p14="http://schemas.microsoft.com/office/powerpoint/2010/main" val="249749683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E7DDAF8-CADA-4CCD-8AA9-F346CFA74C57}" type="slidenum">
              <a:rPr lang="en-US" smtClean="0"/>
              <a:t>2</a:t>
            </a:fld>
            <a:endParaRPr lang="en-US"/>
          </a:p>
        </p:txBody>
      </p:sp>
    </p:spTree>
    <p:extLst>
      <p:ext uri="{BB962C8B-B14F-4D97-AF65-F5344CB8AC3E}">
        <p14:creationId xmlns:p14="http://schemas.microsoft.com/office/powerpoint/2010/main" val="76874863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fontAlgn="base"/>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3485906-6796-4522-ACCF-9026669656C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7132581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he potential of AI is exciting. However, while many business professionals recognize the potential for AI to boost efficiency or enhance the customer experience, they perceive implementation to be unrealistic for them. </a:t>
            </a:r>
          </a:p>
          <a:p>
            <a:endParaRPr lang="en-US"/>
          </a:p>
          <a:p>
            <a:r>
              <a:rPr lang="en-US"/>
              <a:t>Let’s see how we at Microsoft are changing that perception:</a:t>
            </a:r>
          </a:p>
          <a:p>
            <a:endParaRPr lang="en-US"/>
          </a:p>
          <a:p>
            <a:pPr marL="175416" indent="-175416">
              <a:buFont typeface="Arial" panose="020B0604020202020204" pitchFamily="34" charset="0"/>
              <a:buChar char="•"/>
            </a:pPr>
            <a:r>
              <a:rPr lang="en-US" b="1"/>
              <a:t>Data</a:t>
            </a:r>
            <a:r>
              <a:rPr lang="en-US"/>
              <a:t>: Our Dynamics 365 approach to AI starts with Microsoft’s ability to source all your data from both internal and external sources through a set of 300+ out of the box connectors including On-Premises data gateways to support hybrid deployments. Microsoft’s ability to fast-track the data integration process from what has historically been a costly, error prone and multi-tech stack challenge allows organizations to easily overcome the first hurdle of successful AI outcomes; a lack of data.</a:t>
            </a:r>
          </a:p>
          <a:p>
            <a:pPr marL="175416" indent="-175416">
              <a:buFont typeface="Arial" panose="020B0604020202020204" pitchFamily="34" charset="0"/>
              <a:buChar char="•"/>
            </a:pPr>
            <a:endParaRPr lang="en-US"/>
          </a:p>
          <a:p>
            <a:r>
              <a:rPr lang="en-US"/>
              <a:t>Even more since basically today 1</a:t>
            </a:r>
            <a:r>
              <a:rPr lang="en-US" baseline="30000"/>
              <a:t>st</a:t>
            </a:r>
            <a:r>
              <a:rPr lang="en-US"/>
              <a:t> of October you can bring data that is stored in the customer </a:t>
            </a:r>
            <a:r>
              <a:rPr lang="en-US" err="1"/>
              <a:t>sdata</a:t>
            </a:r>
            <a:r>
              <a:rPr lang="en-US"/>
              <a:t> lake. You can also bring in your own Data Lake as long as your data is in CDM compatible.</a:t>
            </a:r>
          </a:p>
          <a:p>
            <a:r>
              <a:rPr lang="en-US"/>
              <a:t>Customer Insights Entities are CDM compatible entities created by the system on your behalf; These entities are over Your data and you can export them and power other scenarios Like flow, Power Apps, etc.</a:t>
            </a:r>
          </a:p>
          <a:p>
            <a:pPr marL="0" indent="0">
              <a:buFont typeface="Arial" panose="020B0604020202020204" pitchFamily="34" charset="0"/>
              <a:buNone/>
            </a:pPr>
            <a:endParaRPr lang="en-US"/>
          </a:p>
          <a:p>
            <a:pPr marL="175416" indent="-175416">
              <a:buFont typeface="Arial" panose="020B0604020202020204" pitchFamily="34" charset="0"/>
              <a:buChar char="•"/>
            </a:pPr>
            <a:endParaRPr lang="en-US"/>
          </a:p>
          <a:p>
            <a:pPr marL="175416" indent="-175416">
              <a:buFont typeface="Arial" panose="020B0604020202020204" pitchFamily="34" charset="0"/>
              <a:buChar char="•"/>
            </a:pPr>
            <a:r>
              <a:rPr lang="en-US" b="1"/>
              <a:t>Unification</a:t>
            </a:r>
            <a:r>
              <a:rPr lang="en-US"/>
              <a:t>: Beyond the most basic need of AI being data, an organization needs to be able to make sense of that data. As you ingest multiple sources of data you will certainly detect errors, duplication and other common issues. Our unification process standardizes data and applies built-in AI to automatically match and merge the records into one comprehensive profile. In addition, organizations can create richer profiles with brand affinity and interests from Microsoft Graph which provides aggregated proprietary predictive signals. </a:t>
            </a:r>
          </a:p>
          <a:p>
            <a:pPr marL="175416" indent="-175416">
              <a:buFont typeface="Arial" panose="020B0604020202020204" pitchFamily="34" charset="0"/>
              <a:buChar char="•"/>
            </a:pPr>
            <a:endParaRPr lang="en-US"/>
          </a:p>
          <a:p>
            <a:pPr marL="175416" indent="-175416">
              <a:buFont typeface="Arial" panose="020B0604020202020204" pitchFamily="34" charset="0"/>
              <a:buChar char="•"/>
            </a:pPr>
            <a:r>
              <a:rPr lang="en-US" b="1"/>
              <a:t>Insights</a:t>
            </a:r>
            <a:r>
              <a:rPr lang="en-US"/>
              <a:t>: Armed with a single source of truth, our customers leverage Microsoft’s industry leading: Analytic, AI and ML capabilities to unlock insights and achieve greater organizational outcomes. At Microsoft we have been leading the way in AI for decades, for example did you know that;</a:t>
            </a:r>
          </a:p>
          <a:p>
            <a:endParaRPr lang="en-US"/>
          </a:p>
          <a:p>
            <a:pPr marL="643192" lvl="1" indent="-175416">
              <a:buFont typeface="Arial" panose="020B0604020202020204" pitchFamily="34" charset="0"/>
              <a:buChar char="•"/>
            </a:pPr>
            <a:r>
              <a:rPr lang="en-US"/>
              <a:t>Microsoft has over 18 thousand (18,365) AI-related patents as of January 2019 leading all other companies with the most AI Patents.</a:t>
            </a:r>
          </a:p>
          <a:p>
            <a:pPr marL="467776" lvl="1"/>
            <a:endParaRPr lang="en-US"/>
          </a:p>
          <a:p>
            <a:pPr marL="643192" lvl="1" indent="-175416">
              <a:buFont typeface="Arial" panose="020B0604020202020204" pitchFamily="34" charset="0"/>
              <a:buChar char="•"/>
            </a:pPr>
            <a:r>
              <a:rPr lang="en-US"/>
              <a:t>Microsoft recently (June 6, 2019) surpassed the estimate for human performance on the overall average score on GLUE of nine Natural Language Understanding (NLU) tasks, including question answering, sentiment analysis, text similarity and textual entailment.</a:t>
            </a:r>
          </a:p>
          <a:p>
            <a:pPr marL="467776" lvl="1"/>
            <a:endParaRPr lang="en-US"/>
          </a:p>
          <a:p>
            <a:pPr marL="643192" lvl="1" indent="-175416">
              <a:buFont typeface="Arial" panose="020B0604020202020204" pitchFamily="34" charset="0"/>
              <a:buChar char="•"/>
            </a:pPr>
            <a:r>
              <a:rPr lang="en-US"/>
              <a:t>Microsoft is the only company offering organizations a no-cliffs extensibility offering when it comes to AI. Our customers utilize Microsoft’s out of the box (SaaS) Insights and then either extend those solutions or bring their own with our Azure (PaaS) offering.</a:t>
            </a:r>
          </a:p>
          <a:p>
            <a:pPr marL="175416" indent="-175416">
              <a:buFont typeface="Arial" panose="020B0604020202020204" pitchFamily="34" charset="0"/>
              <a:buChar char="•"/>
            </a:pPr>
            <a:endParaRPr lang="en-US"/>
          </a:p>
          <a:p>
            <a:pPr marL="175416" indent="-175416" defTabSz="935553">
              <a:buFont typeface="Arial" panose="020B0604020202020204" pitchFamily="34" charset="0"/>
              <a:buChar char="•"/>
              <a:defRPr/>
            </a:pPr>
            <a:r>
              <a:rPr lang="en-US" b="1"/>
              <a:t>Action</a:t>
            </a:r>
            <a:r>
              <a:rPr lang="en-US"/>
              <a:t>: Whether you are working on structured business processes for Sales, Finance and Customer Service or building new Apps that don’t yet exist in your organization, Dynamics 365 uses AI as a core ingredient to enhance, not replace, the capabilities of business professionals by infusing AI in their everyday workflows. As your organization acts our AI process repeats it self based off every interaction you choose to include. Bringing all these services together as one vendor makes Microsoft best positioned to support your data, unification, insights and action needs.</a:t>
            </a:r>
          </a:p>
        </p:txBody>
      </p:sp>
      <p:sp>
        <p:nvSpPr>
          <p:cNvPr id="4" name="Slide Number Placeholder 3"/>
          <p:cNvSpPr>
            <a:spLocks noGrp="1"/>
          </p:cNvSpPr>
          <p:nvPr>
            <p:ph type="sldNum" sz="quarter" idx="5"/>
          </p:nvPr>
        </p:nvSpPr>
        <p:spPr/>
        <p:txBody>
          <a:bodyPr/>
          <a:lstStyle/>
          <a:p>
            <a:pPr marL="0" marR="0" lvl="0" indent="0" algn="r" defTabSz="935553" rtl="0" eaLnBrk="1" fontAlgn="auto" latinLnBrk="0" hangingPunct="1">
              <a:lnSpc>
                <a:spcPct val="100000"/>
              </a:lnSpc>
              <a:spcBef>
                <a:spcPts val="0"/>
              </a:spcBef>
              <a:spcAft>
                <a:spcPts val="0"/>
              </a:spcAft>
              <a:buClrTx/>
              <a:buSzTx/>
              <a:buFontTx/>
              <a:buNone/>
              <a:tabLst/>
              <a:defRPr/>
            </a:pPr>
            <a:fld id="{84653ADD-9167-462A-8F51-2839D6508F12}"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35553"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6186877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kern="1200">
                <a:solidFill>
                  <a:schemeClr val="tx1"/>
                </a:solidFill>
                <a:effectLst/>
                <a:latin typeface="+mn-lt"/>
                <a:ea typeface="+mn-ea"/>
                <a:cs typeface="+mn-cs"/>
              </a:rPr>
              <a:t>Imagine a seamless, personalized experience for your prospects and customers, in face to face engagements and online. </a:t>
            </a:r>
          </a:p>
          <a:p>
            <a:r>
              <a:rPr lang="en-US" sz="1200" b="0" kern="1200">
                <a:solidFill>
                  <a:schemeClr val="tx1"/>
                </a:solidFill>
                <a:effectLst/>
                <a:latin typeface="+mn-lt"/>
                <a:ea typeface="+mn-ea"/>
                <a:cs typeface="+mn-cs"/>
              </a:rPr>
              <a:t>Imagine understanding your customer’s needs and supplying the right products and services at the right time.</a:t>
            </a:r>
          </a:p>
          <a:p>
            <a:r>
              <a:rPr lang="en-US" sz="1200" b="0" kern="1200">
                <a:solidFill>
                  <a:schemeClr val="tx1"/>
                </a:solidFill>
                <a:effectLst/>
                <a:latin typeface="+mn-lt"/>
                <a:ea typeface="+mn-ea"/>
                <a:cs typeface="+mn-cs"/>
              </a:rPr>
              <a:t>Imagine representatives spending more time with customers, providing personalized assistance and incentives, which increases customer satisfaction and sales. </a:t>
            </a:r>
          </a:p>
          <a:p>
            <a:r>
              <a:rPr lang="en-US" sz="1200" b="0" kern="1200">
                <a:solidFill>
                  <a:schemeClr val="tx1"/>
                </a:solidFill>
                <a:effectLst/>
                <a:latin typeface="+mn-lt"/>
                <a:ea typeface="+mn-ea"/>
                <a:cs typeface="+mn-cs"/>
              </a:rPr>
              <a:t>Imagine anticipating demand and effectively scheduling to meet that demand. </a:t>
            </a:r>
          </a:p>
          <a:p>
            <a:r>
              <a:rPr lang="en-US" sz="1200" b="0" kern="1200">
                <a:solidFill>
                  <a:schemeClr val="tx1"/>
                </a:solidFill>
                <a:effectLst/>
                <a:latin typeface="+mn-lt"/>
                <a:ea typeface="+mn-ea"/>
                <a:cs typeface="+mn-cs"/>
              </a:rPr>
              <a:t>Imagine optimizing operations, reducing waste, and enabling your employees to make better decisions.</a:t>
            </a:r>
          </a:p>
          <a:p>
            <a:endParaRPr lang="en-US" sz="1200" b="0" kern="1200">
              <a:solidFill>
                <a:schemeClr val="tx1"/>
              </a:solidFill>
              <a:effectLst/>
              <a:latin typeface="+mn-lt"/>
              <a:ea typeface="+mn-ea"/>
              <a:cs typeface="+mn-cs"/>
            </a:endParaRPr>
          </a:p>
          <a:p>
            <a:r>
              <a:rPr lang="en-US" sz="1200" b="0" kern="1200">
                <a:solidFill>
                  <a:schemeClr val="tx1"/>
                </a:solidFill>
                <a:effectLst/>
                <a:latin typeface="+mn-lt"/>
                <a:ea typeface="+mn-ea"/>
                <a:cs typeface="+mn-cs"/>
              </a:rPr>
              <a:t>That’s the reality Dynamics 365 brings to your Customer Engagement landscape.</a:t>
            </a:r>
          </a:p>
          <a:p>
            <a:endParaRPr lang="en-US" sz="1200" b="0" kern="1200">
              <a:solidFill>
                <a:schemeClr val="tx1"/>
              </a:solidFill>
              <a:effectLst/>
              <a:latin typeface="+mn-lt"/>
              <a:ea typeface="+mn-ea"/>
              <a:cs typeface="+mn-cs"/>
            </a:endParaRPr>
          </a:p>
          <a:p>
            <a:r>
              <a:rPr lang="en-US" sz="1200" b="0" kern="1200">
                <a:solidFill>
                  <a:schemeClr val="tx1"/>
                </a:solidFill>
                <a:effectLst/>
                <a:latin typeface="+mn-lt"/>
                <a:ea typeface="+mn-ea"/>
                <a:cs typeface="+mn-cs"/>
              </a:rPr>
              <a:t>So let’s look at each one of the areas covered in this slide from the starting point of demand generation all the way to repeating business with existing customers.</a:t>
            </a:r>
          </a:p>
          <a:p>
            <a:endParaRPr lang="en-US" sz="1200" b="0" kern="1200">
              <a:solidFill>
                <a:schemeClr val="tx1"/>
              </a:solidFill>
              <a:effectLst/>
              <a:latin typeface="+mn-lt"/>
              <a:ea typeface="+mn-ea"/>
              <a:cs typeface="+mn-cs"/>
            </a:endParaRPr>
          </a:p>
          <a:p>
            <a:r>
              <a:rPr lang="en-US" sz="1200" b="0" kern="1200">
                <a:solidFill>
                  <a:schemeClr val="tx1"/>
                </a:solidFill>
                <a:effectLst/>
                <a:latin typeface="+mn-lt"/>
                <a:ea typeface="+mn-ea"/>
                <a:cs typeface="+mn-cs"/>
              </a:rPr>
              <a:t>Diving into each specific area we see how Dynamics 365 supports you;</a:t>
            </a:r>
          </a:p>
          <a:p>
            <a:endParaRPr lang="en-US" sz="1200" b="0" kern="1200">
              <a:solidFill>
                <a:schemeClr val="tx1"/>
              </a:solidFill>
              <a:effectLst/>
              <a:latin typeface="+mn-lt"/>
              <a:ea typeface="+mn-ea"/>
              <a:cs typeface="+mn-cs"/>
            </a:endParaRPr>
          </a:p>
          <a:p>
            <a:r>
              <a:rPr lang="en-US" sz="1200" b="1" kern="1200">
                <a:solidFill>
                  <a:schemeClr val="tx1"/>
                </a:solidFill>
                <a:effectLst/>
                <a:latin typeface="+mn-lt"/>
                <a:ea typeface="+mn-ea"/>
                <a:cs typeface="+mn-cs"/>
              </a:rPr>
              <a:t>Generating awareness</a:t>
            </a:r>
          </a:p>
          <a:p>
            <a:endParaRPr lang="en-US" sz="1200" b="1" kern="1200">
              <a:solidFill>
                <a:schemeClr val="tx1"/>
              </a:solidFill>
              <a:effectLst/>
              <a:latin typeface="+mn-lt"/>
              <a:ea typeface="+mn-ea"/>
              <a:cs typeface="+mn-cs"/>
            </a:endParaRPr>
          </a:p>
          <a:p>
            <a:r>
              <a:rPr lang="en-US" sz="1200" b="0" i="0" kern="1200">
                <a:solidFill>
                  <a:srgbClr val="FF0000"/>
                </a:solidFill>
                <a:effectLst/>
                <a:latin typeface="+mn-lt"/>
                <a:ea typeface="+mn-ea"/>
                <a:cs typeface="+mn-cs"/>
              </a:rPr>
              <a:t>Generate more leads across multiple channels and nurture sales-ready leads with personalized experiences.</a:t>
            </a:r>
          </a:p>
          <a:p>
            <a:endParaRPr lang="en-US" sz="1200" b="1" kern="1200">
              <a:solidFill>
                <a:schemeClr val="tx1"/>
              </a:solidFill>
              <a:effectLst/>
              <a:latin typeface="+mn-lt"/>
              <a:ea typeface="+mn-ea"/>
              <a:cs typeface="+mn-cs"/>
            </a:endParaRPr>
          </a:p>
          <a:p>
            <a:r>
              <a:rPr lang="en-US" sz="1200" b="0" kern="1200">
                <a:solidFill>
                  <a:schemeClr val="tx1"/>
                </a:solidFill>
                <a:effectLst/>
                <a:latin typeface="+mn-lt"/>
                <a:ea typeface="+mn-ea"/>
                <a:cs typeface="+mn-cs"/>
              </a:rPr>
              <a:t>Key Dynamics 365 capabilities that support generating awareness are;</a:t>
            </a:r>
          </a:p>
          <a:p>
            <a:pPr marL="628650" lvl="1" indent="-171450" fontAlgn="ctr">
              <a:buFont typeface="Arial" panose="020B0604020202020204" pitchFamily="34" charset="0"/>
              <a:buChar char="•"/>
            </a:pPr>
            <a:r>
              <a:rPr lang="en-US" sz="1200" kern="1200">
                <a:solidFill>
                  <a:schemeClr val="tx1"/>
                </a:solidFill>
                <a:effectLst/>
                <a:latin typeface="+mn-lt"/>
                <a:ea typeface="+mn-ea"/>
                <a:cs typeface="+mn-cs"/>
              </a:rPr>
              <a:t>Account targeting (LinkedIn Sales Navigator integration)</a:t>
            </a:r>
          </a:p>
          <a:p>
            <a:pPr marL="628650" lvl="1" indent="-171450" fontAlgn="ctr">
              <a:buFont typeface="Arial" panose="020B0604020202020204" pitchFamily="34" charset="0"/>
              <a:buChar char="•"/>
            </a:pPr>
            <a:r>
              <a:rPr lang="en-US" sz="1200" kern="1200">
                <a:solidFill>
                  <a:schemeClr val="tx1"/>
                </a:solidFill>
                <a:effectLst/>
                <a:latin typeface="+mn-lt"/>
                <a:ea typeface="+mn-ea"/>
                <a:cs typeface="+mn-cs"/>
              </a:rPr>
              <a:t>Lead gen forms (LinkedIn integration)</a:t>
            </a:r>
          </a:p>
          <a:p>
            <a:pPr marL="628650" lvl="1" indent="-171450" fontAlgn="ctr">
              <a:buFont typeface="Arial" panose="020B0604020202020204" pitchFamily="34" charset="0"/>
              <a:buChar char="•"/>
            </a:pPr>
            <a:r>
              <a:rPr lang="en-US" sz="1200" kern="1200">
                <a:solidFill>
                  <a:schemeClr val="tx1"/>
                </a:solidFill>
                <a:effectLst/>
                <a:latin typeface="+mn-lt"/>
                <a:ea typeface="+mn-ea"/>
                <a:cs typeface="+mn-cs"/>
              </a:rPr>
              <a:t>Predictive lead scoring (Marketing &amp; Sales)</a:t>
            </a:r>
          </a:p>
          <a:p>
            <a:pPr marL="628650" lvl="1" indent="-171450" fontAlgn="ctr">
              <a:buFont typeface="Arial" panose="020B0604020202020204" pitchFamily="34" charset="0"/>
              <a:buChar char="•"/>
            </a:pPr>
            <a:r>
              <a:rPr lang="en-US" sz="1200" kern="1200">
                <a:solidFill>
                  <a:schemeClr val="tx1"/>
                </a:solidFill>
                <a:effectLst/>
                <a:latin typeface="+mn-lt"/>
                <a:ea typeface="+mn-ea"/>
                <a:cs typeface="+mn-cs"/>
              </a:rPr>
              <a:t>Multi-channel campaigns (Marketing)</a:t>
            </a:r>
          </a:p>
          <a:p>
            <a:pPr marL="628650" lvl="1" indent="-171450" fontAlgn="ctr">
              <a:buFont typeface="Arial" panose="020B0604020202020204" pitchFamily="34" charset="0"/>
              <a:buChar char="•"/>
            </a:pPr>
            <a:r>
              <a:rPr lang="en-US" sz="1200" kern="1200">
                <a:solidFill>
                  <a:schemeClr val="tx1"/>
                </a:solidFill>
                <a:effectLst/>
                <a:latin typeface="+mn-lt"/>
                <a:ea typeface="+mn-ea"/>
                <a:cs typeface="+mn-cs"/>
              </a:rPr>
              <a:t>Events (Marketing)</a:t>
            </a:r>
          </a:p>
          <a:p>
            <a:r>
              <a:rPr lang="en-US" sz="1200" kern="1200">
                <a:solidFill>
                  <a:schemeClr val="tx1"/>
                </a:solidFill>
                <a:effectLst/>
                <a:latin typeface="+mn-lt"/>
                <a:ea typeface="+mn-ea"/>
                <a:cs typeface="+mn-cs"/>
              </a:rPr>
              <a:t> </a:t>
            </a:r>
          </a:p>
          <a:p>
            <a:r>
              <a:rPr lang="en-US" sz="1200" b="1" kern="1200">
                <a:solidFill>
                  <a:schemeClr val="tx1"/>
                </a:solidFill>
                <a:effectLst/>
                <a:latin typeface="+mn-lt"/>
                <a:ea typeface="+mn-ea"/>
                <a:cs typeface="+mn-cs"/>
              </a:rPr>
              <a:t>Monitoring trends and reputation</a:t>
            </a:r>
          </a:p>
          <a:p>
            <a:endParaRPr lang="en-US" sz="1200" b="1" kern="120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kern="1200">
                <a:solidFill>
                  <a:srgbClr val="FF0000"/>
                </a:solidFill>
                <a:effectLst/>
                <a:latin typeface="+mn-lt"/>
                <a:ea typeface="+mn-ea"/>
                <a:cs typeface="+mn-cs"/>
              </a:rPr>
              <a:t>Respond to trends faster with social and web insights that help you know what your audience is saying, seeking, and feeling.</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1" kern="120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kern="1200">
                <a:solidFill>
                  <a:schemeClr val="tx1"/>
                </a:solidFill>
                <a:effectLst/>
                <a:latin typeface="+mn-lt"/>
                <a:ea typeface="+mn-ea"/>
                <a:cs typeface="+mn-cs"/>
              </a:rPr>
              <a:t>Key Dynamics 365 capabilities that support monitoring trends and reputation are;</a:t>
            </a:r>
            <a:endParaRPr lang="en-US" sz="1200" b="1" kern="1200">
              <a:solidFill>
                <a:schemeClr val="tx1"/>
              </a:solidFill>
              <a:effectLst/>
              <a:latin typeface="+mn-lt"/>
              <a:ea typeface="+mn-ea"/>
              <a:cs typeface="+mn-cs"/>
            </a:endParaRPr>
          </a:p>
          <a:p>
            <a:pPr marL="628650" lvl="1" indent="-171450" fontAlgn="ctr">
              <a:buFont typeface="Arial" panose="020B0604020202020204" pitchFamily="34" charset="0"/>
              <a:buChar char="•"/>
            </a:pPr>
            <a:r>
              <a:rPr lang="en-US" sz="1200" kern="1200">
                <a:solidFill>
                  <a:schemeClr val="tx1"/>
                </a:solidFill>
                <a:effectLst/>
                <a:latin typeface="+mn-lt"/>
                <a:ea typeface="+mn-ea"/>
                <a:cs typeface="+mn-cs"/>
              </a:rPr>
              <a:t>Email alerts (Market Insights)</a:t>
            </a:r>
          </a:p>
          <a:p>
            <a:pPr marL="628650" lvl="1" indent="-171450" fontAlgn="ctr">
              <a:buFont typeface="Arial" panose="020B0604020202020204" pitchFamily="34" charset="0"/>
              <a:buChar char="•"/>
            </a:pPr>
            <a:r>
              <a:rPr lang="en-US" sz="1200" kern="1200">
                <a:solidFill>
                  <a:schemeClr val="tx1"/>
                </a:solidFill>
                <a:effectLst/>
                <a:latin typeface="+mn-lt"/>
                <a:ea typeface="+mn-ea"/>
                <a:cs typeface="+mn-cs"/>
              </a:rPr>
              <a:t>AI-assisted query builder (Market Insights)</a:t>
            </a:r>
          </a:p>
          <a:p>
            <a:pPr marL="628650" lvl="1" indent="-171450" fontAlgn="ctr">
              <a:buFont typeface="Arial" panose="020B0604020202020204" pitchFamily="34" charset="0"/>
              <a:buChar char="•"/>
            </a:pPr>
            <a:r>
              <a:rPr lang="en-US" sz="1200" kern="1200">
                <a:solidFill>
                  <a:schemeClr val="tx1"/>
                </a:solidFill>
                <a:effectLst/>
                <a:latin typeface="+mn-lt"/>
                <a:ea typeface="+mn-ea"/>
                <a:cs typeface="+mn-cs"/>
              </a:rPr>
              <a:t>Bing web search rising topics (Market Insights)</a:t>
            </a:r>
          </a:p>
          <a:p>
            <a:r>
              <a:rPr lang="en-US" sz="1200" kern="1200">
                <a:solidFill>
                  <a:schemeClr val="tx1"/>
                </a:solidFill>
                <a:effectLst/>
                <a:latin typeface="+mn-lt"/>
                <a:ea typeface="+mn-ea"/>
                <a:cs typeface="+mn-cs"/>
              </a:rPr>
              <a:t> </a:t>
            </a:r>
          </a:p>
          <a:p>
            <a:r>
              <a:rPr lang="en-US" sz="1200" b="1" kern="1200">
                <a:solidFill>
                  <a:schemeClr val="tx1"/>
                </a:solidFill>
                <a:effectLst/>
                <a:latin typeface="+mn-lt"/>
                <a:ea typeface="+mn-ea"/>
                <a:cs typeface="+mn-cs"/>
              </a:rPr>
              <a:t>Generating customer profiles</a:t>
            </a:r>
          </a:p>
          <a:p>
            <a:endParaRPr lang="en-US" sz="1200" b="1" kern="120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kern="1200">
                <a:solidFill>
                  <a:srgbClr val="FF0000"/>
                </a:solidFill>
                <a:effectLst/>
                <a:latin typeface="+mn-lt"/>
                <a:ea typeface="+mn-ea"/>
                <a:cs typeface="+mn-cs"/>
              </a:rPr>
              <a:t>Unify your data across sources to get a single view of customers, optimize engagement, and discover insights that drive personalized experience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1" kern="120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kern="1200">
                <a:solidFill>
                  <a:schemeClr val="tx1"/>
                </a:solidFill>
                <a:effectLst/>
                <a:latin typeface="+mn-lt"/>
                <a:ea typeface="+mn-ea"/>
                <a:cs typeface="+mn-cs"/>
              </a:rPr>
              <a:t>Key Dynamics 365 capabilities that support generating customer profiles are;</a:t>
            </a:r>
            <a:endParaRPr lang="en-US" sz="1200" b="1" kern="1200">
              <a:solidFill>
                <a:schemeClr val="tx1"/>
              </a:solidFill>
              <a:effectLst/>
              <a:latin typeface="+mn-lt"/>
              <a:ea typeface="+mn-ea"/>
              <a:cs typeface="+mn-cs"/>
            </a:endParaRPr>
          </a:p>
          <a:p>
            <a:pPr marL="628650" lvl="1" indent="-171450" fontAlgn="ctr">
              <a:buFont typeface="Arial" panose="020B0604020202020204" pitchFamily="34" charset="0"/>
              <a:buChar char="•"/>
            </a:pPr>
            <a:r>
              <a:rPr lang="en-US" sz="1200" kern="1200">
                <a:solidFill>
                  <a:schemeClr val="tx1"/>
                </a:solidFill>
                <a:effectLst/>
                <a:latin typeface="+mn-lt"/>
                <a:ea typeface="+mn-ea"/>
                <a:cs typeface="+mn-cs"/>
              </a:rPr>
              <a:t>Data ingestion &amp; standardization (Customer Insights)</a:t>
            </a:r>
          </a:p>
          <a:p>
            <a:pPr marL="628650" lvl="1" indent="-171450" fontAlgn="ctr">
              <a:buFont typeface="Arial" panose="020B0604020202020204" pitchFamily="34" charset="0"/>
              <a:buChar char="•"/>
            </a:pPr>
            <a:r>
              <a:rPr lang="en-US" sz="1200" kern="1200">
                <a:solidFill>
                  <a:schemeClr val="tx1"/>
                </a:solidFill>
                <a:effectLst/>
                <a:latin typeface="+mn-lt"/>
                <a:ea typeface="+mn-ea"/>
                <a:cs typeface="+mn-cs"/>
              </a:rPr>
              <a:t>Profile unification (Customer Insights)</a:t>
            </a:r>
          </a:p>
          <a:p>
            <a:pPr marL="628650" lvl="1" indent="-171450" fontAlgn="ctr">
              <a:buFont typeface="Arial" panose="020B0604020202020204" pitchFamily="34" charset="0"/>
              <a:buChar char="•"/>
            </a:pPr>
            <a:r>
              <a:rPr lang="en-US" sz="1200" kern="1200">
                <a:solidFill>
                  <a:schemeClr val="tx1"/>
                </a:solidFill>
                <a:effectLst/>
                <a:latin typeface="+mn-lt"/>
                <a:ea typeface="+mn-ea"/>
                <a:cs typeface="+mn-cs"/>
              </a:rPr>
              <a:t>Customer journey timeline (Customer Insights)</a:t>
            </a:r>
          </a:p>
          <a:p>
            <a:pPr marL="628650" lvl="1" indent="-171450" fontAlgn="ctr">
              <a:buFont typeface="Arial" panose="020B0604020202020204" pitchFamily="34" charset="0"/>
              <a:buChar char="•"/>
            </a:pPr>
            <a:r>
              <a:rPr lang="en-US" sz="1200" kern="1200">
                <a:solidFill>
                  <a:schemeClr val="tx1"/>
                </a:solidFill>
                <a:effectLst/>
                <a:latin typeface="+mn-lt"/>
                <a:ea typeface="+mn-ea"/>
                <a:cs typeface="+mn-cs"/>
              </a:rPr>
              <a:t>Data enrichment (Customer Insights)</a:t>
            </a:r>
          </a:p>
          <a:p>
            <a:pPr marL="628650" lvl="1" indent="-171450" fontAlgn="ctr">
              <a:buFont typeface="Arial" panose="020B0604020202020204" pitchFamily="34" charset="0"/>
              <a:buChar char="•"/>
            </a:pPr>
            <a:r>
              <a:rPr lang="en-US" sz="1200" kern="1200">
                <a:solidFill>
                  <a:schemeClr val="tx1"/>
                </a:solidFill>
                <a:effectLst/>
                <a:latin typeface="+mn-lt"/>
                <a:ea typeface="+mn-ea"/>
                <a:cs typeface="+mn-cs"/>
              </a:rPr>
              <a:t>Profile search &amp; discovery (Customer Insights)</a:t>
            </a:r>
          </a:p>
          <a:p>
            <a:pPr marL="628650" lvl="1" indent="-171450" fontAlgn="ctr">
              <a:buFont typeface="Arial" panose="020B0604020202020204" pitchFamily="34" charset="0"/>
              <a:buChar char="•"/>
            </a:pPr>
            <a:r>
              <a:rPr lang="en-US" sz="1200" kern="1200">
                <a:solidFill>
                  <a:schemeClr val="tx1"/>
                </a:solidFill>
                <a:effectLst/>
                <a:latin typeface="+mn-lt"/>
                <a:ea typeface="+mn-ea"/>
                <a:cs typeface="+mn-cs"/>
              </a:rPr>
              <a:t>Business measures/KPIs (Customer Insights)</a:t>
            </a:r>
          </a:p>
          <a:p>
            <a:r>
              <a:rPr lang="en-US" sz="1200" kern="1200">
                <a:solidFill>
                  <a:schemeClr val="tx1"/>
                </a:solidFill>
                <a:effectLst/>
                <a:latin typeface="+mn-lt"/>
                <a:ea typeface="+mn-ea"/>
                <a:cs typeface="+mn-cs"/>
              </a:rPr>
              <a:t> </a:t>
            </a:r>
          </a:p>
          <a:p>
            <a:r>
              <a:rPr lang="en-US" sz="1200" b="1" kern="1200">
                <a:solidFill>
                  <a:schemeClr val="tx1"/>
                </a:solidFill>
                <a:effectLst/>
                <a:latin typeface="+mn-lt"/>
                <a:ea typeface="+mn-ea"/>
                <a:cs typeface="+mn-cs"/>
              </a:rPr>
              <a:t>Delivering personalized ads and offers</a:t>
            </a:r>
          </a:p>
          <a:p>
            <a:endParaRPr lang="en-US" sz="1200" b="1" kern="1200">
              <a:solidFill>
                <a:schemeClr val="tx1"/>
              </a:solidFill>
              <a:effectLst/>
              <a:latin typeface="+mn-lt"/>
              <a:ea typeface="+mn-ea"/>
              <a:cs typeface="+mn-cs"/>
            </a:endParaRPr>
          </a:p>
          <a:p>
            <a:r>
              <a:rPr lang="en-US" sz="1200" b="0" i="0" kern="1200">
                <a:solidFill>
                  <a:schemeClr val="tx1"/>
                </a:solidFill>
                <a:effectLst/>
                <a:latin typeface="+mn-lt"/>
                <a:ea typeface="+mn-ea"/>
                <a:cs typeface="+mn-cs"/>
              </a:rPr>
              <a:t>Prioritize leads, automate hand-off, and empower sellers with shared information and connected processes.</a:t>
            </a:r>
            <a:endParaRPr lang="en-US" sz="1200" b="0" kern="1200">
              <a:solidFill>
                <a:schemeClr val="tx1"/>
              </a:solidFill>
              <a:effectLst/>
              <a:latin typeface="+mn-lt"/>
              <a:ea typeface="+mn-ea"/>
              <a:cs typeface="+mn-cs"/>
            </a:endParaRPr>
          </a:p>
          <a:p>
            <a:endParaRPr lang="en-US" sz="1200" b="1" kern="120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kern="1200">
                <a:solidFill>
                  <a:schemeClr val="tx1"/>
                </a:solidFill>
                <a:effectLst/>
                <a:latin typeface="+mn-lt"/>
                <a:ea typeface="+mn-ea"/>
                <a:cs typeface="+mn-cs"/>
              </a:rPr>
              <a:t>Key Dynamics 365 capabilities that support personalized ads and offers are;</a:t>
            </a:r>
            <a:endParaRPr lang="en-US" sz="1200" b="1" kern="1200">
              <a:solidFill>
                <a:schemeClr val="tx1"/>
              </a:solidFill>
              <a:effectLst/>
              <a:latin typeface="+mn-lt"/>
              <a:ea typeface="+mn-ea"/>
              <a:cs typeface="+mn-cs"/>
            </a:endParaRPr>
          </a:p>
          <a:p>
            <a:pPr marL="628650" lvl="1" indent="-171450" fontAlgn="ctr">
              <a:buFont typeface="Arial" panose="020B0604020202020204" pitchFamily="34" charset="0"/>
              <a:buChar char="•"/>
            </a:pPr>
            <a:r>
              <a:rPr lang="en-US" sz="1200" kern="1200">
                <a:solidFill>
                  <a:schemeClr val="tx1"/>
                </a:solidFill>
                <a:effectLst/>
                <a:latin typeface="+mn-lt"/>
                <a:ea typeface="+mn-ea"/>
                <a:cs typeface="+mn-cs"/>
              </a:rPr>
              <a:t>Dynamic segmentation (Marketing) </a:t>
            </a:r>
          </a:p>
          <a:p>
            <a:pPr marL="628650" lvl="1" indent="-171450" fontAlgn="ctr">
              <a:buFont typeface="Arial" panose="020B0604020202020204" pitchFamily="34" charset="0"/>
              <a:buChar char="•"/>
            </a:pPr>
            <a:r>
              <a:rPr lang="en-US" sz="1200" kern="1200">
                <a:solidFill>
                  <a:schemeClr val="tx1"/>
                </a:solidFill>
                <a:effectLst/>
                <a:latin typeface="+mn-lt"/>
                <a:ea typeface="+mn-ea"/>
                <a:cs typeface="+mn-cs"/>
              </a:rPr>
              <a:t>Website personalization (Marketing)</a:t>
            </a:r>
          </a:p>
          <a:p>
            <a:pPr marL="628650" lvl="1" indent="-171450" fontAlgn="ctr">
              <a:buFont typeface="Arial" panose="020B0604020202020204" pitchFamily="34" charset="0"/>
              <a:buChar char="•"/>
            </a:pPr>
            <a:r>
              <a:rPr lang="en-US" sz="1200" kern="1200">
                <a:solidFill>
                  <a:schemeClr val="tx1"/>
                </a:solidFill>
                <a:effectLst/>
                <a:latin typeface="+mn-lt"/>
                <a:ea typeface="+mn-ea"/>
                <a:cs typeface="+mn-cs"/>
              </a:rPr>
              <a:t>Multi-channel campaigns (Marketing)</a:t>
            </a:r>
          </a:p>
          <a:p>
            <a:pPr marL="628650" lvl="1" indent="-171450" fontAlgn="ctr">
              <a:buFont typeface="Arial" panose="020B0604020202020204" pitchFamily="34" charset="0"/>
              <a:buChar char="•"/>
            </a:pPr>
            <a:r>
              <a:rPr lang="en-US" sz="1200" kern="1200">
                <a:solidFill>
                  <a:schemeClr val="tx1"/>
                </a:solidFill>
                <a:effectLst/>
                <a:latin typeface="+mn-lt"/>
                <a:ea typeface="+mn-ea"/>
                <a:cs typeface="+mn-cs"/>
              </a:rPr>
              <a:t>Lead nurturing (Marketing)</a:t>
            </a:r>
          </a:p>
          <a:p>
            <a:pPr marL="628650" lvl="1" indent="-171450" fontAlgn="ctr">
              <a:buFont typeface="Arial" panose="020B0604020202020204" pitchFamily="34" charset="0"/>
              <a:buChar char="•"/>
            </a:pPr>
            <a:r>
              <a:rPr lang="en-US" sz="1200" kern="1200">
                <a:solidFill>
                  <a:schemeClr val="tx1"/>
                </a:solidFill>
                <a:effectLst/>
                <a:latin typeface="+mn-lt"/>
                <a:ea typeface="+mn-ea"/>
                <a:cs typeface="+mn-cs"/>
              </a:rPr>
              <a:t>PDF generation from Quotes (Sales)</a:t>
            </a:r>
          </a:p>
          <a:p>
            <a:r>
              <a:rPr lang="en-US" sz="1200" kern="1200">
                <a:solidFill>
                  <a:schemeClr val="tx1"/>
                </a:solidFill>
                <a:effectLst/>
                <a:latin typeface="+mn-lt"/>
                <a:ea typeface="+mn-ea"/>
                <a:cs typeface="+mn-cs"/>
              </a:rPr>
              <a:t> </a:t>
            </a:r>
          </a:p>
          <a:p>
            <a:r>
              <a:rPr lang="en-US" sz="1200" b="1" kern="1200">
                <a:solidFill>
                  <a:schemeClr val="tx1"/>
                </a:solidFill>
                <a:effectLst/>
                <a:latin typeface="+mn-lt"/>
                <a:ea typeface="+mn-ea"/>
                <a:cs typeface="+mn-cs"/>
              </a:rPr>
              <a:t>Providing omnichannel experiences and engagement</a:t>
            </a:r>
          </a:p>
          <a:p>
            <a:endParaRPr lang="en-US" sz="1200" b="1" kern="120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kern="1200">
                <a:solidFill>
                  <a:srgbClr val="FF0000"/>
                </a:solidFill>
                <a:effectLst/>
                <a:latin typeface="+mn-lt"/>
                <a:ea typeface="+mn-ea"/>
                <a:cs typeface="+mn-cs"/>
              </a:rPr>
              <a:t>Create positive experiences through any channel and on any device to exceed customer expectation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1" kern="120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kern="1200">
                <a:solidFill>
                  <a:schemeClr val="tx1"/>
                </a:solidFill>
                <a:effectLst/>
                <a:latin typeface="+mn-lt"/>
                <a:ea typeface="+mn-ea"/>
                <a:cs typeface="+mn-cs"/>
              </a:rPr>
              <a:t>Key Dynamics 365 capabilities that support providing omnichannel experiences and engagement are;</a:t>
            </a:r>
            <a:endParaRPr lang="en-US" sz="1200" b="1" kern="1200">
              <a:solidFill>
                <a:schemeClr val="tx1"/>
              </a:solidFill>
              <a:effectLst/>
              <a:latin typeface="+mn-lt"/>
              <a:ea typeface="+mn-ea"/>
              <a:cs typeface="+mn-cs"/>
            </a:endParaRPr>
          </a:p>
          <a:p>
            <a:pPr marL="628650" lvl="1" indent="-171450" fontAlgn="ctr">
              <a:buFont typeface="Arial" panose="020B0604020202020204" pitchFamily="34" charset="0"/>
              <a:buChar char="•"/>
            </a:pPr>
            <a:r>
              <a:rPr lang="en-US" sz="1200" kern="1200">
                <a:solidFill>
                  <a:schemeClr val="tx1"/>
                </a:solidFill>
                <a:effectLst/>
                <a:latin typeface="+mn-lt"/>
                <a:ea typeface="+mn-ea"/>
                <a:cs typeface="+mn-cs"/>
              </a:rPr>
              <a:t>Power Platform connectors (Customer Insights)</a:t>
            </a:r>
          </a:p>
          <a:p>
            <a:pPr marL="628650" lvl="1" indent="-171450" fontAlgn="ctr">
              <a:buFont typeface="Arial" panose="020B0604020202020204" pitchFamily="34" charset="0"/>
              <a:buChar char="•"/>
            </a:pPr>
            <a:r>
              <a:rPr lang="en-US" sz="1200" kern="1200">
                <a:solidFill>
                  <a:schemeClr val="tx1"/>
                </a:solidFill>
                <a:effectLst/>
                <a:latin typeface="+mn-lt"/>
                <a:ea typeface="+mn-ea"/>
                <a:cs typeface="+mn-cs"/>
              </a:rPr>
              <a:t>Recommended actions (Sales Insights)</a:t>
            </a:r>
          </a:p>
          <a:p>
            <a:pPr marL="628650" lvl="1" indent="-171450" fontAlgn="ctr">
              <a:buFont typeface="Arial" panose="020B0604020202020204" pitchFamily="34" charset="0"/>
              <a:buChar char="•"/>
            </a:pPr>
            <a:r>
              <a:rPr lang="en-US" sz="1200" kern="1200">
                <a:solidFill>
                  <a:schemeClr val="tx1"/>
                </a:solidFill>
                <a:effectLst/>
                <a:latin typeface="+mn-lt"/>
                <a:ea typeface="+mn-ea"/>
                <a:cs typeface="+mn-cs"/>
              </a:rPr>
              <a:t>Portals (PowerApps Portals)</a:t>
            </a:r>
          </a:p>
          <a:p>
            <a:pPr marL="628650" lvl="1" indent="-171450" fontAlgn="ctr">
              <a:buFont typeface="Arial" panose="020B0604020202020204" pitchFamily="34" charset="0"/>
              <a:buChar char="•"/>
            </a:pPr>
            <a:r>
              <a:rPr lang="en-US" sz="1200" kern="1200">
                <a:solidFill>
                  <a:schemeClr val="tx1"/>
                </a:solidFill>
                <a:effectLst/>
                <a:latin typeface="+mn-lt"/>
                <a:ea typeface="+mn-ea"/>
                <a:cs typeface="+mn-cs"/>
              </a:rPr>
              <a:t>Virtual Agents (Virtual Agents for Customer Service)</a:t>
            </a:r>
          </a:p>
          <a:p>
            <a:pPr marL="628650" lvl="1" indent="-171450" fontAlgn="ctr">
              <a:buFont typeface="Arial" panose="020B0604020202020204" pitchFamily="34" charset="0"/>
              <a:buChar char="•"/>
            </a:pPr>
            <a:r>
              <a:rPr lang="en-US" sz="1200" kern="1200">
                <a:solidFill>
                  <a:schemeClr val="tx1"/>
                </a:solidFill>
                <a:effectLst/>
                <a:latin typeface="+mn-lt"/>
                <a:ea typeface="+mn-ea"/>
                <a:cs typeface="+mn-cs"/>
              </a:rPr>
              <a:t>Chat (Chat for Dynamics 365)</a:t>
            </a:r>
          </a:p>
          <a:p>
            <a:pPr marL="628650" lvl="1" indent="-171450" fontAlgn="ctr">
              <a:buFont typeface="Arial" panose="020B0604020202020204" pitchFamily="34" charset="0"/>
              <a:buChar char="•"/>
            </a:pPr>
            <a:r>
              <a:rPr lang="en-US" sz="1200" kern="1200">
                <a:solidFill>
                  <a:schemeClr val="tx1"/>
                </a:solidFill>
                <a:effectLst/>
                <a:latin typeface="+mn-lt"/>
                <a:ea typeface="+mn-ea"/>
                <a:cs typeface="+mn-cs"/>
              </a:rPr>
              <a:t>Digital Messaging (Digital Messaging for Dynamics 365)</a:t>
            </a:r>
          </a:p>
          <a:p>
            <a:r>
              <a:rPr lang="en-US" sz="1200" kern="1200">
                <a:solidFill>
                  <a:schemeClr val="tx1"/>
                </a:solidFill>
                <a:effectLst/>
                <a:latin typeface="+mn-lt"/>
                <a:ea typeface="+mn-ea"/>
                <a:cs typeface="+mn-cs"/>
              </a:rPr>
              <a:t> </a:t>
            </a:r>
          </a:p>
          <a:p>
            <a:r>
              <a:rPr lang="en-US" sz="1200" b="1" kern="1200">
                <a:solidFill>
                  <a:schemeClr val="tx1"/>
                </a:solidFill>
                <a:effectLst/>
                <a:latin typeface="+mn-lt"/>
                <a:ea typeface="+mn-ea"/>
                <a:cs typeface="+mn-cs"/>
              </a:rPr>
              <a:t>Enabling guided selling</a:t>
            </a:r>
          </a:p>
          <a:p>
            <a:endParaRPr lang="en-US" sz="1200" b="1" kern="120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kern="1200">
                <a:solidFill>
                  <a:srgbClr val="FF0000"/>
                </a:solidFill>
                <a:effectLst/>
                <a:latin typeface="+mn-lt"/>
                <a:ea typeface="+mn-ea"/>
                <a:cs typeface="+mn-cs"/>
              </a:rPr>
              <a:t>Focus on the right customers, build trusted relationships, and take swift ac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1" kern="120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kern="1200">
                <a:solidFill>
                  <a:schemeClr val="tx1"/>
                </a:solidFill>
                <a:effectLst/>
                <a:latin typeface="+mn-lt"/>
                <a:ea typeface="+mn-ea"/>
                <a:cs typeface="+mn-cs"/>
              </a:rPr>
              <a:t>Key Dynamics 365 capabilities that support enabling guided selling are;</a:t>
            </a:r>
            <a:endParaRPr lang="en-US" sz="1200" b="1" kern="1200">
              <a:solidFill>
                <a:schemeClr val="tx1"/>
              </a:solidFill>
              <a:effectLst/>
              <a:latin typeface="+mn-lt"/>
              <a:ea typeface="+mn-ea"/>
              <a:cs typeface="+mn-cs"/>
            </a:endParaRPr>
          </a:p>
          <a:p>
            <a:pPr marL="628650" lvl="1" indent="-171450" fontAlgn="ctr">
              <a:buFont typeface="Arial" panose="020B0604020202020204" pitchFamily="34" charset="0"/>
              <a:buChar char="•"/>
            </a:pPr>
            <a:r>
              <a:rPr lang="en-US" sz="1200" kern="1200">
                <a:solidFill>
                  <a:schemeClr val="tx1"/>
                </a:solidFill>
                <a:effectLst/>
                <a:latin typeface="+mn-lt"/>
                <a:ea typeface="+mn-ea"/>
                <a:cs typeface="+mn-cs"/>
              </a:rPr>
              <a:t>Connections &amp; profile cards (LinkedIn Sales Navigator integration)</a:t>
            </a:r>
          </a:p>
          <a:p>
            <a:pPr marL="628650" lvl="1" indent="-171450" fontAlgn="ctr">
              <a:buFont typeface="Arial" panose="020B0604020202020204" pitchFamily="34" charset="0"/>
              <a:buChar char="•"/>
            </a:pPr>
            <a:r>
              <a:rPr lang="en-US" sz="1200" kern="1200">
                <a:solidFill>
                  <a:schemeClr val="tx1"/>
                </a:solidFill>
                <a:effectLst/>
                <a:latin typeface="+mn-lt"/>
                <a:ea typeface="+mn-ea"/>
                <a:cs typeface="+mn-cs"/>
              </a:rPr>
              <a:t>Who knows whom (Sales Insights)</a:t>
            </a:r>
          </a:p>
          <a:p>
            <a:pPr marL="628650" lvl="1" indent="-171450" fontAlgn="ctr">
              <a:buFont typeface="Arial" panose="020B0604020202020204" pitchFamily="34" charset="0"/>
              <a:buChar char="•"/>
            </a:pPr>
            <a:r>
              <a:rPr lang="en-US" sz="1200" kern="1200">
                <a:solidFill>
                  <a:schemeClr val="tx1"/>
                </a:solidFill>
                <a:effectLst/>
                <a:latin typeface="+mn-lt"/>
                <a:ea typeface="+mn-ea"/>
                <a:cs typeface="+mn-cs"/>
              </a:rPr>
              <a:t>Talking points (Sales Insights)</a:t>
            </a:r>
          </a:p>
          <a:p>
            <a:pPr marL="628650" lvl="1" indent="-171450" fontAlgn="ctr">
              <a:buFont typeface="Arial" panose="020B0604020202020204" pitchFamily="34" charset="0"/>
              <a:buChar char="•"/>
            </a:pPr>
            <a:r>
              <a:rPr lang="en-US" sz="1200" kern="1200">
                <a:solidFill>
                  <a:schemeClr val="tx1"/>
                </a:solidFill>
                <a:effectLst/>
                <a:latin typeface="+mn-lt"/>
                <a:ea typeface="+mn-ea"/>
                <a:cs typeface="+mn-cs"/>
              </a:rPr>
              <a:t>Relationship analytics &amp; health (Sales Insights)</a:t>
            </a:r>
          </a:p>
          <a:p>
            <a:pPr marL="628650" lvl="1" indent="-171450" fontAlgn="ctr">
              <a:buFont typeface="Arial" panose="020B0604020202020204" pitchFamily="34" charset="0"/>
              <a:buChar char="•"/>
            </a:pPr>
            <a:r>
              <a:rPr lang="en-US" sz="1200" kern="1200">
                <a:solidFill>
                  <a:schemeClr val="tx1"/>
                </a:solidFill>
                <a:effectLst/>
                <a:latin typeface="+mn-lt"/>
                <a:ea typeface="+mn-ea"/>
                <a:cs typeface="+mn-cs"/>
              </a:rPr>
              <a:t>Recommended actions (Sales Insights)</a:t>
            </a:r>
          </a:p>
          <a:p>
            <a:pPr marL="628650" lvl="1" indent="-171450" fontAlgn="ctr">
              <a:buFont typeface="Arial" panose="020B0604020202020204" pitchFamily="34" charset="0"/>
              <a:buChar char="•"/>
            </a:pPr>
            <a:r>
              <a:rPr lang="en-US" sz="1200" kern="1200">
                <a:solidFill>
                  <a:schemeClr val="tx1"/>
                </a:solidFill>
                <a:effectLst/>
                <a:latin typeface="+mn-lt"/>
                <a:ea typeface="+mn-ea"/>
                <a:cs typeface="+mn-cs"/>
              </a:rPr>
              <a:t>Contact, account, opportunity management (Sales)</a:t>
            </a:r>
          </a:p>
          <a:p>
            <a:pPr marL="628650" lvl="1" indent="-171450" fontAlgn="ctr">
              <a:buFont typeface="Arial" panose="020B0604020202020204" pitchFamily="34" charset="0"/>
              <a:buChar char="•"/>
            </a:pPr>
            <a:r>
              <a:rPr lang="en-US" sz="1200" kern="1200">
                <a:solidFill>
                  <a:schemeClr val="tx1"/>
                </a:solidFill>
                <a:effectLst/>
                <a:latin typeface="+mn-lt"/>
                <a:ea typeface="+mn-ea"/>
                <a:cs typeface="+mn-cs"/>
              </a:rPr>
              <a:t>Live org chart (Sales &amp; Sales Navigator integration)</a:t>
            </a:r>
          </a:p>
          <a:p>
            <a:pPr marL="628650" lvl="1" indent="-171450" fontAlgn="ctr">
              <a:buFont typeface="Arial" panose="020B0604020202020204" pitchFamily="34" charset="0"/>
              <a:buChar char="•"/>
            </a:pPr>
            <a:r>
              <a:rPr lang="en-US" sz="1200" kern="1200">
                <a:solidFill>
                  <a:schemeClr val="tx1"/>
                </a:solidFill>
                <a:effectLst/>
                <a:latin typeface="+mn-lt"/>
                <a:ea typeface="+mn-ea"/>
                <a:cs typeface="+mn-cs"/>
              </a:rPr>
              <a:t>Internal/external collaboration (Teams integration)</a:t>
            </a:r>
          </a:p>
          <a:p>
            <a:pPr marL="628650" lvl="1" indent="-171450" fontAlgn="ctr">
              <a:buFont typeface="Arial" panose="020B0604020202020204" pitchFamily="34" charset="0"/>
              <a:buChar char="•"/>
            </a:pPr>
            <a:r>
              <a:rPr lang="en-US" sz="1200" kern="1200">
                <a:solidFill>
                  <a:schemeClr val="tx1"/>
                </a:solidFill>
                <a:effectLst/>
                <a:latin typeface="+mn-lt"/>
                <a:ea typeface="+mn-ea"/>
                <a:cs typeface="+mn-cs"/>
              </a:rPr>
              <a:t>Meeting prep &amp; wrap-up (Sales Insights)</a:t>
            </a:r>
          </a:p>
          <a:p>
            <a:pPr marL="628650" lvl="1" indent="-171450" fontAlgn="ctr">
              <a:buFont typeface="Arial" panose="020B0604020202020204" pitchFamily="34" charset="0"/>
              <a:buChar char="•"/>
            </a:pPr>
            <a:r>
              <a:rPr lang="en-US" sz="1200" kern="1200">
                <a:solidFill>
                  <a:schemeClr val="tx1"/>
                </a:solidFill>
                <a:effectLst/>
                <a:latin typeface="+mn-lt"/>
                <a:ea typeface="+mn-ea"/>
                <a:cs typeface="+mn-cs"/>
              </a:rPr>
              <a:t>Call intelligence (Sales Insights) </a:t>
            </a:r>
          </a:p>
          <a:p>
            <a:pPr marL="628650" lvl="1" indent="-171450" fontAlgn="ctr">
              <a:buFont typeface="Arial" panose="020B0604020202020204" pitchFamily="34" charset="0"/>
              <a:buChar char="•"/>
            </a:pPr>
            <a:r>
              <a:rPr lang="en-US" sz="1200" kern="1200">
                <a:solidFill>
                  <a:schemeClr val="tx1"/>
                </a:solidFill>
                <a:effectLst/>
                <a:latin typeface="+mn-lt"/>
                <a:ea typeface="+mn-ea"/>
                <a:cs typeface="+mn-cs"/>
              </a:rPr>
              <a:t>Playbook (Sales)</a:t>
            </a:r>
          </a:p>
          <a:p>
            <a:pPr marL="628650" lvl="1" indent="-171450" fontAlgn="ctr">
              <a:buFont typeface="Arial" panose="020B0604020202020204" pitchFamily="34" charset="0"/>
              <a:buChar char="•"/>
            </a:pPr>
            <a:r>
              <a:rPr lang="en-US" sz="1200" kern="1200">
                <a:solidFill>
                  <a:schemeClr val="tx1"/>
                </a:solidFill>
                <a:effectLst/>
                <a:latin typeface="+mn-lt"/>
                <a:ea typeface="+mn-ea"/>
                <a:cs typeface="+mn-cs"/>
              </a:rPr>
              <a:t>CPQ (3</a:t>
            </a:r>
            <a:r>
              <a:rPr lang="en-US" sz="1200" kern="1200" baseline="30000">
                <a:solidFill>
                  <a:schemeClr val="tx1"/>
                </a:solidFill>
                <a:effectLst/>
                <a:latin typeface="+mn-lt"/>
                <a:ea typeface="+mn-ea"/>
                <a:cs typeface="+mn-cs"/>
              </a:rPr>
              <a:t>rd</a:t>
            </a:r>
            <a:r>
              <a:rPr lang="en-US" sz="1200" kern="1200">
                <a:solidFill>
                  <a:schemeClr val="tx1"/>
                </a:solidFill>
                <a:effectLst/>
                <a:latin typeface="+mn-lt"/>
                <a:ea typeface="+mn-ea"/>
                <a:cs typeface="+mn-cs"/>
              </a:rPr>
              <a:t> party solution integration)</a:t>
            </a:r>
          </a:p>
          <a:p>
            <a:pPr marL="628650" lvl="1" indent="-171450" fontAlgn="ctr">
              <a:buFont typeface="Arial" panose="020B0604020202020204" pitchFamily="34" charset="0"/>
              <a:buChar char="•"/>
            </a:pPr>
            <a:r>
              <a:rPr lang="en-US" sz="1200" kern="1200">
                <a:solidFill>
                  <a:schemeClr val="tx1"/>
                </a:solidFill>
                <a:effectLst/>
                <a:latin typeface="+mn-lt"/>
                <a:ea typeface="+mn-ea"/>
                <a:cs typeface="+mn-cs"/>
              </a:rPr>
              <a:t>3D experiences (Product Visualize)</a:t>
            </a:r>
          </a:p>
          <a:p>
            <a:r>
              <a:rPr lang="en-US" sz="1200" kern="1200">
                <a:solidFill>
                  <a:schemeClr val="tx1"/>
                </a:solidFill>
                <a:effectLst/>
                <a:latin typeface="+mn-lt"/>
                <a:ea typeface="+mn-ea"/>
                <a:cs typeface="+mn-cs"/>
              </a:rPr>
              <a:t> </a:t>
            </a:r>
          </a:p>
          <a:p>
            <a:r>
              <a:rPr lang="en-US" sz="1200" b="1" kern="1200">
                <a:solidFill>
                  <a:schemeClr val="tx1"/>
                </a:solidFill>
                <a:effectLst/>
                <a:latin typeface="+mn-lt"/>
                <a:ea typeface="+mn-ea"/>
                <a:cs typeface="+mn-cs"/>
              </a:rPr>
              <a:t>Informing buyers throughout fulfillment</a:t>
            </a:r>
          </a:p>
          <a:p>
            <a:endParaRPr lang="en-US" sz="1200" b="1" kern="120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kern="1200">
                <a:solidFill>
                  <a:srgbClr val="FF0000"/>
                </a:solidFill>
                <a:effectLst/>
                <a:latin typeface="+mn-lt"/>
                <a:ea typeface="+mn-ea"/>
                <a:cs typeface="+mn-cs"/>
              </a:rPr>
              <a:t>Differentiate your brand experience with faster, more personalized service that adds value to every interac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1" kern="120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kern="1200">
                <a:solidFill>
                  <a:schemeClr val="tx1"/>
                </a:solidFill>
                <a:effectLst/>
                <a:latin typeface="+mn-lt"/>
                <a:ea typeface="+mn-ea"/>
                <a:cs typeface="+mn-cs"/>
              </a:rPr>
              <a:t>Key Dynamics 365 capabilities that support informing buyers throughout fulfillment are;</a:t>
            </a:r>
            <a:endParaRPr lang="en-US" sz="1200" b="1" kern="1200">
              <a:solidFill>
                <a:schemeClr val="tx1"/>
              </a:solidFill>
              <a:effectLst/>
              <a:latin typeface="+mn-lt"/>
              <a:ea typeface="+mn-ea"/>
              <a:cs typeface="+mn-cs"/>
            </a:endParaRPr>
          </a:p>
          <a:p>
            <a:pPr marL="628650" lvl="1" indent="-171450" fontAlgn="ctr">
              <a:buFont typeface="Arial" panose="020B0604020202020204" pitchFamily="34" charset="0"/>
              <a:buChar char="•"/>
            </a:pPr>
            <a:r>
              <a:rPr lang="en-US" sz="1200" kern="1200">
                <a:solidFill>
                  <a:schemeClr val="tx1"/>
                </a:solidFill>
                <a:effectLst/>
                <a:latin typeface="+mn-lt"/>
                <a:ea typeface="+mn-ea"/>
                <a:cs typeface="+mn-cs"/>
              </a:rPr>
              <a:t>Portals (PowerApps Portals)</a:t>
            </a:r>
          </a:p>
          <a:p>
            <a:pPr marL="628650" lvl="1" indent="-171450">
              <a:buFont typeface="Arial" panose="020B0604020202020204" pitchFamily="34" charset="0"/>
              <a:buChar char="•"/>
            </a:pPr>
            <a:r>
              <a:rPr lang="en-US" sz="1200" kern="1200">
                <a:solidFill>
                  <a:schemeClr val="tx1"/>
                </a:solidFill>
                <a:effectLst/>
                <a:latin typeface="+mn-lt"/>
                <a:ea typeface="+mn-ea"/>
                <a:cs typeface="+mn-cs"/>
              </a:rPr>
              <a:t>Notifications (Microsoft Flow)</a:t>
            </a:r>
          </a:p>
          <a:p>
            <a:pPr marL="628650" lvl="1" indent="-171450">
              <a:buFont typeface="Arial" panose="020B0604020202020204" pitchFamily="34" charset="0"/>
              <a:buChar char="•"/>
            </a:pPr>
            <a:r>
              <a:rPr lang="en-US" sz="1200" kern="1200">
                <a:solidFill>
                  <a:schemeClr val="tx1"/>
                </a:solidFill>
                <a:effectLst/>
                <a:latin typeface="+mn-lt"/>
                <a:ea typeface="+mn-ea"/>
                <a:cs typeface="+mn-cs"/>
              </a:rPr>
              <a:t>Sales Orders (Finance &amp; Operations)</a:t>
            </a:r>
          </a:p>
          <a:p>
            <a:pPr marL="628650" lvl="1" indent="-171450">
              <a:buFont typeface="Arial" panose="020B0604020202020204" pitchFamily="34" charset="0"/>
              <a:buChar char="•"/>
            </a:pPr>
            <a:r>
              <a:rPr lang="en-US" sz="1200" kern="1200">
                <a:solidFill>
                  <a:schemeClr val="tx1"/>
                </a:solidFill>
                <a:effectLst/>
                <a:latin typeface="+mn-lt"/>
                <a:ea typeface="+mn-ea"/>
                <a:cs typeface="+mn-cs"/>
              </a:rPr>
              <a:t>Invoicing (Finance &amp; Operations)</a:t>
            </a:r>
          </a:p>
          <a:p>
            <a:r>
              <a:rPr lang="en-US" sz="1200" kern="1200">
                <a:solidFill>
                  <a:schemeClr val="tx1"/>
                </a:solidFill>
                <a:effectLst/>
                <a:latin typeface="+mn-lt"/>
                <a:ea typeface="+mn-ea"/>
                <a:cs typeface="+mn-cs"/>
              </a:rPr>
              <a:t> </a:t>
            </a:r>
          </a:p>
          <a:p>
            <a:r>
              <a:rPr lang="en-US" sz="1200" b="1" kern="1200">
                <a:solidFill>
                  <a:schemeClr val="tx1"/>
                </a:solidFill>
                <a:effectLst/>
                <a:latin typeface="+mn-lt"/>
                <a:ea typeface="+mn-ea"/>
                <a:cs typeface="+mn-cs"/>
              </a:rPr>
              <a:t>Driving faster time to value &amp; satisfaction</a:t>
            </a:r>
          </a:p>
          <a:p>
            <a:endParaRPr lang="en-US" sz="1200" b="1" kern="120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kern="1200">
                <a:solidFill>
                  <a:srgbClr val="FF0000"/>
                </a:solidFill>
                <a:effectLst/>
                <a:latin typeface="+mn-lt"/>
                <a:ea typeface="+mn-ea"/>
                <a:cs typeface="+mn-cs"/>
              </a:rPr>
              <a:t>Make it easy to find answers through self-service, communitie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1" kern="120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kern="1200">
                <a:solidFill>
                  <a:schemeClr val="tx1"/>
                </a:solidFill>
                <a:effectLst/>
                <a:latin typeface="+mn-lt"/>
                <a:ea typeface="+mn-ea"/>
                <a:cs typeface="+mn-cs"/>
              </a:rPr>
              <a:t>Key Dynamics 365 capabilities that support driving faster time to value &amp; satisfaction are;</a:t>
            </a:r>
            <a:endParaRPr lang="en-US" sz="1200" b="1" kern="1200">
              <a:solidFill>
                <a:schemeClr val="tx1"/>
              </a:solidFill>
              <a:effectLst/>
              <a:latin typeface="+mn-lt"/>
              <a:ea typeface="+mn-ea"/>
              <a:cs typeface="+mn-cs"/>
            </a:endParaRPr>
          </a:p>
          <a:p>
            <a:pPr marL="628650" lvl="1" indent="-171450" fontAlgn="ctr">
              <a:buFont typeface="Arial" panose="020B0604020202020204" pitchFamily="34" charset="0"/>
              <a:buChar char="•"/>
            </a:pPr>
            <a:r>
              <a:rPr lang="en-US" sz="1200" kern="1200">
                <a:solidFill>
                  <a:schemeClr val="tx1"/>
                </a:solidFill>
                <a:effectLst/>
                <a:latin typeface="+mn-lt"/>
                <a:ea typeface="+mn-ea"/>
                <a:cs typeface="+mn-cs"/>
              </a:rPr>
              <a:t>Portals (PowerApps Portals)</a:t>
            </a:r>
          </a:p>
          <a:p>
            <a:pPr marL="628650" lvl="1" indent="-171450" fontAlgn="ctr">
              <a:buFont typeface="Arial" panose="020B0604020202020204" pitchFamily="34" charset="0"/>
              <a:buChar char="•"/>
            </a:pPr>
            <a:r>
              <a:rPr lang="en-US" sz="1200" kern="1200">
                <a:solidFill>
                  <a:schemeClr val="tx1"/>
                </a:solidFill>
                <a:effectLst/>
                <a:latin typeface="+mn-lt"/>
                <a:ea typeface="+mn-ea"/>
                <a:cs typeface="+mn-cs"/>
              </a:rPr>
              <a:t>Knowledges Articles (Dynamics 365 for Customer Service / Portal)</a:t>
            </a:r>
          </a:p>
          <a:p>
            <a:pPr marL="628650" lvl="1" indent="-171450" fontAlgn="ctr">
              <a:buFont typeface="Arial" panose="020B0604020202020204" pitchFamily="34" charset="0"/>
              <a:buChar char="•"/>
            </a:pPr>
            <a:r>
              <a:rPr lang="en-US" sz="1200" kern="1200">
                <a:solidFill>
                  <a:schemeClr val="tx1"/>
                </a:solidFill>
                <a:effectLst/>
                <a:latin typeface="+mn-lt"/>
                <a:ea typeface="+mn-ea"/>
                <a:cs typeface="+mn-cs"/>
              </a:rPr>
              <a:t>Communities (Dynamics 365 for Customer Service / Portal)</a:t>
            </a:r>
          </a:p>
          <a:p>
            <a:pPr marL="628650" lvl="1" indent="-171450" fontAlgn="ctr">
              <a:buFont typeface="Arial" panose="020B0604020202020204" pitchFamily="34" charset="0"/>
              <a:buChar char="•"/>
            </a:pPr>
            <a:r>
              <a:rPr lang="en-US" sz="1200" kern="1200">
                <a:solidFill>
                  <a:schemeClr val="tx1"/>
                </a:solidFill>
                <a:effectLst/>
                <a:latin typeface="+mn-lt"/>
                <a:ea typeface="+mn-ea"/>
                <a:cs typeface="+mn-cs"/>
              </a:rPr>
              <a:t>Forums (Dynamics 365 for Customer Service / Portal)</a:t>
            </a:r>
            <a:br>
              <a:rPr lang="en-US" sz="1200" kern="1200">
                <a:solidFill>
                  <a:schemeClr val="tx1"/>
                </a:solidFill>
                <a:effectLst/>
                <a:latin typeface="+mn-lt"/>
                <a:ea typeface="+mn-ea"/>
                <a:cs typeface="+mn-cs"/>
              </a:rPr>
            </a:br>
            <a:r>
              <a:rPr lang="en-US" sz="1200" kern="1200">
                <a:solidFill>
                  <a:schemeClr val="tx1"/>
                </a:solidFill>
                <a:effectLst/>
                <a:latin typeface="+mn-lt"/>
                <a:ea typeface="+mn-ea"/>
                <a:cs typeface="+mn-cs"/>
              </a:rPr>
              <a:t>Ideas (Dynamics 365 for Customer Service / Portal)</a:t>
            </a:r>
          </a:p>
          <a:p>
            <a:pPr marL="628650" lvl="1" indent="-171450" fontAlgn="ctr">
              <a:buFont typeface="Arial" panose="020B0604020202020204" pitchFamily="34" charset="0"/>
              <a:buChar char="•"/>
            </a:pPr>
            <a:r>
              <a:rPr lang="en-US" sz="1200" kern="1200">
                <a:solidFill>
                  <a:schemeClr val="tx1"/>
                </a:solidFill>
                <a:effectLst/>
                <a:latin typeface="+mn-lt"/>
                <a:ea typeface="+mn-ea"/>
                <a:cs typeface="+mn-cs"/>
              </a:rPr>
              <a:t>Blogs (Dynamics 365 for Customer Service / Portal)</a:t>
            </a:r>
          </a:p>
          <a:p>
            <a:pPr marL="628650" lvl="1" indent="-171450" fontAlgn="ctr">
              <a:buFont typeface="Arial" panose="020B0604020202020204" pitchFamily="34" charset="0"/>
              <a:buChar char="•"/>
            </a:pPr>
            <a:r>
              <a:rPr lang="en-US" sz="1200" kern="1200">
                <a:solidFill>
                  <a:schemeClr val="tx1"/>
                </a:solidFill>
                <a:effectLst/>
                <a:latin typeface="+mn-lt"/>
                <a:ea typeface="+mn-ea"/>
                <a:cs typeface="+mn-cs"/>
              </a:rPr>
              <a:t>Virtual Agents (Virtual Agents for Customer Service)</a:t>
            </a:r>
          </a:p>
          <a:p>
            <a:pPr marL="628650" lvl="1" indent="-171450" fontAlgn="ctr">
              <a:buFont typeface="Arial" panose="020B0604020202020204" pitchFamily="34" charset="0"/>
              <a:buChar char="•"/>
            </a:pPr>
            <a:r>
              <a:rPr lang="en-US" sz="1200" kern="1200">
                <a:solidFill>
                  <a:schemeClr val="tx1"/>
                </a:solidFill>
                <a:effectLst/>
                <a:latin typeface="+mn-lt"/>
                <a:ea typeface="+mn-ea"/>
                <a:cs typeface="+mn-cs"/>
              </a:rPr>
              <a:t>Chat (Chat for Dynamics 365)</a:t>
            </a:r>
          </a:p>
          <a:p>
            <a:pPr marL="628650" lvl="1" indent="-171450" fontAlgn="ctr">
              <a:buFont typeface="Arial" panose="020B0604020202020204" pitchFamily="34" charset="0"/>
              <a:buChar char="•"/>
            </a:pPr>
            <a:r>
              <a:rPr lang="en-US" sz="1200" kern="1200">
                <a:solidFill>
                  <a:schemeClr val="tx1"/>
                </a:solidFill>
                <a:effectLst/>
                <a:latin typeface="+mn-lt"/>
                <a:ea typeface="+mn-ea"/>
                <a:cs typeface="+mn-cs"/>
              </a:rPr>
              <a:t>Digital Messaging (Digital Messaging for Dynamics 365)</a:t>
            </a:r>
          </a:p>
          <a:p>
            <a:pPr marL="628650" lvl="1" indent="-171450" fontAlgn="ctr">
              <a:buFont typeface="Arial" panose="020B0604020202020204" pitchFamily="34" charset="0"/>
              <a:buChar char="•"/>
            </a:pPr>
            <a:r>
              <a:rPr lang="en-US" sz="1200" kern="1200">
                <a:solidFill>
                  <a:schemeClr val="tx1"/>
                </a:solidFill>
                <a:effectLst/>
                <a:latin typeface="+mn-lt"/>
                <a:ea typeface="+mn-ea"/>
                <a:cs typeface="+mn-cs"/>
              </a:rPr>
              <a:t>Surveys (Forms Pro)</a:t>
            </a:r>
          </a:p>
          <a:p>
            <a:pPr fontAlgn="ctr"/>
            <a:r>
              <a:rPr lang="en-US" sz="1200" kern="1200">
                <a:solidFill>
                  <a:schemeClr val="tx1"/>
                </a:solidFill>
                <a:effectLst/>
                <a:latin typeface="+mn-lt"/>
                <a:ea typeface="+mn-ea"/>
                <a:cs typeface="+mn-cs"/>
              </a:rPr>
              <a:t> </a:t>
            </a:r>
          </a:p>
          <a:p>
            <a:r>
              <a:rPr lang="en-US" sz="1200" b="1" kern="1200">
                <a:solidFill>
                  <a:schemeClr val="tx1"/>
                </a:solidFill>
                <a:effectLst/>
                <a:latin typeface="+mn-lt"/>
                <a:ea typeface="+mn-ea"/>
                <a:cs typeface="+mn-cs"/>
              </a:rPr>
              <a:t>Personalizing service interactions</a:t>
            </a:r>
          </a:p>
          <a:p>
            <a:endParaRPr lang="en-US" sz="1200" b="1" kern="120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kern="1200">
                <a:solidFill>
                  <a:srgbClr val="FF0000"/>
                </a:solidFill>
                <a:effectLst/>
                <a:latin typeface="+mn-lt"/>
                <a:ea typeface="+mn-ea"/>
                <a:cs typeface="+mn-cs"/>
              </a:rPr>
              <a:t>Provide exceptional customer service and </a:t>
            </a:r>
            <a:r>
              <a:rPr lang="en-US" sz="1200" b="0" i="0" kern="1200">
                <a:solidFill>
                  <a:schemeClr val="tx1"/>
                </a:solidFill>
                <a:effectLst/>
                <a:latin typeface="+mn-lt"/>
                <a:ea typeface="+mn-ea"/>
                <a:cs typeface="+mn-cs"/>
              </a:rPr>
              <a:t>make better decisions to proactively improve customer satisfaction with confidence.</a:t>
            </a:r>
            <a:endParaRPr lang="en-US" sz="1200" b="0" i="0" kern="1200">
              <a:solidFill>
                <a:srgbClr val="FF0000"/>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1" kern="120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kern="1200">
                <a:solidFill>
                  <a:schemeClr val="tx1"/>
                </a:solidFill>
                <a:effectLst/>
                <a:latin typeface="+mn-lt"/>
                <a:ea typeface="+mn-ea"/>
                <a:cs typeface="+mn-cs"/>
              </a:rPr>
              <a:t>Key Dynamics 365 capabilities that support personalizing service interactions are;</a:t>
            </a:r>
            <a:endParaRPr lang="en-US" sz="1200" b="1" kern="1200">
              <a:solidFill>
                <a:schemeClr val="tx1"/>
              </a:solidFill>
              <a:effectLst/>
              <a:latin typeface="+mn-lt"/>
              <a:ea typeface="+mn-ea"/>
              <a:cs typeface="+mn-cs"/>
            </a:endParaRPr>
          </a:p>
          <a:p>
            <a:pPr marL="628650" lvl="1" indent="-171450" fontAlgn="ctr">
              <a:buFont typeface="Arial" panose="020B0604020202020204" pitchFamily="34" charset="0"/>
              <a:buChar char="•"/>
            </a:pPr>
            <a:r>
              <a:rPr lang="en-US" sz="1200" kern="1200">
                <a:solidFill>
                  <a:schemeClr val="tx1"/>
                </a:solidFill>
                <a:effectLst/>
                <a:latin typeface="+mn-lt"/>
                <a:ea typeface="+mn-ea"/>
                <a:cs typeface="+mn-cs"/>
              </a:rPr>
              <a:t>Multi-channel campaigns (Marketing)</a:t>
            </a:r>
          </a:p>
          <a:p>
            <a:pPr marL="628650" lvl="1" indent="-171450" fontAlgn="ctr">
              <a:buFont typeface="Arial" panose="020B0604020202020204" pitchFamily="34" charset="0"/>
              <a:buChar char="•"/>
            </a:pPr>
            <a:r>
              <a:rPr lang="en-US" sz="1200" kern="1200">
                <a:solidFill>
                  <a:schemeClr val="tx1"/>
                </a:solidFill>
                <a:effectLst/>
                <a:latin typeface="+mn-lt"/>
                <a:ea typeface="+mn-ea"/>
                <a:cs typeface="+mn-cs"/>
              </a:rPr>
              <a:t>360 degree view of Customer Profile ( Customer Insights)</a:t>
            </a:r>
          </a:p>
          <a:p>
            <a:pPr marL="628650" lvl="1" indent="-171450" fontAlgn="ctr">
              <a:buFont typeface="Arial" panose="020B0604020202020204" pitchFamily="34" charset="0"/>
              <a:buChar char="•"/>
            </a:pPr>
            <a:r>
              <a:rPr lang="en-US" sz="1200" kern="1200">
                <a:solidFill>
                  <a:schemeClr val="tx1"/>
                </a:solidFill>
                <a:effectLst/>
                <a:latin typeface="+mn-lt"/>
                <a:ea typeface="+mn-ea"/>
                <a:cs typeface="+mn-cs"/>
              </a:rPr>
              <a:t>Portals (PowerApps Portals)</a:t>
            </a:r>
          </a:p>
          <a:p>
            <a:pPr marL="628650" lvl="1" indent="-171450" fontAlgn="ctr">
              <a:buFont typeface="Arial" panose="020B0604020202020204" pitchFamily="34" charset="0"/>
              <a:buChar char="•"/>
            </a:pPr>
            <a:r>
              <a:rPr lang="en-US" sz="1200" kern="1200">
                <a:solidFill>
                  <a:schemeClr val="tx1"/>
                </a:solidFill>
                <a:effectLst/>
                <a:latin typeface="+mn-lt"/>
                <a:ea typeface="+mn-ea"/>
                <a:cs typeface="+mn-cs"/>
              </a:rPr>
              <a:t>Virtual Agents (Virtual Agents for Customer Service)</a:t>
            </a:r>
          </a:p>
          <a:p>
            <a:pPr marL="628650" lvl="1" indent="-171450" fontAlgn="ctr">
              <a:buFont typeface="Arial" panose="020B0604020202020204" pitchFamily="34" charset="0"/>
              <a:buChar char="•"/>
            </a:pPr>
            <a:r>
              <a:rPr lang="en-US" sz="1200" kern="1200">
                <a:solidFill>
                  <a:schemeClr val="tx1"/>
                </a:solidFill>
                <a:effectLst/>
                <a:latin typeface="+mn-lt"/>
                <a:ea typeface="+mn-ea"/>
                <a:cs typeface="+mn-cs"/>
              </a:rPr>
              <a:t>Chat (Chat for Dynamics 365)</a:t>
            </a:r>
          </a:p>
          <a:p>
            <a:pPr marL="628650" lvl="1" indent="-171450" fontAlgn="ctr">
              <a:buFont typeface="Arial" panose="020B0604020202020204" pitchFamily="34" charset="0"/>
              <a:buChar char="•"/>
            </a:pPr>
            <a:r>
              <a:rPr lang="en-US" sz="1200" kern="1200">
                <a:solidFill>
                  <a:schemeClr val="tx1"/>
                </a:solidFill>
                <a:effectLst/>
                <a:latin typeface="+mn-lt"/>
                <a:ea typeface="+mn-ea"/>
                <a:cs typeface="+mn-cs"/>
              </a:rPr>
              <a:t>Digital Messaging (Digital Messaging for Dynamics 365)</a:t>
            </a:r>
          </a:p>
          <a:p>
            <a:pPr fontAlgn="ctr"/>
            <a:r>
              <a:rPr lang="en-US" sz="1200" kern="1200">
                <a:solidFill>
                  <a:schemeClr val="tx1"/>
                </a:solidFill>
                <a:effectLst/>
                <a:latin typeface="+mn-lt"/>
                <a:ea typeface="+mn-ea"/>
                <a:cs typeface="+mn-cs"/>
              </a:rPr>
              <a:t> </a:t>
            </a:r>
          </a:p>
          <a:p>
            <a:r>
              <a:rPr lang="en-US" sz="1200" b="1" kern="1200">
                <a:solidFill>
                  <a:schemeClr val="tx1"/>
                </a:solidFill>
                <a:effectLst/>
                <a:latin typeface="+mn-lt"/>
                <a:ea typeface="+mn-ea"/>
                <a:cs typeface="+mn-cs"/>
              </a:rPr>
              <a:t>Delivering incentives to strengthen loyalty</a:t>
            </a:r>
          </a:p>
          <a:p>
            <a:endParaRPr lang="en-US" sz="1200" b="1" kern="120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kern="1200">
                <a:solidFill>
                  <a:srgbClr val="FF0000"/>
                </a:solidFill>
                <a:effectLst/>
                <a:latin typeface="+mn-lt"/>
                <a:ea typeface="+mn-ea"/>
                <a:cs typeface="+mn-cs"/>
              </a:rPr>
              <a:t>Increase customer loyalty by rewarding customers for their interactions.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1" kern="120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kern="1200">
                <a:solidFill>
                  <a:schemeClr val="tx1"/>
                </a:solidFill>
                <a:effectLst/>
                <a:latin typeface="+mn-lt"/>
                <a:ea typeface="+mn-ea"/>
                <a:cs typeface="+mn-cs"/>
              </a:rPr>
              <a:t>Key Dynamics 365 capabilities that support delivering incentives to strengthen loyalty are;</a:t>
            </a:r>
            <a:endParaRPr lang="en-US" sz="1200" b="1" kern="1200">
              <a:solidFill>
                <a:schemeClr val="tx1"/>
              </a:solidFill>
              <a:effectLst/>
              <a:latin typeface="+mn-lt"/>
              <a:ea typeface="+mn-ea"/>
              <a:cs typeface="+mn-cs"/>
            </a:endParaRPr>
          </a:p>
          <a:p>
            <a:pPr marL="628650" lvl="1" indent="-171450" fontAlgn="ctr">
              <a:buFont typeface="Arial" panose="020B0604020202020204" pitchFamily="34" charset="0"/>
              <a:buChar char="•"/>
            </a:pPr>
            <a:r>
              <a:rPr lang="en-US" sz="1200" kern="1200">
                <a:solidFill>
                  <a:schemeClr val="tx1"/>
                </a:solidFill>
                <a:effectLst/>
                <a:latin typeface="+mn-lt"/>
                <a:ea typeface="+mn-ea"/>
                <a:cs typeface="+mn-cs"/>
              </a:rPr>
              <a:t>360 degree view of Customer Profile ( Customer Insights)</a:t>
            </a:r>
          </a:p>
          <a:p>
            <a:pPr marL="628650" lvl="1" indent="-171450" fontAlgn="ctr">
              <a:buFont typeface="Arial" panose="020B0604020202020204" pitchFamily="34" charset="0"/>
              <a:buChar char="•"/>
            </a:pPr>
            <a:r>
              <a:rPr lang="en-US" sz="1200" kern="1200">
                <a:solidFill>
                  <a:schemeClr val="tx1"/>
                </a:solidFill>
                <a:effectLst/>
                <a:latin typeface="+mn-lt"/>
                <a:ea typeface="+mn-ea"/>
                <a:cs typeface="+mn-cs"/>
              </a:rPr>
              <a:t>Multi-channel campaigns (Marketing)</a:t>
            </a:r>
          </a:p>
          <a:p>
            <a:pPr marL="628650" lvl="1" indent="-171450" fontAlgn="ctr">
              <a:buFont typeface="Arial" panose="020B0604020202020204" pitchFamily="34" charset="0"/>
              <a:buChar char="•"/>
            </a:pPr>
            <a:r>
              <a:rPr lang="en-US" sz="1200" kern="1200">
                <a:solidFill>
                  <a:schemeClr val="tx1"/>
                </a:solidFill>
                <a:effectLst/>
                <a:latin typeface="+mn-lt"/>
                <a:ea typeface="+mn-ea"/>
                <a:cs typeface="+mn-cs"/>
              </a:rPr>
              <a:t>Next best Actions (Assistant / Assistant Studio)</a:t>
            </a:r>
          </a:p>
          <a:p>
            <a:r>
              <a:rPr lang="en-US" sz="1200" kern="1200">
                <a:solidFill>
                  <a:schemeClr val="tx1"/>
                </a:solidFill>
                <a:effectLst/>
                <a:latin typeface="+mn-lt"/>
                <a:ea typeface="+mn-ea"/>
                <a:cs typeface="+mn-cs"/>
              </a:rPr>
              <a:t> </a:t>
            </a:r>
          </a:p>
          <a:p>
            <a:r>
              <a:rPr lang="en-US" sz="1200" b="1" kern="1200">
                <a:solidFill>
                  <a:schemeClr val="tx1"/>
                </a:solidFill>
                <a:effectLst/>
                <a:latin typeface="+mn-lt"/>
                <a:ea typeface="+mn-ea"/>
                <a:cs typeface="+mn-cs"/>
              </a:rPr>
              <a:t>Collecting feedback</a:t>
            </a:r>
          </a:p>
          <a:p>
            <a:endParaRPr lang="en-US" sz="1200" b="1" kern="120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kern="1200">
                <a:solidFill>
                  <a:srgbClr val="FF0000"/>
                </a:solidFill>
                <a:effectLst/>
                <a:latin typeface="+mn-lt"/>
                <a:ea typeface="+mn-ea"/>
                <a:cs typeface="+mn-cs"/>
              </a:rPr>
              <a:t>Make it easy to capture and act on customer data.</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1" kern="120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kern="1200">
                <a:solidFill>
                  <a:schemeClr val="tx1"/>
                </a:solidFill>
                <a:effectLst/>
                <a:latin typeface="+mn-lt"/>
                <a:ea typeface="+mn-ea"/>
                <a:cs typeface="+mn-cs"/>
              </a:rPr>
              <a:t>Key Dynamics 365 capabilities that support collecting feedback are;</a:t>
            </a:r>
            <a:endParaRPr lang="en-US" sz="1200" b="1" kern="1200">
              <a:solidFill>
                <a:schemeClr val="tx1"/>
              </a:solidFill>
              <a:effectLst/>
              <a:latin typeface="+mn-lt"/>
              <a:ea typeface="+mn-ea"/>
              <a:cs typeface="+mn-cs"/>
            </a:endParaRPr>
          </a:p>
          <a:p>
            <a:pPr marL="628650" lvl="1" indent="-171450" fontAlgn="ctr">
              <a:buFont typeface="Arial" panose="020B0604020202020204" pitchFamily="34" charset="0"/>
              <a:buChar char="•"/>
            </a:pPr>
            <a:r>
              <a:rPr lang="en-US" sz="1200" kern="1200">
                <a:solidFill>
                  <a:schemeClr val="tx1"/>
                </a:solidFill>
                <a:effectLst/>
                <a:latin typeface="+mn-lt"/>
                <a:ea typeface="+mn-ea"/>
                <a:cs typeface="+mn-cs"/>
              </a:rPr>
              <a:t>Surveys (Forms Pro integration)</a:t>
            </a:r>
          </a:p>
          <a:p>
            <a:pPr marL="628650" lvl="1" indent="-171450" fontAlgn="ctr">
              <a:buFont typeface="Arial" panose="020B0604020202020204" pitchFamily="34" charset="0"/>
              <a:buChar char="•"/>
            </a:pPr>
            <a:r>
              <a:rPr lang="en-US" sz="1200" kern="1200">
                <a:solidFill>
                  <a:schemeClr val="tx1"/>
                </a:solidFill>
                <a:effectLst/>
                <a:latin typeface="+mn-lt"/>
                <a:ea typeface="+mn-ea"/>
                <a:cs typeface="+mn-cs"/>
              </a:rPr>
              <a:t>Multi-channel campaigns (Marketing)</a:t>
            </a:r>
          </a:p>
          <a:p>
            <a:r>
              <a:rPr lang="en-US" sz="1200" kern="1200">
                <a:solidFill>
                  <a:schemeClr val="tx1"/>
                </a:solidFill>
                <a:effectLst/>
                <a:latin typeface="+mn-lt"/>
                <a:ea typeface="+mn-ea"/>
                <a:cs typeface="+mn-cs"/>
              </a:rPr>
              <a:t> </a:t>
            </a:r>
          </a:p>
          <a:p>
            <a:r>
              <a:rPr lang="en-US" sz="1200" b="1" kern="1200">
                <a:solidFill>
                  <a:schemeClr val="tx1"/>
                </a:solidFill>
                <a:effectLst/>
                <a:latin typeface="+mn-lt"/>
                <a:ea typeface="+mn-ea"/>
                <a:cs typeface="+mn-cs"/>
              </a:rPr>
              <a:t>Recommending next-best products or services</a:t>
            </a:r>
          </a:p>
          <a:p>
            <a:endParaRPr lang="en-US" sz="1200" b="1" kern="120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kern="1200">
                <a:solidFill>
                  <a:srgbClr val="FF0000"/>
                </a:solidFill>
                <a:effectLst/>
                <a:latin typeface="+mn-lt"/>
                <a:ea typeface="+mn-ea"/>
                <a:cs typeface="+mn-cs"/>
              </a:rPr>
              <a:t>Up-tell to discover and understand products and services that compliment the past purchase. </a:t>
            </a:r>
            <a:endParaRPr lang="en-US" sz="1200" b="1" i="0" kern="1200">
              <a:solidFill>
                <a:schemeClr val="tx1"/>
              </a:solidFill>
              <a:effectLst/>
              <a:latin typeface="+mn-lt"/>
              <a:ea typeface="+mn-ea"/>
              <a:cs typeface="+mn-cs"/>
            </a:endParaRPr>
          </a:p>
          <a:p>
            <a:endParaRPr lang="en-US" sz="1200" b="1" kern="120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kern="1200">
                <a:solidFill>
                  <a:schemeClr val="tx1"/>
                </a:solidFill>
                <a:effectLst/>
                <a:latin typeface="+mn-lt"/>
                <a:ea typeface="+mn-ea"/>
                <a:cs typeface="+mn-cs"/>
              </a:rPr>
              <a:t>Key Dynamics 365 capabilities that support recommending next-best products or services are;</a:t>
            </a:r>
            <a:endParaRPr lang="en-US" sz="1200" b="1" kern="1200">
              <a:solidFill>
                <a:schemeClr val="tx1"/>
              </a:solidFill>
              <a:effectLst/>
              <a:latin typeface="+mn-lt"/>
              <a:ea typeface="+mn-ea"/>
              <a:cs typeface="+mn-cs"/>
            </a:endParaRPr>
          </a:p>
          <a:p>
            <a:pPr marL="628650" lvl="1" indent="-171450" fontAlgn="ctr">
              <a:buFont typeface="Arial" panose="020B0604020202020204" pitchFamily="34" charset="0"/>
              <a:buChar char="•"/>
            </a:pPr>
            <a:r>
              <a:rPr lang="en-US" sz="1200" kern="1200">
                <a:solidFill>
                  <a:schemeClr val="tx1"/>
                </a:solidFill>
                <a:effectLst/>
                <a:latin typeface="+mn-lt"/>
                <a:ea typeface="+mn-ea"/>
                <a:cs typeface="+mn-cs"/>
              </a:rPr>
              <a:t>Quick-start machine learning templates (Customer Insights)</a:t>
            </a:r>
          </a:p>
          <a:p>
            <a:pPr marL="628650" lvl="1" indent="-171450" fontAlgn="ctr">
              <a:buFont typeface="Arial" panose="020B0604020202020204" pitchFamily="34" charset="0"/>
              <a:buChar char="•"/>
            </a:pPr>
            <a:r>
              <a:rPr lang="en-US" sz="1200" kern="1200">
                <a:solidFill>
                  <a:schemeClr val="tx1"/>
                </a:solidFill>
                <a:effectLst/>
                <a:latin typeface="+mn-lt"/>
                <a:ea typeface="+mn-ea"/>
                <a:cs typeface="+mn-cs"/>
              </a:rPr>
              <a:t>Next best Actions (Assistant / Assistant Studio)</a:t>
            </a:r>
          </a:p>
          <a:p>
            <a:pPr marL="628650" lvl="1" indent="-171450" fontAlgn="ctr">
              <a:buFont typeface="Arial" panose="020B0604020202020204" pitchFamily="34" charset="0"/>
              <a:buChar char="•"/>
            </a:pPr>
            <a:r>
              <a:rPr lang="en-US" sz="1200" kern="1200">
                <a:solidFill>
                  <a:schemeClr val="tx1"/>
                </a:solidFill>
                <a:effectLst/>
                <a:latin typeface="+mn-lt"/>
                <a:ea typeface="+mn-ea"/>
                <a:cs typeface="+mn-cs"/>
              </a:rPr>
              <a:t>Portals (PowerApps Portals)</a:t>
            </a:r>
          </a:p>
          <a:p>
            <a:pPr marL="628650" lvl="1" indent="-171450" fontAlgn="ctr">
              <a:buFont typeface="Arial" panose="020B0604020202020204" pitchFamily="34" charset="0"/>
              <a:buChar char="•"/>
            </a:pPr>
            <a:r>
              <a:rPr lang="en-US" sz="1200" kern="1200">
                <a:solidFill>
                  <a:schemeClr val="tx1"/>
                </a:solidFill>
                <a:effectLst/>
                <a:latin typeface="+mn-lt"/>
                <a:ea typeface="+mn-ea"/>
                <a:cs typeface="+mn-cs"/>
              </a:rPr>
              <a:t>Multi-channel campaigns (Marketing)</a:t>
            </a:r>
          </a:p>
          <a:p>
            <a:r>
              <a:rPr lang="en-US" sz="1200" kern="1200">
                <a:solidFill>
                  <a:schemeClr val="tx1"/>
                </a:solidFill>
                <a:effectLst/>
                <a:latin typeface="+mn-lt"/>
                <a:ea typeface="+mn-ea"/>
                <a:cs typeface="+mn-cs"/>
              </a:rPr>
              <a:t> </a:t>
            </a:r>
          </a:p>
          <a:p>
            <a:r>
              <a:rPr lang="en-US" sz="1200" b="1" kern="1200">
                <a:solidFill>
                  <a:schemeClr val="tx1"/>
                </a:solidFill>
                <a:effectLst/>
                <a:latin typeface="+mn-lt"/>
                <a:ea typeface="+mn-ea"/>
                <a:cs typeface="+mn-cs"/>
              </a:rPr>
              <a:t>Automating churn prediction</a:t>
            </a:r>
          </a:p>
          <a:p>
            <a:endParaRPr lang="en-US" sz="1200" b="1" kern="120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kern="1200">
                <a:solidFill>
                  <a:srgbClr val="FF0000"/>
                </a:solidFill>
                <a:effectLst/>
                <a:latin typeface="+mn-lt"/>
                <a:ea typeface="+mn-ea"/>
                <a:cs typeface="+mn-cs"/>
              </a:rPr>
              <a:t>Quick-start machine learning templates to predict churn and provide the next best ac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1" kern="120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kern="1200">
                <a:solidFill>
                  <a:schemeClr val="tx1"/>
                </a:solidFill>
                <a:effectLst/>
                <a:latin typeface="+mn-lt"/>
                <a:ea typeface="+mn-ea"/>
                <a:cs typeface="+mn-cs"/>
              </a:rPr>
              <a:t>Key Dynamics 365 capabilities that support automating churn prediction are;</a:t>
            </a:r>
            <a:endParaRPr lang="en-US" sz="1200" b="1" kern="1200">
              <a:solidFill>
                <a:schemeClr val="tx1"/>
              </a:solidFill>
              <a:effectLst/>
              <a:latin typeface="+mn-lt"/>
              <a:ea typeface="+mn-ea"/>
              <a:cs typeface="+mn-cs"/>
            </a:endParaRPr>
          </a:p>
          <a:p>
            <a:pPr marL="628650" lvl="1" indent="-171450" fontAlgn="ctr">
              <a:buFont typeface="Arial" panose="020B0604020202020204" pitchFamily="34" charset="0"/>
              <a:buChar char="•"/>
            </a:pPr>
            <a:r>
              <a:rPr lang="en-US" sz="1200" kern="1200">
                <a:solidFill>
                  <a:schemeClr val="tx1"/>
                </a:solidFill>
                <a:effectLst/>
                <a:latin typeface="+mn-lt"/>
                <a:ea typeface="+mn-ea"/>
                <a:cs typeface="+mn-cs"/>
              </a:rPr>
              <a:t>Quick-start machine learning templates (Customer Insights)</a:t>
            </a:r>
          </a:p>
          <a:p>
            <a:pPr marL="628650" lvl="1" indent="-171450" fontAlgn="ctr">
              <a:buFont typeface="Arial" panose="020B0604020202020204" pitchFamily="34" charset="0"/>
              <a:buChar char="•"/>
            </a:pPr>
            <a:r>
              <a:rPr lang="en-US" sz="1200" kern="1200">
                <a:solidFill>
                  <a:schemeClr val="tx1"/>
                </a:solidFill>
                <a:effectLst/>
                <a:latin typeface="+mn-lt"/>
                <a:ea typeface="+mn-ea"/>
                <a:cs typeface="+mn-cs"/>
              </a:rPr>
              <a:t>Bring your own AI (Azure AI / Azure Data Lake / Customer Insights)</a:t>
            </a:r>
          </a:p>
          <a:p>
            <a:pPr marL="628650" lvl="1" indent="-171450" fontAlgn="ctr">
              <a:buFont typeface="Arial" panose="020B0604020202020204" pitchFamily="34" charset="0"/>
              <a:buChar char="•"/>
            </a:pPr>
            <a:r>
              <a:rPr lang="en-US" sz="1200" kern="1200">
                <a:solidFill>
                  <a:schemeClr val="tx1"/>
                </a:solidFill>
                <a:effectLst/>
                <a:latin typeface="+mn-lt"/>
                <a:ea typeface="+mn-ea"/>
                <a:cs typeface="+mn-cs"/>
              </a:rPr>
              <a:t>Notifications of likely to Churn segments (Microsoft Flow / Customer Insights)</a:t>
            </a:r>
            <a:endParaRPr lang="en-US"/>
          </a:p>
          <a:p>
            <a:endParaRPr lang="en-US" sz="1200" b="0" kern="120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5B258F2-B2E5-4175-B339-81AEE5988F5F}" type="slidenum">
              <a:rPr kumimoji="0" lang="en-US" sz="1200" b="0" i="0" u="none" strike="noStrike" kern="1200" cap="none" spc="0" normalizeH="0" baseline="0" noProof="0" smtClean="0">
                <a:ln>
                  <a:noFill/>
                </a:ln>
                <a:solidFill>
                  <a:srgbClr val="505050"/>
                </a:solidFill>
                <a:effectLst/>
                <a:uLnTx/>
                <a:uFillTx/>
                <a:latin typeface="Segoe UI" panose="020B050204020402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srgbClr val="505050"/>
              </a:solidFill>
              <a:effectLst/>
              <a:uLnTx/>
              <a:uFillTx/>
              <a:latin typeface="Segoe UI" panose="020B0502040204020203" pitchFamily="34" charset="0"/>
              <a:ea typeface="+mn-ea"/>
              <a:cs typeface="+mn-cs"/>
            </a:endParaRPr>
          </a:p>
        </p:txBody>
      </p:sp>
    </p:spTree>
    <p:extLst>
      <p:ext uri="{BB962C8B-B14F-4D97-AF65-F5344CB8AC3E}">
        <p14:creationId xmlns:p14="http://schemas.microsoft.com/office/powerpoint/2010/main" val="1278149093"/>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85800" y="1724695"/>
            <a:ext cx="7772400" cy="757907"/>
          </a:xfrm>
        </p:spPr>
        <p:txBody>
          <a:bodyPr/>
          <a:lstStyle>
            <a:lvl1pPr>
              <a:defRPr/>
            </a:lvl1pPr>
          </a:lstStyle>
          <a:p>
            <a:r>
              <a:rPr lang="en-US" dirty="0"/>
              <a:t>Name of Presentation</a:t>
            </a:r>
          </a:p>
        </p:txBody>
      </p:sp>
      <p:sp>
        <p:nvSpPr>
          <p:cNvPr id="3" name="Subtitle 2"/>
          <p:cNvSpPr>
            <a:spLocks noGrp="1"/>
          </p:cNvSpPr>
          <p:nvPr>
            <p:ph type="subTitle" idx="1" hasCustomPrompt="1"/>
          </p:nvPr>
        </p:nvSpPr>
        <p:spPr>
          <a:xfrm>
            <a:off x="1371600" y="2266578"/>
            <a:ext cx="6400800" cy="593204"/>
          </a:xfrm>
        </p:spPr>
        <p:txBody>
          <a:bodyPr/>
          <a:lstStyle>
            <a:lvl1pPr marL="0" indent="0" algn="ctr">
              <a:buNone/>
              <a:defRPr>
                <a:solidFill>
                  <a:srgbClr val="6C635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ompany Name</a:t>
            </a:r>
          </a:p>
        </p:txBody>
      </p:sp>
      <p:sp>
        <p:nvSpPr>
          <p:cNvPr id="4" name="Date Placeholder 3"/>
          <p:cNvSpPr>
            <a:spLocks noGrp="1"/>
          </p:cNvSpPr>
          <p:nvPr>
            <p:ph type="dt" sz="half" idx="10"/>
          </p:nvPr>
        </p:nvSpPr>
        <p:spPr/>
        <p:txBody>
          <a:bodyPr/>
          <a:lstStyle/>
          <a:p>
            <a:fld id="{7CFB140E-27DC-47B4-879E-4EC491F89627}" type="datetimeFigureOut">
              <a:rPr lang="en-US" smtClean="0"/>
              <a:t>4/2/20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37A9957-6C64-44D4-B360-CF457B51FDFA}" type="slidenum">
              <a:rPr lang="en-US" smtClean="0"/>
              <a:t>‹#›</a:t>
            </a:fld>
            <a:endParaRPr lang="en-US"/>
          </a:p>
        </p:txBody>
      </p:sp>
    </p:spTree>
    <p:extLst>
      <p:ext uri="{BB962C8B-B14F-4D97-AF65-F5344CB8AC3E}">
        <p14:creationId xmlns:p14="http://schemas.microsoft.com/office/powerpoint/2010/main" val="374495398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1_Title and Conten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Tit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7CFB140E-27DC-47B4-879E-4EC491F89627}" type="datetimeFigureOut">
              <a:rPr lang="en-US" smtClean="0"/>
              <a:t>4/2/20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37A9957-6C64-44D4-B360-CF457B51FDFA}" type="slidenum">
              <a:rPr lang="en-US" smtClean="0"/>
              <a:t>‹#›</a:t>
            </a:fld>
            <a:endParaRPr lang="en-US"/>
          </a:p>
        </p:txBody>
      </p:sp>
    </p:spTree>
    <p:extLst>
      <p:ext uri="{BB962C8B-B14F-4D97-AF65-F5344CB8AC3E}">
        <p14:creationId xmlns:p14="http://schemas.microsoft.com/office/powerpoint/2010/main" val="92839764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itle and Conten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Tit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7CFB140E-27DC-47B4-879E-4EC491F89627}" type="datetimeFigureOut">
              <a:rPr lang="en-US" smtClean="0"/>
              <a:t>4/2/20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37A9957-6C64-44D4-B360-CF457B51FDFA}" type="slidenum">
              <a:rPr lang="en-US" smtClean="0"/>
              <a:t>‹#›</a:t>
            </a:fld>
            <a:endParaRPr lang="en-US"/>
          </a:p>
        </p:txBody>
      </p:sp>
    </p:spTree>
    <p:extLst>
      <p:ext uri="{BB962C8B-B14F-4D97-AF65-F5344CB8AC3E}">
        <p14:creationId xmlns:p14="http://schemas.microsoft.com/office/powerpoint/2010/main" val="277032531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fr-CA" dirty="0" err="1"/>
              <a:t>Title</a:t>
            </a:r>
            <a:endParaRPr lang="en-US" dirty="0"/>
          </a:p>
        </p:txBody>
      </p:sp>
      <p:sp>
        <p:nvSpPr>
          <p:cNvPr id="3" name="Content Placeholder 2"/>
          <p:cNvSpPr>
            <a:spLocks noGrp="1"/>
          </p:cNvSpPr>
          <p:nvPr>
            <p:ph sz="half" idx="1"/>
          </p:nvPr>
        </p:nvSpPr>
        <p:spPr>
          <a:xfrm>
            <a:off x="457200" y="1275606"/>
            <a:ext cx="4038600" cy="2545556"/>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275606"/>
            <a:ext cx="4038600" cy="2545556"/>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7CFB140E-27DC-47B4-879E-4EC491F89627}" type="datetimeFigureOut">
              <a:rPr lang="en-US" smtClean="0"/>
              <a:t>4/2/2020</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437A9957-6C64-44D4-B360-CF457B51FDFA}" type="slidenum">
              <a:rPr lang="en-US" smtClean="0"/>
              <a:t>‹#›</a:t>
            </a:fld>
            <a:endParaRPr lang="en-US"/>
          </a:p>
        </p:txBody>
      </p:sp>
    </p:spTree>
    <p:extLst>
      <p:ext uri="{BB962C8B-B14F-4D97-AF65-F5344CB8AC3E}">
        <p14:creationId xmlns:p14="http://schemas.microsoft.com/office/powerpoint/2010/main" val="238305030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2_Custom Layout">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Click to edit Master title style</a:t>
            </a:r>
          </a:p>
        </p:txBody>
      </p:sp>
      <p:pic>
        <p:nvPicPr>
          <p:cNvPr id="4" name="Picture 3"/>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4424416"/>
            <a:ext cx="2324100" cy="719084"/>
          </a:xfrm>
          <a:prstGeom prst="rect">
            <a:avLst/>
          </a:prstGeom>
        </p:spPr>
      </p:pic>
    </p:spTree>
    <p:extLst>
      <p:ext uri="{BB962C8B-B14F-4D97-AF65-F5344CB8AC3E}">
        <p14:creationId xmlns:p14="http://schemas.microsoft.com/office/powerpoint/2010/main" val="1950379889"/>
      </p:ext>
    </p:extLst>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spd="slow">
        <p:fade/>
      </p:transition>
    </mc:Fallback>
  </mc:AlternateContent>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05979"/>
            <a:ext cx="8229600" cy="85725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457200" y="1200151"/>
            <a:ext cx="8229600" cy="3394472"/>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457200" y="4767263"/>
            <a:ext cx="2133600" cy="273844"/>
          </a:xfrm>
          <a:prstGeom prst="rect">
            <a:avLst/>
          </a:prstGeom>
        </p:spPr>
        <p:txBody>
          <a:bodyPr vert="horz" lIns="91440" tIns="45720" rIns="91440" bIns="45720" rtlCol="0" anchor="ctr"/>
          <a:lstStyle>
            <a:lvl1pPr algn="l">
              <a:defRPr sz="1200">
                <a:solidFill>
                  <a:srgbClr val="6C6352"/>
                </a:solidFill>
              </a:defRPr>
            </a:lvl1pPr>
          </a:lstStyle>
          <a:p>
            <a:fld id="{7CFB140E-27DC-47B4-879E-4EC491F89627}" type="datetimeFigureOut">
              <a:rPr lang="en-US" smtClean="0"/>
              <a:pPr/>
              <a:t>4/2/2020</a:t>
            </a:fld>
            <a:endParaRPr lang="en-US"/>
          </a:p>
        </p:txBody>
      </p:sp>
      <p:sp>
        <p:nvSpPr>
          <p:cNvPr id="5" name="Footer Placeholder 4"/>
          <p:cNvSpPr>
            <a:spLocks noGrp="1"/>
          </p:cNvSpPr>
          <p:nvPr>
            <p:ph type="ftr" sz="quarter" idx="3"/>
          </p:nvPr>
        </p:nvSpPr>
        <p:spPr>
          <a:xfrm>
            <a:off x="3124200" y="4767263"/>
            <a:ext cx="2895600" cy="273844"/>
          </a:xfrm>
          <a:prstGeom prst="rect">
            <a:avLst/>
          </a:prstGeom>
        </p:spPr>
        <p:txBody>
          <a:bodyPr vert="horz" lIns="91440" tIns="45720" rIns="91440" bIns="45720" rtlCol="0" anchor="ctr"/>
          <a:lstStyle>
            <a:lvl1pPr algn="ctr">
              <a:defRPr sz="1200">
                <a:solidFill>
                  <a:srgbClr val="6C6352"/>
                </a:solidFill>
              </a:defRPr>
            </a:lvl1pPr>
          </a:lstStyle>
          <a:p>
            <a:endParaRPr lang="en-US"/>
          </a:p>
        </p:txBody>
      </p:sp>
      <p:sp>
        <p:nvSpPr>
          <p:cNvPr id="6" name="Slide Number Placeholder 5"/>
          <p:cNvSpPr>
            <a:spLocks noGrp="1"/>
          </p:cNvSpPr>
          <p:nvPr>
            <p:ph type="sldNum" sz="quarter" idx="4"/>
          </p:nvPr>
        </p:nvSpPr>
        <p:spPr>
          <a:xfrm>
            <a:off x="6553200" y="4767263"/>
            <a:ext cx="2133600" cy="273844"/>
          </a:xfrm>
          <a:prstGeom prst="rect">
            <a:avLst/>
          </a:prstGeom>
        </p:spPr>
        <p:txBody>
          <a:bodyPr vert="horz" lIns="91440" tIns="45720" rIns="91440" bIns="45720" rtlCol="0" anchor="ctr"/>
          <a:lstStyle>
            <a:lvl1pPr algn="r">
              <a:defRPr sz="1200">
                <a:solidFill>
                  <a:srgbClr val="6C6352"/>
                </a:solidFill>
              </a:defRPr>
            </a:lvl1pPr>
          </a:lstStyle>
          <a:p>
            <a:fld id="{437A9957-6C64-44D4-B360-CF457B51FDFA}" type="slidenum">
              <a:rPr lang="en-US" smtClean="0"/>
              <a:pPr/>
              <a:t>‹#›</a:t>
            </a:fld>
            <a:endParaRPr lang="en-US"/>
          </a:p>
        </p:txBody>
      </p:sp>
    </p:spTree>
    <p:extLst>
      <p:ext uri="{BB962C8B-B14F-4D97-AF65-F5344CB8AC3E}">
        <p14:creationId xmlns:p14="http://schemas.microsoft.com/office/powerpoint/2010/main" val="2347555309"/>
      </p:ext>
    </p:extLst>
  </p:cSld>
  <p:clrMap bg1="lt1" tx1="dk1" bg2="lt2" tx2="dk2" accent1="accent1" accent2="accent2" accent3="accent3" accent4="accent4" accent5="accent5" accent6="accent6" hlink="hlink" folHlink="folHlink"/>
  <p:sldLayoutIdLst>
    <p:sldLayoutId id="2147483649" r:id="rId1"/>
    <p:sldLayoutId id="2147483660" r:id="rId2"/>
    <p:sldLayoutId id="2147483650" r:id="rId3"/>
    <p:sldLayoutId id="2147483652" r:id="rId4"/>
    <p:sldLayoutId id="2147483662" r:id="rId5"/>
  </p:sldLayoutIdLst>
  <p:txStyles>
    <p:titleStyle>
      <a:lvl1pPr algn="ctr" defTabSz="914400" rtl="0" eaLnBrk="1" latinLnBrk="0" hangingPunct="1">
        <a:spcBef>
          <a:spcPct val="0"/>
        </a:spcBef>
        <a:buNone/>
        <a:defRPr sz="4400" kern="1200">
          <a:solidFill>
            <a:srgbClr val="6C6352"/>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rgbClr val="6C6352"/>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rgbClr val="6C6352"/>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rgbClr val="6C6352"/>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rgbClr val="6C6352"/>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rgbClr val="6C635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diagramLayout" Target="../diagrams/layout7.xml"/><Relationship Id="rId2" Type="http://schemas.openxmlformats.org/officeDocument/2006/relationships/diagramData" Target="../diagrams/data7.xml"/><Relationship Id="rId1" Type="http://schemas.openxmlformats.org/officeDocument/2006/relationships/slideLayout" Target="../slideLayouts/slideLayout2.xml"/><Relationship Id="rId6" Type="http://schemas.microsoft.com/office/2007/relationships/diagramDrawing" Target="../diagrams/drawing7.xml"/><Relationship Id="rId5" Type="http://schemas.openxmlformats.org/officeDocument/2006/relationships/diagramColors" Target="../diagrams/colors7.xml"/><Relationship Id="rId4" Type="http://schemas.openxmlformats.org/officeDocument/2006/relationships/diagramQuickStyle" Target="../diagrams/quickStyle7.xml"/></Relationships>
</file>

<file path=ppt/slides/_rels/slide11.xml.rels><?xml version="1.0" encoding="UTF-8" standalone="yes"?>
<Relationships xmlns="http://schemas.openxmlformats.org/package/2006/relationships"><Relationship Id="rId3" Type="http://schemas.openxmlformats.org/officeDocument/2006/relationships/diagramLayout" Target="../diagrams/layout8.xml"/><Relationship Id="rId2" Type="http://schemas.openxmlformats.org/officeDocument/2006/relationships/diagramData" Target="../diagrams/data8.xml"/><Relationship Id="rId1" Type="http://schemas.openxmlformats.org/officeDocument/2006/relationships/slideLayout" Target="../slideLayouts/slideLayout2.xml"/><Relationship Id="rId6" Type="http://schemas.microsoft.com/office/2007/relationships/diagramDrawing" Target="../diagrams/drawing8.xml"/><Relationship Id="rId5" Type="http://schemas.openxmlformats.org/officeDocument/2006/relationships/diagramColors" Target="../diagrams/colors8.xml"/><Relationship Id="rId4" Type="http://schemas.openxmlformats.org/officeDocument/2006/relationships/diagramQuickStyle" Target="../diagrams/quickStyle8.xml"/></Relationships>
</file>

<file path=ppt/slides/_rels/slide12.xml.rels><?xml version="1.0" encoding="UTF-8" standalone="yes"?>
<Relationships xmlns="http://schemas.openxmlformats.org/package/2006/relationships"><Relationship Id="rId3" Type="http://schemas.openxmlformats.org/officeDocument/2006/relationships/diagramLayout" Target="../diagrams/layout9.xml"/><Relationship Id="rId2" Type="http://schemas.openxmlformats.org/officeDocument/2006/relationships/diagramData" Target="../diagrams/data9.xml"/><Relationship Id="rId1" Type="http://schemas.openxmlformats.org/officeDocument/2006/relationships/slideLayout" Target="../slideLayouts/slideLayout2.xml"/><Relationship Id="rId6" Type="http://schemas.microsoft.com/office/2007/relationships/diagramDrawing" Target="../diagrams/drawing9.xml"/><Relationship Id="rId5" Type="http://schemas.openxmlformats.org/officeDocument/2006/relationships/diagramColors" Target="../diagrams/colors9.xml"/><Relationship Id="rId4" Type="http://schemas.openxmlformats.org/officeDocument/2006/relationships/diagramQuickStyle" Target="../diagrams/quickStyle9.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4.xml.rels><?xml version="1.0" encoding="UTF-8" standalone="yes"?>
<Relationships xmlns="http://schemas.openxmlformats.org/package/2006/relationships"><Relationship Id="rId2" Type="http://schemas.openxmlformats.org/officeDocument/2006/relationships/image" Target="../media/image64.jp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image" Target="../media/image65.jpg"/><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diagramLayout" Target="../diagrams/layout10.xml"/><Relationship Id="rId2" Type="http://schemas.openxmlformats.org/officeDocument/2006/relationships/diagramData" Target="../diagrams/data10.xml"/><Relationship Id="rId1" Type="http://schemas.openxmlformats.org/officeDocument/2006/relationships/slideLayout" Target="../slideLayouts/slideLayout2.xml"/><Relationship Id="rId6" Type="http://schemas.microsoft.com/office/2007/relationships/diagramDrawing" Target="../diagrams/drawing10.xml"/><Relationship Id="rId5" Type="http://schemas.openxmlformats.org/officeDocument/2006/relationships/diagramColors" Target="../diagrams/colors10.xml"/><Relationship Id="rId4" Type="http://schemas.openxmlformats.org/officeDocument/2006/relationships/diagramQuickStyle" Target="../diagrams/quickStyle10.xml"/></Relationships>
</file>

<file path=ppt/slides/_rels/slide17.xml.rels><?xml version="1.0" encoding="UTF-8" standalone="yes"?>
<Relationships xmlns="http://schemas.openxmlformats.org/package/2006/relationships"><Relationship Id="rId3" Type="http://schemas.openxmlformats.org/officeDocument/2006/relationships/diagramLayout" Target="../diagrams/layout11.xml"/><Relationship Id="rId2" Type="http://schemas.openxmlformats.org/officeDocument/2006/relationships/diagramData" Target="../diagrams/data11.xml"/><Relationship Id="rId1" Type="http://schemas.openxmlformats.org/officeDocument/2006/relationships/slideLayout" Target="../slideLayouts/slideLayout2.xml"/><Relationship Id="rId6" Type="http://schemas.microsoft.com/office/2007/relationships/diagramDrawing" Target="../diagrams/drawing11.xml"/><Relationship Id="rId5" Type="http://schemas.openxmlformats.org/officeDocument/2006/relationships/diagramColors" Target="../diagrams/colors11.xml"/><Relationship Id="rId4" Type="http://schemas.openxmlformats.org/officeDocument/2006/relationships/diagramQuickStyle" Target="../diagrams/quickStyle11.xml"/></Relationships>
</file>

<file path=ppt/slides/_rels/slide18.xml.rels><?xml version="1.0" encoding="UTF-8" standalone="yes"?>
<Relationships xmlns="http://schemas.openxmlformats.org/package/2006/relationships"><Relationship Id="rId3" Type="http://schemas.openxmlformats.org/officeDocument/2006/relationships/diagramLayout" Target="../diagrams/layout12.xml"/><Relationship Id="rId2" Type="http://schemas.openxmlformats.org/officeDocument/2006/relationships/diagramData" Target="../diagrams/data12.xml"/><Relationship Id="rId1" Type="http://schemas.openxmlformats.org/officeDocument/2006/relationships/slideLayout" Target="../slideLayouts/slideLayout2.xml"/><Relationship Id="rId6" Type="http://schemas.microsoft.com/office/2007/relationships/diagramDrawing" Target="../diagrams/drawing12.xml"/><Relationship Id="rId5" Type="http://schemas.openxmlformats.org/officeDocument/2006/relationships/diagramColors" Target="../diagrams/colors12.xml"/><Relationship Id="rId4" Type="http://schemas.openxmlformats.org/officeDocument/2006/relationships/diagramQuickStyle" Target="../diagrams/quickStyle12.xml"/></Relationships>
</file>

<file path=ppt/slides/_rels/slide19.xml.rels><?xml version="1.0" encoding="UTF-8" standalone="yes"?>
<Relationships xmlns="http://schemas.openxmlformats.org/package/2006/relationships"><Relationship Id="rId2" Type="http://schemas.openxmlformats.org/officeDocument/2006/relationships/image" Target="../media/image90.png"/><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8" Type="http://schemas.microsoft.com/office/2007/relationships/diagramDrawing" Target="../diagrams/drawing1.xml"/><Relationship Id="rId3" Type="http://schemas.openxmlformats.org/officeDocument/2006/relationships/image" Target="../media/image6.png"/><Relationship Id="rId7" Type="http://schemas.openxmlformats.org/officeDocument/2006/relationships/diagramColors" Target="../diagrams/colors1.xml"/><Relationship Id="rId2" Type="http://schemas.openxmlformats.org/officeDocument/2006/relationships/notesSlide" Target="../notesSlides/notesSlide2.xml"/><Relationship Id="rId1" Type="http://schemas.openxmlformats.org/officeDocument/2006/relationships/slideLayout" Target="../slideLayouts/slideLayout2.xml"/><Relationship Id="rId6" Type="http://schemas.openxmlformats.org/officeDocument/2006/relationships/diagramQuickStyle" Target="../diagrams/quickStyle1.xml"/><Relationship Id="rId5" Type="http://schemas.openxmlformats.org/officeDocument/2006/relationships/diagramLayout" Target="../diagrams/layout1.xml"/><Relationship Id="rId4" Type="http://schemas.openxmlformats.org/officeDocument/2006/relationships/diagramData" Target="../diagrams/data1.xml"/><Relationship Id="rId9" Type="http://schemas.openxmlformats.org/officeDocument/2006/relationships/image" Target="../media/image7.png"/></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1.xml.rels><?xml version="1.0" encoding="UTF-8" standalone="yes"?>
<Relationships xmlns="http://schemas.openxmlformats.org/package/2006/relationships"><Relationship Id="rId3" Type="http://schemas.openxmlformats.org/officeDocument/2006/relationships/diagramLayout" Target="../diagrams/layout13.xml"/><Relationship Id="rId2" Type="http://schemas.openxmlformats.org/officeDocument/2006/relationships/diagramData" Target="../diagrams/data13.xml"/><Relationship Id="rId1" Type="http://schemas.openxmlformats.org/officeDocument/2006/relationships/slideLayout" Target="../slideLayouts/slideLayout2.xml"/><Relationship Id="rId6" Type="http://schemas.microsoft.com/office/2007/relationships/diagramDrawing" Target="../diagrams/drawing13.xml"/><Relationship Id="rId5" Type="http://schemas.openxmlformats.org/officeDocument/2006/relationships/diagramColors" Target="../diagrams/colors13.xml"/><Relationship Id="rId4" Type="http://schemas.openxmlformats.org/officeDocument/2006/relationships/diagramQuickStyle" Target="../diagrams/quickStyle13.xml"/></Relationships>
</file>

<file path=ppt/slides/_rels/slide22.xml.rels><?xml version="1.0" encoding="UTF-8" standalone="yes"?>
<Relationships xmlns="http://schemas.openxmlformats.org/package/2006/relationships"><Relationship Id="rId3" Type="http://schemas.openxmlformats.org/officeDocument/2006/relationships/diagramLayout" Target="../diagrams/layout14.xml"/><Relationship Id="rId2" Type="http://schemas.openxmlformats.org/officeDocument/2006/relationships/diagramData" Target="../diagrams/data14.xml"/><Relationship Id="rId1" Type="http://schemas.openxmlformats.org/officeDocument/2006/relationships/slideLayout" Target="../slideLayouts/slideLayout2.xml"/><Relationship Id="rId6" Type="http://schemas.microsoft.com/office/2007/relationships/diagramDrawing" Target="../diagrams/drawing14.xml"/><Relationship Id="rId5" Type="http://schemas.openxmlformats.org/officeDocument/2006/relationships/diagramColors" Target="../diagrams/colors14.xml"/><Relationship Id="rId4" Type="http://schemas.openxmlformats.org/officeDocument/2006/relationships/diagramQuickStyle" Target="../diagrams/quickStyle14.xml"/></Relationships>
</file>

<file path=ppt/slides/_rels/slide23.xml.rels><?xml version="1.0" encoding="UTF-8" standalone="yes"?>
<Relationships xmlns="http://schemas.openxmlformats.org/package/2006/relationships"><Relationship Id="rId3" Type="http://schemas.openxmlformats.org/officeDocument/2006/relationships/image" Target="../media/image98.png"/><Relationship Id="rId2" Type="http://schemas.openxmlformats.org/officeDocument/2006/relationships/image" Target="../media/image97.png"/><Relationship Id="rId1" Type="http://schemas.openxmlformats.org/officeDocument/2006/relationships/slideLayout" Target="../slideLayouts/slideLayout2.xml"/><Relationship Id="rId4" Type="http://schemas.openxmlformats.org/officeDocument/2006/relationships/image" Target="../media/image99.png"/></Relationships>
</file>

<file path=ppt/slides/_rels/slide24.xml.rels><?xml version="1.0" encoding="UTF-8" standalone="yes"?>
<Relationships xmlns="http://schemas.openxmlformats.org/package/2006/relationships"><Relationship Id="rId8" Type="http://schemas.openxmlformats.org/officeDocument/2006/relationships/image" Target="../media/image105.png"/><Relationship Id="rId13" Type="http://schemas.openxmlformats.org/officeDocument/2006/relationships/image" Target="../media/image110.png"/><Relationship Id="rId3" Type="http://schemas.openxmlformats.org/officeDocument/2006/relationships/image" Target="../media/image100.png"/><Relationship Id="rId7" Type="http://schemas.openxmlformats.org/officeDocument/2006/relationships/image" Target="../media/image104.png"/><Relationship Id="rId12" Type="http://schemas.openxmlformats.org/officeDocument/2006/relationships/image" Target="../media/image109.png"/><Relationship Id="rId2" Type="http://schemas.openxmlformats.org/officeDocument/2006/relationships/notesSlide" Target="../notesSlides/notesSlide3.xml"/><Relationship Id="rId16" Type="http://schemas.openxmlformats.org/officeDocument/2006/relationships/image" Target="../media/image112.png"/><Relationship Id="rId1" Type="http://schemas.openxmlformats.org/officeDocument/2006/relationships/slideLayout" Target="../slideLayouts/slideLayout5.xml"/><Relationship Id="rId6" Type="http://schemas.openxmlformats.org/officeDocument/2006/relationships/image" Target="../media/image103.png"/><Relationship Id="rId11" Type="http://schemas.openxmlformats.org/officeDocument/2006/relationships/image" Target="../media/image108.png"/><Relationship Id="rId5" Type="http://schemas.openxmlformats.org/officeDocument/2006/relationships/image" Target="../media/image102.emf"/><Relationship Id="rId15" Type="http://schemas.microsoft.com/office/2007/relationships/hdphoto" Target="../media/hdphoto1.wdp"/><Relationship Id="rId10" Type="http://schemas.openxmlformats.org/officeDocument/2006/relationships/image" Target="../media/image107.png"/><Relationship Id="rId4" Type="http://schemas.openxmlformats.org/officeDocument/2006/relationships/image" Target="../media/image101.png"/><Relationship Id="rId9" Type="http://schemas.openxmlformats.org/officeDocument/2006/relationships/image" Target="../media/image106.png"/><Relationship Id="rId14" Type="http://schemas.openxmlformats.org/officeDocument/2006/relationships/image" Target="../media/image111.png"/></Relationships>
</file>

<file path=ppt/slides/_rels/slide25.xml.rels><?xml version="1.0" encoding="UTF-8" standalone="yes"?>
<Relationships xmlns="http://schemas.openxmlformats.org/package/2006/relationships"><Relationship Id="rId3" Type="http://schemas.openxmlformats.org/officeDocument/2006/relationships/image" Target="../media/image113.png"/><Relationship Id="rId2" Type="http://schemas.openxmlformats.org/officeDocument/2006/relationships/notesSlide" Target="../notesSlides/notesSlide4.xml"/><Relationship Id="rId1" Type="http://schemas.openxmlformats.org/officeDocument/2006/relationships/slideLayout" Target="../slideLayouts/slideLayout5.xml"/><Relationship Id="rId5" Type="http://schemas.openxmlformats.org/officeDocument/2006/relationships/image" Target="../media/image115.png"/><Relationship Id="rId4" Type="http://schemas.openxmlformats.org/officeDocument/2006/relationships/image" Target="../media/image114.svg"/></Relationships>
</file>

<file path=ppt/slides/_rels/slide26.xml.rels><?xml version="1.0" encoding="UTF-8" standalone="yes"?>
<Relationships xmlns="http://schemas.openxmlformats.org/package/2006/relationships"><Relationship Id="rId8" Type="http://schemas.openxmlformats.org/officeDocument/2006/relationships/image" Target="../media/image118.png"/><Relationship Id="rId13" Type="http://schemas.openxmlformats.org/officeDocument/2006/relationships/image" Target="../media/image123.png"/><Relationship Id="rId18" Type="http://schemas.microsoft.com/office/2007/relationships/hdphoto" Target="../media/hdphoto3.wdp"/><Relationship Id="rId26" Type="http://schemas.openxmlformats.org/officeDocument/2006/relationships/image" Target="../media/image130.jpeg"/><Relationship Id="rId3" Type="http://schemas.openxmlformats.org/officeDocument/2006/relationships/slideLayout" Target="../slideLayouts/slideLayout5.xml"/><Relationship Id="rId21" Type="http://schemas.openxmlformats.org/officeDocument/2006/relationships/image" Target="../media/image128.png"/><Relationship Id="rId7" Type="http://schemas.openxmlformats.org/officeDocument/2006/relationships/image" Target="../media/image117.png"/><Relationship Id="rId12" Type="http://schemas.openxmlformats.org/officeDocument/2006/relationships/image" Target="../media/image122.png"/><Relationship Id="rId17" Type="http://schemas.openxmlformats.org/officeDocument/2006/relationships/image" Target="../media/image126.png"/><Relationship Id="rId25" Type="http://schemas.openxmlformats.org/officeDocument/2006/relationships/image" Target="../media/image112.png"/><Relationship Id="rId2" Type="http://schemas.openxmlformats.org/officeDocument/2006/relationships/tags" Target="../tags/tag1.xml"/><Relationship Id="rId16" Type="http://schemas.openxmlformats.org/officeDocument/2006/relationships/image" Target="../media/image125.png"/><Relationship Id="rId20" Type="http://schemas.microsoft.com/office/2007/relationships/hdphoto" Target="../media/hdphoto4.wdp"/><Relationship Id="rId1" Type="http://schemas.openxmlformats.org/officeDocument/2006/relationships/vmlDrawing" Target="../drawings/vmlDrawing1.vml"/><Relationship Id="rId6" Type="http://schemas.openxmlformats.org/officeDocument/2006/relationships/image" Target="../media/image116.emf"/><Relationship Id="rId11" Type="http://schemas.openxmlformats.org/officeDocument/2006/relationships/image" Target="../media/image121.png"/><Relationship Id="rId24" Type="http://schemas.microsoft.com/office/2007/relationships/hdphoto" Target="../media/hdphoto6.wdp"/><Relationship Id="rId5" Type="http://schemas.openxmlformats.org/officeDocument/2006/relationships/oleObject" Target="../embeddings/oleObject1.bin"/><Relationship Id="rId15" Type="http://schemas.openxmlformats.org/officeDocument/2006/relationships/image" Target="../media/image124.png"/><Relationship Id="rId23" Type="http://schemas.openxmlformats.org/officeDocument/2006/relationships/image" Target="../media/image129.png"/><Relationship Id="rId10" Type="http://schemas.openxmlformats.org/officeDocument/2006/relationships/image" Target="../media/image120.png"/><Relationship Id="rId19" Type="http://schemas.openxmlformats.org/officeDocument/2006/relationships/image" Target="../media/image127.png"/><Relationship Id="rId4" Type="http://schemas.openxmlformats.org/officeDocument/2006/relationships/notesSlide" Target="../notesSlides/notesSlide5.xml"/><Relationship Id="rId9" Type="http://schemas.openxmlformats.org/officeDocument/2006/relationships/image" Target="../media/image119.png"/><Relationship Id="rId14" Type="http://schemas.microsoft.com/office/2007/relationships/hdphoto" Target="../media/hdphoto2.wdp"/><Relationship Id="rId22" Type="http://schemas.microsoft.com/office/2007/relationships/hdphoto" Target="../media/hdphoto5.wdp"/></Relationships>
</file>

<file path=ppt/slides/_rels/slide27.xml.rels><?xml version="1.0" encoding="UTF-8" standalone="yes"?>
<Relationships xmlns="http://schemas.openxmlformats.org/package/2006/relationships"><Relationship Id="rId2" Type="http://schemas.openxmlformats.org/officeDocument/2006/relationships/image" Target="../media/image131.jpeg"/><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2" Type="http://schemas.openxmlformats.org/officeDocument/2006/relationships/image" Target="../media/image132.png"/><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2" Type="http://schemas.openxmlformats.org/officeDocument/2006/relationships/image" Target="../media/image133.png"/><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2.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30.xml.rels><?xml version="1.0" encoding="UTF-8" standalone="yes"?>
<Relationships xmlns="http://schemas.openxmlformats.org/package/2006/relationships"><Relationship Id="rId2" Type="http://schemas.openxmlformats.org/officeDocument/2006/relationships/image" Target="../media/image134.jpg"/><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3" Type="http://schemas.openxmlformats.org/officeDocument/2006/relationships/diagramLayout" Target="../diagrams/layout15.xml"/><Relationship Id="rId2" Type="http://schemas.openxmlformats.org/officeDocument/2006/relationships/diagramData" Target="../diagrams/data15.xml"/><Relationship Id="rId1" Type="http://schemas.openxmlformats.org/officeDocument/2006/relationships/slideLayout" Target="../slideLayouts/slideLayout2.xml"/><Relationship Id="rId6" Type="http://schemas.microsoft.com/office/2007/relationships/diagramDrawing" Target="../diagrams/drawing15.xml"/><Relationship Id="rId5" Type="http://schemas.openxmlformats.org/officeDocument/2006/relationships/diagramColors" Target="../diagrams/colors15.xml"/><Relationship Id="rId4" Type="http://schemas.openxmlformats.org/officeDocument/2006/relationships/diagramQuickStyle" Target="../diagrams/quickStyle15.xml"/></Relationships>
</file>

<file path=ppt/slides/_rels/slide32.xml.rels><?xml version="1.0" encoding="UTF-8" standalone="yes"?>
<Relationships xmlns="http://schemas.openxmlformats.org/package/2006/relationships"><Relationship Id="rId3" Type="http://schemas.openxmlformats.org/officeDocument/2006/relationships/diagramLayout" Target="../diagrams/layout16.xml"/><Relationship Id="rId2" Type="http://schemas.openxmlformats.org/officeDocument/2006/relationships/diagramData" Target="../diagrams/data16.xml"/><Relationship Id="rId1" Type="http://schemas.openxmlformats.org/officeDocument/2006/relationships/slideLayout" Target="../slideLayouts/slideLayout2.xml"/><Relationship Id="rId6" Type="http://schemas.microsoft.com/office/2007/relationships/diagramDrawing" Target="../diagrams/drawing16.xml"/><Relationship Id="rId5" Type="http://schemas.openxmlformats.org/officeDocument/2006/relationships/diagramColors" Target="../diagrams/colors16.xml"/><Relationship Id="rId4" Type="http://schemas.openxmlformats.org/officeDocument/2006/relationships/diagramQuickStyle" Target="../diagrams/quickStyle16.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4.xml.rels><?xml version="1.0" encoding="UTF-8" standalone="yes"?>
<Relationships xmlns="http://schemas.openxmlformats.org/package/2006/relationships"><Relationship Id="rId2" Type="http://schemas.openxmlformats.org/officeDocument/2006/relationships/image" Target="../media/image149.png"/><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2" Type="http://schemas.openxmlformats.org/officeDocument/2006/relationships/image" Target="../media/image150.png"/><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2" Type="http://schemas.openxmlformats.org/officeDocument/2006/relationships/image" Target="../media/image151.png"/><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2" Type="http://schemas.openxmlformats.org/officeDocument/2006/relationships/image" Target="../media/image152.png"/><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2" Type="http://schemas.openxmlformats.org/officeDocument/2006/relationships/image" Target="../media/image153.png"/><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3" Type="http://schemas.openxmlformats.org/officeDocument/2006/relationships/diagramLayout" Target="../diagrams/layout17.xml"/><Relationship Id="rId2" Type="http://schemas.openxmlformats.org/officeDocument/2006/relationships/diagramData" Target="../diagrams/data17.xml"/><Relationship Id="rId1" Type="http://schemas.openxmlformats.org/officeDocument/2006/relationships/slideLayout" Target="../slideLayouts/slideLayout2.xml"/><Relationship Id="rId6" Type="http://schemas.microsoft.com/office/2007/relationships/diagramDrawing" Target="../diagrams/drawing17.xml"/><Relationship Id="rId5" Type="http://schemas.openxmlformats.org/officeDocument/2006/relationships/diagramColors" Target="../diagrams/colors17.xml"/><Relationship Id="rId4" Type="http://schemas.openxmlformats.org/officeDocument/2006/relationships/diagramQuickStyle" Target="../diagrams/quickStyle17.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0.xml.rels><?xml version="1.0" encoding="UTF-8" standalone="yes"?>
<Relationships xmlns="http://schemas.openxmlformats.org/package/2006/relationships"><Relationship Id="rId3" Type="http://schemas.openxmlformats.org/officeDocument/2006/relationships/diagramLayout" Target="../diagrams/layout18.xml"/><Relationship Id="rId2" Type="http://schemas.openxmlformats.org/officeDocument/2006/relationships/diagramData" Target="../diagrams/data18.xml"/><Relationship Id="rId1" Type="http://schemas.openxmlformats.org/officeDocument/2006/relationships/slideLayout" Target="../slideLayouts/slideLayout2.xml"/><Relationship Id="rId6" Type="http://schemas.microsoft.com/office/2007/relationships/diagramDrawing" Target="../diagrams/drawing18.xml"/><Relationship Id="rId5" Type="http://schemas.openxmlformats.org/officeDocument/2006/relationships/diagramColors" Target="../diagrams/colors18.xml"/><Relationship Id="rId4" Type="http://schemas.openxmlformats.org/officeDocument/2006/relationships/diagramQuickStyle" Target="../diagrams/quickStyle18.xml"/></Relationships>
</file>

<file path=ppt/slides/_rels/slide41.xml.rels><?xml version="1.0" encoding="UTF-8" standalone="yes"?>
<Relationships xmlns="http://schemas.openxmlformats.org/package/2006/relationships"><Relationship Id="rId3" Type="http://schemas.openxmlformats.org/officeDocument/2006/relationships/diagramLayout" Target="../diagrams/layout19.xml"/><Relationship Id="rId2" Type="http://schemas.openxmlformats.org/officeDocument/2006/relationships/diagramData" Target="../diagrams/data19.xml"/><Relationship Id="rId1" Type="http://schemas.openxmlformats.org/officeDocument/2006/relationships/slideLayout" Target="../slideLayouts/slideLayout2.xml"/><Relationship Id="rId6" Type="http://schemas.microsoft.com/office/2007/relationships/diagramDrawing" Target="../diagrams/drawing19.xml"/><Relationship Id="rId5" Type="http://schemas.openxmlformats.org/officeDocument/2006/relationships/diagramColors" Target="../diagrams/colors19.xml"/><Relationship Id="rId4" Type="http://schemas.openxmlformats.org/officeDocument/2006/relationships/diagramQuickStyle" Target="../diagrams/quickStyle19.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3.xml.rels><?xml version="1.0" encoding="UTF-8" standalone="yes"?>
<Relationships xmlns="http://schemas.openxmlformats.org/package/2006/relationships"><Relationship Id="rId2" Type="http://schemas.openxmlformats.org/officeDocument/2006/relationships/image" Target="../media/image182.jpeg"/><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2" Type="http://schemas.openxmlformats.org/officeDocument/2006/relationships/image" Target="../media/image183.jpg"/><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3" Type="http://schemas.openxmlformats.org/officeDocument/2006/relationships/diagramLayout" Target="../diagrams/layout20.xml"/><Relationship Id="rId2" Type="http://schemas.openxmlformats.org/officeDocument/2006/relationships/diagramData" Target="../diagrams/data20.xml"/><Relationship Id="rId1" Type="http://schemas.openxmlformats.org/officeDocument/2006/relationships/slideLayout" Target="../slideLayouts/slideLayout2.xml"/><Relationship Id="rId6" Type="http://schemas.microsoft.com/office/2007/relationships/diagramDrawing" Target="../diagrams/drawing20.xml"/><Relationship Id="rId5" Type="http://schemas.openxmlformats.org/officeDocument/2006/relationships/diagramColors" Target="../diagrams/colors20.xml"/><Relationship Id="rId4" Type="http://schemas.openxmlformats.org/officeDocument/2006/relationships/diagramQuickStyle" Target="../diagrams/quickStyle20.xml"/></Relationships>
</file>

<file path=ppt/slides/_rels/slide46.xml.rels><?xml version="1.0" encoding="UTF-8" standalone="yes"?>
<Relationships xmlns="http://schemas.openxmlformats.org/package/2006/relationships"><Relationship Id="rId3" Type="http://schemas.openxmlformats.org/officeDocument/2006/relationships/diagramLayout" Target="../diagrams/layout21.xml"/><Relationship Id="rId2" Type="http://schemas.openxmlformats.org/officeDocument/2006/relationships/diagramData" Target="../diagrams/data21.xml"/><Relationship Id="rId1" Type="http://schemas.openxmlformats.org/officeDocument/2006/relationships/slideLayout" Target="../slideLayouts/slideLayout2.xml"/><Relationship Id="rId6" Type="http://schemas.microsoft.com/office/2007/relationships/diagramDrawing" Target="../diagrams/drawing21.xml"/><Relationship Id="rId5" Type="http://schemas.openxmlformats.org/officeDocument/2006/relationships/diagramColors" Target="../diagrams/colors21.xml"/><Relationship Id="rId4" Type="http://schemas.openxmlformats.org/officeDocument/2006/relationships/diagramQuickStyle" Target="../diagrams/quickStyle21.xml"/></Relationships>
</file>

<file path=ppt/slides/_rels/slide47.xml.rels><?xml version="1.0" encoding="UTF-8" standalone="yes"?>
<Relationships xmlns="http://schemas.openxmlformats.org/package/2006/relationships"><Relationship Id="rId2" Type="http://schemas.openxmlformats.org/officeDocument/2006/relationships/image" Target="../media/image194.WMF"/><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2" Type="http://schemas.openxmlformats.org/officeDocument/2006/relationships/image" Target="../media/image195.WMF"/><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image" Target="../media/image16.jpg"/><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diagramLayout" Target="../diagrams/layout3.xml"/><Relationship Id="rId2" Type="http://schemas.openxmlformats.org/officeDocument/2006/relationships/diagramData" Target="../diagrams/data3.xml"/><Relationship Id="rId1" Type="http://schemas.openxmlformats.org/officeDocument/2006/relationships/slideLayout" Target="../slideLayouts/slideLayout2.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_rels/slide7.xml.rels><?xml version="1.0" encoding="UTF-8" standalone="yes"?>
<Relationships xmlns="http://schemas.openxmlformats.org/package/2006/relationships"><Relationship Id="rId3" Type="http://schemas.openxmlformats.org/officeDocument/2006/relationships/diagramLayout" Target="../diagrams/layout4.xml"/><Relationship Id="rId2" Type="http://schemas.openxmlformats.org/officeDocument/2006/relationships/diagramData" Target="../diagrams/data4.xml"/><Relationship Id="rId1" Type="http://schemas.openxmlformats.org/officeDocument/2006/relationships/slideLayout" Target="../slideLayouts/slideLayout2.xml"/><Relationship Id="rId6" Type="http://schemas.microsoft.com/office/2007/relationships/diagramDrawing" Target="../diagrams/drawing4.xml"/><Relationship Id="rId5" Type="http://schemas.openxmlformats.org/officeDocument/2006/relationships/diagramColors" Target="../diagrams/colors4.xml"/><Relationship Id="rId4" Type="http://schemas.openxmlformats.org/officeDocument/2006/relationships/diagramQuickStyle" Target="../diagrams/quickStyle4.xml"/></Relationships>
</file>

<file path=ppt/slides/_rels/slide8.xml.rels><?xml version="1.0" encoding="UTF-8" standalone="yes"?>
<Relationships xmlns="http://schemas.openxmlformats.org/package/2006/relationships"><Relationship Id="rId3" Type="http://schemas.openxmlformats.org/officeDocument/2006/relationships/diagramLayout" Target="../diagrams/layout5.xml"/><Relationship Id="rId2" Type="http://schemas.openxmlformats.org/officeDocument/2006/relationships/diagramData" Target="../diagrams/data5.xml"/><Relationship Id="rId1" Type="http://schemas.openxmlformats.org/officeDocument/2006/relationships/slideLayout" Target="../slideLayouts/slideLayout2.xml"/><Relationship Id="rId6" Type="http://schemas.microsoft.com/office/2007/relationships/diagramDrawing" Target="../diagrams/drawing5.xml"/><Relationship Id="rId5" Type="http://schemas.openxmlformats.org/officeDocument/2006/relationships/diagramColors" Target="../diagrams/colors5.xml"/><Relationship Id="rId4" Type="http://schemas.openxmlformats.org/officeDocument/2006/relationships/diagramQuickStyle" Target="../diagrams/quickStyle5.xml"/></Relationships>
</file>

<file path=ppt/slides/_rels/slide9.xml.rels><?xml version="1.0" encoding="UTF-8" standalone="yes"?>
<Relationships xmlns="http://schemas.openxmlformats.org/package/2006/relationships"><Relationship Id="rId3" Type="http://schemas.openxmlformats.org/officeDocument/2006/relationships/diagramLayout" Target="../diagrams/layout6.xml"/><Relationship Id="rId2" Type="http://schemas.openxmlformats.org/officeDocument/2006/relationships/diagramData" Target="../diagrams/data6.xml"/><Relationship Id="rId1" Type="http://schemas.openxmlformats.org/officeDocument/2006/relationships/slideLayout" Target="../slideLayouts/slideLayout2.xml"/><Relationship Id="rId6" Type="http://schemas.microsoft.com/office/2007/relationships/diagramDrawing" Target="../diagrams/drawing6.xml"/><Relationship Id="rId5" Type="http://schemas.openxmlformats.org/officeDocument/2006/relationships/diagramColors" Target="../diagrams/colors6.xml"/><Relationship Id="rId4" Type="http://schemas.openxmlformats.org/officeDocument/2006/relationships/diagramQuickStyle" Target="../diagrams/quickStyle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1651499" y="1234395"/>
            <a:ext cx="7187701" cy="3724840"/>
          </a:xfrm>
        </p:spPr>
        <p:txBody>
          <a:bodyPr anchor="ctr">
            <a:noAutofit/>
          </a:bodyPr>
          <a:lstStyle/>
          <a:p>
            <a:r>
              <a:rPr lang="en-US" sz="8000" b="1" dirty="0">
                <a:latin typeface="+mn-lt"/>
              </a:rPr>
              <a:t>Dynamics 365: Learning what you need</a:t>
            </a:r>
            <a:endParaRPr lang="en-US" sz="8625" b="1" dirty="0">
              <a:latin typeface="+mn-lt"/>
            </a:endParaRPr>
          </a:p>
        </p:txBody>
      </p:sp>
      <p:sp>
        <p:nvSpPr>
          <p:cNvPr id="4" name="TextBox 3"/>
          <p:cNvSpPr txBox="1"/>
          <p:nvPr/>
        </p:nvSpPr>
        <p:spPr>
          <a:xfrm>
            <a:off x="76200" y="57150"/>
            <a:ext cx="8991600" cy="1200329"/>
          </a:xfrm>
          <a:prstGeom prst="rect">
            <a:avLst/>
          </a:prstGeom>
          <a:solidFill>
            <a:srgbClr val="742578"/>
          </a:solidFill>
        </p:spPr>
        <p:txBody>
          <a:bodyPr wrap="square" rtlCol="0">
            <a:spAutoFit/>
          </a:bodyPr>
          <a:lstStyle/>
          <a:p>
            <a:pPr algn="ctr"/>
            <a:r>
              <a:rPr lang="en-US" sz="7200" b="1" dirty="0">
                <a:solidFill>
                  <a:schemeClr val="bg1"/>
                </a:solidFill>
              </a:rPr>
              <a:t>POWER PLATFORM</a:t>
            </a:r>
          </a:p>
        </p:txBody>
      </p:sp>
      <p:pic>
        <p:nvPicPr>
          <p:cNvPr id="6" name="Picture 5">
            <a:extLst>
              <a:ext uri="{FF2B5EF4-FFF2-40B4-BE49-F238E27FC236}">
                <a16:creationId xmlns:a16="http://schemas.microsoft.com/office/drawing/2014/main" id="{05254FC4-4CFD-4C84-A1DB-2436E32288D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59544" y="3930536"/>
            <a:ext cx="1491956" cy="1028700"/>
          </a:xfrm>
          <a:prstGeom prst="rect">
            <a:avLst/>
          </a:prstGeom>
        </p:spPr>
      </p:pic>
    </p:spTree>
    <p:extLst>
      <p:ext uri="{BB962C8B-B14F-4D97-AF65-F5344CB8AC3E}">
        <p14:creationId xmlns:p14="http://schemas.microsoft.com/office/powerpoint/2010/main" val="317740856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6" name="Freeform: Shape 25">
            <a:extLst>
              <a:ext uri="{FF2B5EF4-FFF2-40B4-BE49-F238E27FC236}">
                <a16:creationId xmlns:a16="http://schemas.microsoft.com/office/drawing/2014/main" id="{46C2E80F-49A6-4372-B103-219D417A55E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63072" y="353193"/>
            <a:ext cx="3285756" cy="4419078"/>
          </a:xfrm>
          <a:custGeom>
            <a:avLst/>
            <a:gdLst>
              <a:gd name="connsiteX0" fmla="*/ 0 w 4381009"/>
              <a:gd name="connsiteY0" fmla="*/ 0 h 5892104"/>
              <a:gd name="connsiteX1" fmla="*/ 4157628 w 4381009"/>
              <a:gd name="connsiteY1" fmla="*/ 0 h 5892104"/>
              <a:gd name="connsiteX2" fmla="*/ 4169302 w 4381009"/>
              <a:gd name="connsiteY2" fmla="*/ 68659 h 5892104"/>
              <a:gd name="connsiteX3" fmla="*/ 4191571 w 4381009"/>
              <a:gd name="connsiteY3" fmla="*/ 205472 h 5892104"/>
              <a:gd name="connsiteX4" fmla="*/ 4213368 w 4381009"/>
              <a:gd name="connsiteY4" fmla="*/ 342890 h 5892104"/>
              <a:gd name="connsiteX5" fmla="*/ 4232030 w 4381009"/>
              <a:gd name="connsiteY5" fmla="*/ 480913 h 5892104"/>
              <a:gd name="connsiteX6" fmla="*/ 4250848 w 4381009"/>
              <a:gd name="connsiteY6" fmla="*/ 618332 h 5892104"/>
              <a:gd name="connsiteX7" fmla="*/ 4268412 w 4381009"/>
              <a:gd name="connsiteY7" fmla="*/ 756355 h 5892104"/>
              <a:gd name="connsiteX8" fmla="*/ 4283467 w 4381009"/>
              <a:gd name="connsiteY8" fmla="*/ 892563 h 5892104"/>
              <a:gd name="connsiteX9" fmla="*/ 4297737 w 4381009"/>
              <a:gd name="connsiteY9" fmla="*/ 1030587 h 5892104"/>
              <a:gd name="connsiteX10" fmla="*/ 4310754 w 4381009"/>
              <a:gd name="connsiteY10" fmla="*/ 1168005 h 5892104"/>
              <a:gd name="connsiteX11" fmla="*/ 4322045 w 4381009"/>
              <a:gd name="connsiteY11" fmla="*/ 1303002 h 5892104"/>
              <a:gd name="connsiteX12" fmla="*/ 4333336 w 4381009"/>
              <a:gd name="connsiteY12" fmla="*/ 1439815 h 5892104"/>
              <a:gd name="connsiteX13" fmla="*/ 4342745 w 4381009"/>
              <a:gd name="connsiteY13" fmla="*/ 1574812 h 5892104"/>
              <a:gd name="connsiteX14" fmla="*/ 4350115 w 4381009"/>
              <a:gd name="connsiteY14" fmla="*/ 1709808 h 5892104"/>
              <a:gd name="connsiteX15" fmla="*/ 4357799 w 4381009"/>
              <a:gd name="connsiteY15" fmla="*/ 1844200 h 5892104"/>
              <a:gd name="connsiteX16" fmla="*/ 4364229 w 4381009"/>
              <a:gd name="connsiteY16" fmla="*/ 1977381 h 5892104"/>
              <a:gd name="connsiteX17" fmla="*/ 4368777 w 4381009"/>
              <a:gd name="connsiteY17" fmla="*/ 2109351 h 5892104"/>
              <a:gd name="connsiteX18" fmla="*/ 4372697 w 4381009"/>
              <a:gd name="connsiteY18" fmla="*/ 2241321 h 5892104"/>
              <a:gd name="connsiteX19" fmla="*/ 4376461 w 4381009"/>
              <a:gd name="connsiteY19" fmla="*/ 2372080 h 5892104"/>
              <a:gd name="connsiteX20" fmla="*/ 4378186 w 4381009"/>
              <a:gd name="connsiteY20" fmla="*/ 2501023 h 5892104"/>
              <a:gd name="connsiteX21" fmla="*/ 4380068 w 4381009"/>
              <a:gd name="connsiteY21" fmla="*/ 2629966 h 5892104"/>
              <a:gd name="connsiteX22" fmla="*/ 4381009 w 4381009"/>
              <a:gd name="connsiteY22" fmla="*/ 2757093 h 5892104"/>
              <a:gd name="connsiteX23" fmla="*/ 4380068 w 4381009"/>
              <a:gd name="connsiteY23" fmla="*/ 2883010 h 5892104"/>
              <a:gd name="connsiteX24" fmla="*/ 4380068 w 4381009"/>
              <a:gd name="connsiteY24" fmla="*/ 3007715 h 5892104"/>
              <a:gd name="connsiteX25" fmla="*/ 4378186 w 4381009"/>
              <a:gd name="connsiteY25" fmla="*/ 3131210 h 5892104"/>
              <a:gd name="connsiteX26" fmla="*/ 4375363 w 4381009"/>
              <a:gd name="connsiteY26" fmla="*/ 3252283 h 5892104"/>
              <a:gd name="connsiteX27" fmla="*/ 4372697 w 4381009"/>
              <a:gd name="connsiteY27" fmla="*/ 3372146 h 5892104"/>
              <a:gd name="connsiteX28" fmla="*/ 4369718 w 4381009"/>
              <a:gd name="connsiteY28" fmla="*/ 3489587 h 5892104"/>
              <a:gd name="connsiteX29" fmla="*/ 4365170 w 4381009"/>
              <a:gd name="connsiteY29" fmla="*/ 3606423 h 5892104"/>
              <a:gd name="connsiteX30" fmla="*/ 4360309 w 4381009"/>
              <a:gd name="connsiteY30" fmla="*/ 3721443 h 5892104"/>
              <a:gd name="connsiteX31" fmla="*/ 4355918 w 4381009"/>
              <a:gd name="connsiteY31" fmla="*/ 3834041 h 5892104"/>
              <a:gd name="connsiteX32" fmla="*/ 4343529 w 4381009"/>
              <a:gd name="connsiteY32" fmla="*/ 4053789 h 5892104"/>
              <a:gd name="connsiteX33" fmla="*/ 4330356 w 4381009"/>
              <a:gd name="connsiteY33" fmla="*/ 4264457 h 5892104"/>
              <a:gd name="connsiteX34" fmla="*/ 4316556 w 4381009"/>
              <a:gd name="connsiteY34" fmla="*/ 4466650 h 5892104"/>
              <a:gd name="connsiteX35" fmla="*/ 4301344 w 4381009"/>
              <a:gd name="connsiteY35" fmla="*/ 4657946 h 5892104"/>
              <a:gd name="connsiteX36" fmla="*/ 4285506 w 4381009"/>
              <a:gd name="connsiteY36" fmla="*/ 4840767 h 5892104"/>
              <a:gd name="connsiteX37" fmla="*/ 4268412 w 4381009"/>
              <a:gd name="connsiteY37" fmla="*/ 5010269 h 5892104"/>
              <a:gd name="connsiteX38" fmla="*/ 4251633 w 4381009"/>
              <a:gd name="connsiteY38" fmla="*/ 5169481 h 5892104"/>
              <a:gd name="connsiteX39" fmla="*/ 4234853 w 4381009"/>
              <a:gd name="connsiteY39" fmla="*/ 5315980 h 5892104"/>
              <a:gd name="connsiteX40" fmla="*/ 4219014 w 4381009"/>
              <a:gd name="connsiteY40" fmla="*/ 5450371 h 5892104"/>
              <a:gd name="connsiteX41" fmla="*/ 4203959 w 4381009"/>
              <a:gd name="connsiteY41" fmla="*/ 5569628 h 5892104"/>
              <a:gd name="connsiteX42" fmla="*/ 4189689 w 4381009"/>
              <a:gd name="connsiteY42" fmla="*/ 5677384 h 5892104"/>
              <a:gd name="connsiteX43" fmla="*/ 4177770 w 4381009"/>
              <a:gd name="connsiteY43" fmla="*/ 5768189 h 5892104"/>
              <a:gd name="connsiteX44" fmla="*/ 4166479 w 4381009"/>
              <a:gd name="connsiteY44" fmla="*/ 5844465 h 5892104"/>
              <a:gd name="connsiteX45" fmla="*/ 4159132 w 4381009"/>
              <a:gd name="connsiteY45" fmla="*/ 5892104 h 5892104"/>
              <a:gd name="connsiteX46" fmla="*/ 0 w 4381009"/>
              <a:gd name="connsiteY46" fmla="*/ 5892104 h 5892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4381009" h="5892104">
                <a:moveTo>
                  <a:pt x="0" y="0"/>
                </a:moveTo>
                <a:lnTo>
                  <a:pt x="4157628" y="0"/>
                </a:lnTo>
                <a:lnTo>
                  <a:pt x="4169302" y="68659"/>
                </a:lnTo>
                <a:lnTo>
                  <a:pt x="4191571" y="205472"/>
                </a:lnTo>
                <a:lnTo>
                  <a:pt x="4213368" y="342890"/>
                </a:lnTo>
                <a:lnTo>
                  <a:pt x="4232030" y="480913"/>
                </a:lnTo>
                <a:lnTo>
                  <a:pt x="4250848" y="618332"/>
                </a:lnTo>
                <a:lnTo>
                  <a:pt x="4268412" y="756355"/>
                </a:lnTo>
                <a:lnTo>
                  <a:pt x="4283467" y="892563"/>
                </a:lnTo>
                <a:lnTo>
                  <a:pt x="4297737" y="1030587"/>
                </a:lnTo>
                <a:lnTo>
                  <a:pt x="4310754" y="1168005"/>
                </a:lnTo>
                <a:lnTo>
                  <a:pt x="4322045" y="1303002"/>
                </a:lnTo>
                <a:lnTo>
                  <a:pt x="4333336" y="1439815"/>
                </a:lnTo>
                <a:lnTo>
                  <a:pt x="4342745" y="1574812"/>
                </a:lnTo>
                <a:lnTo>
                  <a:pt x="4350115" y="1709808"/>
                </a:lnTo>
                <a:lnTo>
                  <a:pt x="4357799" y="1844200"/>
                </a:lnTo>
                <a:lnTo>
                  <a:pt x="4364229" y="1977381"/>
                </a:lnTo>
                <a:lnTo>
                  <a:pt x="4368777" y="2109351"/>
                </a:lnTo>
                <a:lnTo>
                  <a:pt x="4372697" y="2241321"/>
                </a:lnTo>
                <a:lnTo>
                  <a:pt x="4376461" y="2372080"/>
                </a:lnTo>
                <a:lnTo>
                  <a:pt x="4378186" y="2501023"/>
                </a:lnTo>
                <a:lnTo>
                  <a:pt x="4380068" y="2629966"/>
                </a:lnTo>
                <a:lnTo>
                  <a:pt x="4381009" y="2757093"/>
                </a:lnTo>
                <a:lnTo>
                  <a:pt x="4380068" y="2883010"/>
                </a:lnTo>
                <a:lnTo>
                  <a:pt x="4380068" y="3007715"/>
                </a:lnTo>
                <a:lnTo>
                  <a:pt x="4378186" y="3131210"/>
                </a:lnTo>
                <a:lnTo>
                  <a:pt x="4375363" y="3252283"/>
                </a:lnTo>
                <a:lnTo>
                  <a:pt x="4372697" y="3372146"/>
                </a:lnTo>
                <a:lnTo>
                  <a:pt x="4369718" y="3489587"/>
                </a:lnTo>
                <a:lnTo>
                  <a:pt x="4365170" y="3606423"/>
                </a:lnTo>
                <a:lnTo>
                  <a:pt x="4360309" y="3721443"/>
                </a:lnTo>
                <a:lnTo>
                  <a:pt x="4355918" y="3834041"/>
                </a:lnTo>
                <a:lnTo>
                  <a:pt x="4343529" y="4053789"/>
                </a:lnTo>
                <a:lnTo>
                  <a:pt x="4330356" y="4264457"/>
                </a:lnTo>
                <a:lnTo>
                  <a:pt x="4316556" y="4466650"/>
                </a:lnTo>
                <a:lnTo>
                  <a:pt x="4301344" y="4657946"/>
                </a:lnTo>
                <a:lnTo>
                  <a:pt x="4285506" y="4840767"/>
                </a:lnTo>
                <a:lnTo>
                  <a:pt x="4268412" y="5010269"/>
                </a:lnTo>
                <a:lnTo>
                  <a:pt x="4251633" y="5169481"/>
                </a:lnTo>
                <a:lnTo>
                  <a:pt x="4234853" y="5315980"/>
                </a:lnTo>
                <a:lnTo>
                  <a:pt x="4219014" y="5450371"/>
                </a:lnTo>
                <a:lnTo>
                  <a:pt x="4203959" y="5569628"/>
                </a:lnTo>
                <a:lnTo>
                  <a:pt x="4189689" y="5677384"/>
                </a:lnTo>
                <a:lnTo>
                  <a:pt x="4177770" y="5768189"/>
                </a:lnTo>
                <a:lnTo>
                  <a:pt x="4166479" y="5844465"/>
                </a:lnTo>
                <a:lnTo>
                  <a:pt x="4159132" y="5892104"/>
                </a:lnTo>
                <a:lnTo>
                  <a:pt x="0" y="5892104"/>
                </a:lnTo>
                <a:close/>
              </a:path>
            </a:pathLst>
          </a:custGeom>
          <a:solidFill>
            <a:srgbClr val="40404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p:cNvSpPr>
            <a:spLocks noGrp="1"/>
          </p:cNvSpPr>
          <p:nvPr>
            <p:ph type="title"/>
          </p:nvPr>
        </p:nvSpPr>
        <p:spPr>
          <a:xfrm>
            <a:off x="647271" y="759003"/>
            <a:ext cx="2562119" cy="3596556"/>
          </a:xfrm>
        </p:spPr>
        <p:txBody>
          <a:bodyPr>
            <a:normAutofit/>
          </a:bodyPr>
          <a:lstStyle/>
          <a:p>
            <a:r>
              <a:rPr lang="en-US" sz="4100">
                <a:solidFill>
                  <a:srgbClr val="FFFFFF"/>
                </a:solidFill>
              </a:rPr>
              <a:t>Customizer</a:t>
            </a:r>
          </a:p>
        </p:txBody>
      </p:sp>
      <p:graphicFrame>
        <p:nvGraphicFramePr>
          <p:cNvPr id="4" name="Content Placeholder 3"/>
          <p:cNvGraphicFramePr>
            <a:graphicFrameLocks noGrp="1"/>
          </p:cNvGraphicFramePr>
          <p:nvPr>
            <p:ph idx="1"/>
            <p:extLst>
              <p:ext uri="{D42A27DB-BD31-4B8C-83A1-F6EECF244321}">
                <p14:modId xmlns:p14="http://schemas.microsoft.com/office/powerpoint/2010/main" val="1619730436"/>
              </p:ext>
            </p:extLst>
          </p:nvPr>
        </p:nvGraphicFramePr>
        <p:xfrm>
          <a:off x="3895725" y="353193"/>
          <a:ext cx="4885203" cy="4414069"/>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90481924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9" name="Freeform: Shape 8">
            <a:extLst>
              <a:ext uri="{FF2B5EF4-FFF2-40B4-BE49-F238E27FC236}">
                <a16:creationId xmlns:a16="http://schemas.microsoft.com/office/drawing/2014/main" id="{46C2E80F-49A6-4372-B103-219D417A55E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63072" y="353193"/>
            <a:ext cx="3285756" cy="4419078"/>
          </a:xfrm>
          <a:custGeom>
            <a:avLst/>
            <a:gdLst>
              <a:gd name="connsiteX0" fmla="*/ 0 w 4381009"/>
              <a:gd name="connsiteY0" fmla="*/ 0 h 5892104"/>
              <a:gd name="connsiteX1" fmla="*/ 4157628 w 4381009"/>
              <a:gd name="connsiteY1" fmla="*/ 0 h 5892104"/>
              <a:gd name="connsiteX2" fmla="*/ 4169302 w 4381009"/>
              <a:gd name="connsiteY2" fmla="*/ 68659 h 5892104"/>
              <a:gd name="connsiteX3" fmla="*/ 4191571 w 4381009"/>
              <a:gd name="connsiteY3" fmla="*/ 205472 h 5892104"/>
              <a:gd name="connsiteX4" fmla="*/ 4213368 w 4381009"/>
              <a:gd name="connsiteY4" fmla="*/ 342890 h 5892104"/>
              <a:gd name="connsiteX5" fmla="*/ 4232030 w 4381009"/>
              <a:gd name="connsiteY5" fmla="*/ 480913 h 5892104"/>
              <a:gd name="connsiteX6" fmla="*/ 4250848 w 4381009"/>
              <a:gd name="connsiteY6" fmla="*/ 618332 h 5892104"/>
              <a:gd name="connsiteX7" fmla="*/ 4268412 w 4381009"/>
              <a:gd name="connsiteY7" fmla="*/ 756355 h 5892104"/>
              <a:gd name="connsiteX8" fmla="*/ 4283467 w 4381009"/>
              <a:gd name="connsiteY8" fmla="*/ 892563 h 5892104"/>
              <a:gd name="connsiteX9" fmla="*/ 4297737 w 4381009"/>
              <a:gd name="connsiteY9" fmla="*/ 1030587 h 5892104"/>
              <a:gd name="connsiteX10" fmla="*/ 4310754 w 4381009"/>
              <a:gd name="connsiteY10" fmla="*/ 1168005 h 5892104"/>
              <a:gd name="connsiteX11" fmla="*/ 4322045 w 4381009"/>
              <a:gd name="connsiteY11" fmla="*/ 1303002 h 5892104"/>
              <a:gd name="connsiteX12" fmla="*/ 4333336 w 4381009"/>
              <a:gd name="connsiteY12" fmla="*/ 1439815 h 5892104"/>
              <a:gd name="connsiteX13" fmla="*/ 4342745 w 4381009"/>
              <a:gd name="connsiteY13" fmla="*/ 1574812 h 5892104"/>
              <a:gd name="connsiteX14" fmla="*/ 4350115 w 4381009"/>
              <a:gd name="connsiteY14" fmla="*/ 1709808 h 5892104"/>
              <a:gd name="connsiteX15" fmla="*/ 4357799 w 4381009"/>
              <a:gd name="connsiteY15" fmla="*/ 1844200 h 5892104"/>
              <a:gd name="connsiteX16" fmla="*/ 4364229 w 4381009"/>
              <a:gd name="connsiteY16" fmla="*/ 1977381 h 5892104"/>
              <a:gd name="connsiteX17" fmla="*/ 4368777 w 4381009"/>
              <a:gd name="connsiteY17" fmla="*/ 2109351 h 5892104"/>
              <a:gd name="connsiteX18" fmla="*/ 4372697 w 4381009"/>
              <a:gd name="connsiteY18" fmla="*/ 2241321 h 5892104"/>
              <a:gd name="connsiteX19" fmla="*/ 4376461 w 4381009"/>
              <a:gd name="connsiteY19" fmla="*/ 2372080 h 5892104"/>
              <a:gd name="connsiteX20" fmla="*/ 4378186 w 4381009"/>
              <a:gd name="connsiteY20" fmla="*/ 2501023 h 5892104"/>
              <a:gd name="connsiteX21" fmla="*/ 4380068 w 4381009"/>
              <a:gd name="connsiteY21" fmla="*/ 2629966 h 5892104"/>
              <a:gd name="connsiteX22" fmla="*/ 4381009 w 4381009"/>
              <a:gd name="connsiteY22" fmla="*/ 2757093 h 5892104"/>
              <a:gd name="connsiteX23" fmla="*/ 4380068 w 4381009"/>
              <a:gd name="connsiteY23" fmla="*/ 2883010 h 5892104"/>
              <a:gd name="connsiteX24" fmla="*/ 4380068 w 4381009"/>
              <a:gd name="connsiteY24" fmla="*/ 3007715 h 5892104"/>
              <a:gd name="connsiteX25" fmla="*/ 4378186 w 4381009"/>
              <a:gd name="connsiteY25" fmla="*/ 3131210 h 5892104"/>
              <a:gd name="connsiteX26" fmla="*/ 4375363 w 4381009"/>
              <a:gd name="connsiteY26" fmla="*/ 3252283 h 5892104"/>
              <a:gd name="connsiteX27" fmla="*/ 4372697 w 4381009"/>
              <a:gd name="connsiteY27" fmla="*/ 3372146 h 5892104"/>
              <a:gd name="connsiteX28" fmla="*/ 4369718 w 4381009"/>
              <a:gd name="connsiteY28" fmla="*/ 3489587 h 5892104"/>
              <a:gd name="connsiteX29" fmla="*/ 4365170 w 4381009"/>
              <a:gd name="connsiteY29" fmla="*/ 3606423 h 5892104"/>
              <a:gd name="connsiteX30" fmla="*/ 4360309 w 4381009"/>
              <a:gd name="connsiteY30" fmla="*/ 3721443 h 5892104"/>
              <a:gd name="connsiteX31" fmla="*/ 4355918 w 4381009"/>
              <a:gd name="connsiteY31" fmla="*/ 3834041 h 5892104"/>
              <a:gd name="connsiteX32" fmla="*/ 4343529 w 4381009"/>
              <a:gd name="connsiteY32" fmla="*/ 4053789 h 5892104"/>
              <a:gd name="connsiteX33" fmla="*/ 4330356 w 4381009"/>
              <a:gd name="connsiteY33" fmla="*/ 4264457 h 5892104"/>
              <a:gd name="connsiteX34" fmla="*/ 4316556 w 4381009"/>
              <a:gd name="connsiteY34" fmla="*/ 4466650 h 5892104"/>
              <a:gd name="connsiteX35" fmla="*/ 4301344 w 4381009"/>
              <a:gd name="connsiteY35" fmla="*/ 4657946 h 5892104"/>
              <a:gd name="connsiteX36" fmla="*/ 4285506 w 4381009"/>
              <a:gd name="connsiteY36" fmla="*/ 4840767 h 5892104"/>
              <a:gd name="connsiteX37" fmla="*/ 4268412 w 4381009"/>
              <a:gd name="connsiteY37" fmla="*/ 5010269 h 5892104"/>
              <a:gd name="connsiteX38" fmla="*/ 4251633 w 4381009"/>
              <a:gd name="connsiteY38" fmla="*/ 5169481 h 5892104"/>
              <a:gd name="connsiteX39" fmla="*/ 4234853 w 4381009"/>
              <a:gd name="connsiteY39" fmla="*/ 5315980 h 5892104"/>
              <a:gd name="connsiteX40" fmla="*/ 4219014 w 4381009"/>
              <a:gd name="connsiteY40" fmla="*/ 5450371 h 5892104"/>
              <a:gd name="connsiteX41" fmla="*/ 4203959 w 4381009"/>
              <a:gd name="connsiteY41" fmla="*/ 5569628 h 5892104"/>
              <a:gd name="connsiteX42" fmla="*/ 4189689 w 4381009"/>
              <a:gd name="connsiteY42" fmla="*/ 5677384 h 5892104"/>
              <a:gd name="connsiteX43" fmla="*/ 4177770 w 4381009"/>
              <a:gd name="connsiteY43" fmla="*/ 5768189 h 5892104"/>
              <a:gd name="connsiteX44" fmla="*/ 4166479 w 4381009"/>
              <a:gd name="connsiteY44" fmla="*/ 5844465 h 5892104"/>
              <a:gd name="connsiteX45" fmla="*/ 4159132 w 4381009"/>
              <a:gd name="connsiteY45" fmla="*/ 5892104 h 5892104"/>
              <a:gd name="connsiteX46" fmla="*/ 0 w 4381009"/>
              <a:gd name="connsiteY46" fmla="*/ 5892104 h 5892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4381009" h="5892104">
                <a:moveTo>
                  <a:pt x="0" y="0"/>
                </a:moveTo>
                <a:lnTo>
                  <a:pt x="4157628" y="0"/>
                </a:lnTo>
                <a:lnTo>
                  <a:pt x="4169302" y="68659"/>
                </a:lnTo>
                <a:lnTo>
                  <a:pt x="4191571" y="205472"/>
                </a:lnTo>
                <a:lnTo>
                  <a:pt x="4213368" y="342890"/>
                </a:lnTo>
                <a:lnTo>
                  <a:pt x="4232030" y="480913"/>
                </a:lnTo>
                <a:lnTo>
                  <a:pt x="4250848" y="618332"/>
                </a:lnTo>
                <a:lnTo>
                  <a:pt x="4268412" y="756355"/>
                </a:lnTo>
                <a:lnTo>
                  <a:pt x="4283467" y="892563"/>
                </a:lnTo>
                <a:lnTo>
                  <a:pt x="4297737" y="1030587"/>
                </a:lnTo>
                <a:lnTo>
                  <a:pt x="4310754" y="1168005"/>
                </a:lnTo>
                <a:lnTo>
                  <a:pt x="4322045" y="1303002"/>
                </a:lnTo>
                <a:lnTo>
                  <a:pt x="4333336" y="1439815"/>
                </a:lnTo>
                <a:lnTo>
                  <a:pt x="4342745" y="1574812"/>
                </a:lnTo>
                <a:lnTo>
                  <a:pt x="4350115" y="1709808"/>
                </a:lnTo>
                <a:lnTo>
                  <a:pt x="4357799" y="1844200"/>
                </a:lnTo>
                <a:lnTo>
                  <a:pt x="4364229" y="1977381"/>
                </a:lnTo>
                <a:lnTo>
                  <a:pt x="4368777" y="2109351"/>
                </a:lnTo>
                <a:lnTo>
                  <a:pt x="4372697" y="2241321"/>
                </a:lnTo>
                <a:lnTo>
                  <a:pt x="4376461" y="2372080"/>
                </a:lnTo>
                <a:lnTo>
                  <a:pt x="4378186" y="2501023"/>
                </a:lnTo>
                <a:lnTo>
                  <a:pt x="4380068" y="2629966"/>
                </a:lnTo>
                <a:lnTo>
                  <a:pt x="4381009" y="2757093"/>
                </a:lnTo>
                <a:lnTo>
                  <a:pt x="4380068" y="2883010"/>
                </a:lnTo>
                <a:lnTo>
                  <a:pt x="4380068" y="3007715"/>
                </a:lnTo>
                <a:lnTo>
                  <a:pt x="4378186" y="3131210"/>
                </a:lnTo>
                <a:lnTo>
                  <a:pt x="4375363" y="3252283"/>
                </a:lnTo>
                <a:lnTo>
                  <a:pt x="4372697" y="3372146"/>
                </a:lnTo>
                <a:lnTo>
                  <a:pt x="4369718" y="3489587"/>
                </a:lnTo>
                <a:lnTo>
                  <a:pt x="4365170" y="3606423"/>
                </a:lnTo>
                <a:lnTo>
                  <a:pt x="4360309" y="3721443"/>
                </a:lnTo>
                <a:lnTo>
                  <a:pt x="4355918" y="3834041"/>
                </a:lnTo>
                <a:lnTo>
                  <a:pt x="4343529" y="4053789"/>
                </a:lnTo>
                <a:lnTo>
                  <a:pt x="4330356" y="4264457"/>
                </a:lnTo>
                <a:lnTo>
                  <a:pt x="4316556" y="4466650"/>
                </a:lnTo>
                <a:lnTo>
                  <a:pt x="4301344" y="4657946"/>
                </a:lnTo>
                <a:lnTo>
                  <a:pt x="4285506" y="4840767"/>
                </a:lnTo>
                <a:lnTo>
                  <a:pt x="4268412" y="5010269"/>
                </a:lnTo>
                <a:lnTo>
                  <a:pt x="4251633" y="5169481"/>
                </a:lnTo>
                <a:lnTo>
                  <a:pt x="4234853" y="5315980"/>
                </a:lnTo>
                <a:lnTo>
                  <a:pt x="4219014" y="5450371"/>
                </a:lnTo>
                <a:lnTo>
                  <a:pt x="4203959" y="5569628"/>
                </a:lnTo>
                <a:lnTo>
                  <a:pt x="4189689" y="5677384"/>
                </a:lnTo>
                <a:lnTo>
                  <a:pt x="4177770" y="5768189"/>
                </a:lnTo>
                <a:lnTo>
                  <a:pt x="4166479" y="5844465"/>
                </a:lnTo>
                <a:lnTo>
                  <a:pt x="4159132" y="5892104"/>
                </a:lnTo>
                <a:lnTo>
                  <a:pt x="0" y="5892104"/>
                </a:lnTo>
                <a:close/>
              </a:path>
            </a:pathLst>
          </a:custGeom>
          <a:solidFill>
            <a:srgbClr val="40404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p:cNvSpPr>
            <a:spLocks noGrp="1"/>
          </p:cNvSpPr>
          <p:nvPr>
            <p:ph type="title"/>
          </p:nvPr>
        </p:nvSpPr>
        <p:spPr>
          <a:xfrm>
            <a:off x="647271" y="759003"/>
            <a:ext cx="2562119" cy="3596556"/>
          </a:xfrm>
        </p:spPr>
        <p:txBody>
          <a:bodyPr>
            <a:normAutofit/>
          </a:bodyPr>
          <a:lstStyle/>
          <a:p>
            <a:r>
              <a:rPr lang="en-US">
                <a:solidFill>
                  <a:srgbClr val="FFFFFF"/>
                </a:solidFill>
              </a:rPr>
              <a:t>Developer</a:t>
            </a:r>
          </a:p>
        </p:txBody>
      </p:sp>
      <p:graphicFrame>
        <p:nvGraphicFramePr>
          <p:cNvPr id="4" name="Content Placeholder 3"/>
          <p:cNvGraphicFramePr>
            <a:graphicFrameLocks noGrp="1"/>
          </p:cNvGraphicFramePr>
          <p:nvPr>
            <p:ph idx="1"/>
            <p:extLst>
              <p:ext uri="{D42A27DB-BD31-4B8C-83A1-F6EECF244321}">
                <p14:modId xmlns:p14="http://schemas.microsoft.com/office/powerpoint/2010/main" val="2957171537"/>
              </p:ext>
            </p:extLst>
          </p:nvPr>
        </p:nvGraphicFramePr>
        <p:xfrm>
          <a:off x="3895725" y="353193"/>
          <a:ext cx="4885203" cy="4414069"/>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22768001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9" name="Freeform: Shape 8">
            <a:extLst>
              <a:ext uri="{FF2B5EF4-FFF2-40B4-BE49-F238E27FC236}">
                <a16:creationId xmlns:a16="http://schemas.microsoft.com/office/drawing/2014/main" id="{46C2E80F-49A6-4372-B103-219D417A55E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63072" y="353193"/>
            <a:ext cx="3285756" cy="4419078"/>
          </a:xfrm>
          <a:custGeom>
            <a:avLst/>
            <a:gdLst>
              <a:gd name="connsiteX0" fmla="*/ 0 w 4381009"/>
              <a:gd name="connsiteY0" fmla="*/ 0 h 5892104"/>
              <a:gd name="connsiteX1" fmla="*/ 4157628 w 4381009"/>
              <a:gd name="connsiteY1" fmla="*/ 0 h 5892104"/>
              <a:gd name="connsiteX2" fmla="*/ 4169302 w 4381009"/>
              <a:gd name="connsiteY2" fmla="*/ 68659 h 5892104"/>
              <a:gd name="connsiteX3" fmla="*/ 4191571 w 4381009"/>
              <a:gd name="connsiteY3" fmla="*/ 205472 h 5892104"/>
              <a:gd name="connsiteX4" fmla="*/ 4213368 w 4381009"/>
              <a:gd name="connsiteY4" fmla="*/ 342890 h 5892104"/>
              <a:gd name="connsiteX5" fmla="*/ 4232030 w 4381009"/>
              <a:gd name="connsiteY5" fmla="*/ 480913 h 5892104"/>
              <a:gd name="connsiteX6" fmla="*/ 4250848 w 4381009"/>
              <a:gd name="connsiteY6" fmla="*/ 618332 h 5892104"/>
              <a:gd name="connsiteX7" fmla="*/ 4268412 w 4381009"/>
              <a:gd name="connsiteY7" fmla="*/ 756355 h 5892104"/>
              <a:gd name="connsiteX8" fmla="*/ 4283467 w 4381009"/>
              <a:gd name="connsiteY8" fmla="*/ 892563 h 5892104"/>
              <a:gd name="connsiteX9" fmla="*/ 4297737 w 4381009"/>
              <a:gd name="connsiteY9" fmla="*/ 1030587 h 5892104"/>
              <a:gd name="connsiteX10" fmla="*/ 4310754 w 4381009"/>
              <a:gd name="connsiteY10" fmla="*/ 1168005 h 5892104"/>
              <a:gd name="connsiteX11" fmla="*/ 4322045 w 4381009"/>
              <a:gd name="connsiteY11" fmla="*/ 1303002 h 5892104"/>
              <a:gd name="connsiteX12" fmla="*/ 4333336 w 4381009"/>
              <a:gd name="connsiteY12" fmla="*/ 1439815 h 5892104"/>
              <a:gd name="connsiteX13" fmla="*/ 4342745 w 4381009"/>
              <a:gd name="connsiteY13" fmla="*/ 1574812 h 5892104"/>
              <a:gd name="connsiteX14" fmla="*/ 4350115 w 4381009"/>
              <a:gd name="connsiteY14" fmla="*/ 1709808 h 5892104"/>
              <a:gd name="connsiteX15" fmla="*/ 4357799 w 4381009"/>
              <a:gd name="connsiteY15" fmla="*/ 1844200 h 5892104"/>
              <a:gd name="connsiteX16" fmla="*/ 4364229 w 4381009"/>
              <a:gd name="connsiteY16" fmla="*/ 1977381 h 5892104"/>
              <a:gd name="connsiteX17" fmla="*/ 4368777 w 4381009"/>
              <a:gd name="connsiteY17" fmla="*/ 2109351 h 5892104"/>
              <a:gd name="connsiteX18" fmla="*/ 4372697 w 4381009"/>
              <a:gd name="connsiteY18" fmla="*/ 2241321 h 5892104"/>
              <a:gd name="connsiteX19" fmla="*/ 4376461 w 4381009"/>
              <a:gd name="connsiteY19" fmla="*/ 2372080 h 5892104"/>
              <a:gd name="connsiteX20" fmla="*/ 4378186 w 4381009"/>
              <a:gd name="connsiteY20" fmla="*/ 2501023 h 5892104"/>
              <a:gd name="connsiteX21" fmla="*/ 4380068 w 4381009"/>
              <a:gd name="connsiteY21" fmla="*/ 2629966 h 5892104"/>
              <a:gd name="connsiteX22" fmla="*/ 4381009 w 4381009"/>
              <a:gd name="connsiteY22" fmla="*/ 2757093 h 5892104"/>
              <a:gd name="connsiteX23" fmla="*/ 4380068 w 4381009"/>
              <a:gd name="connsiteY23" fmla="*/ 2883010 h 5892104"/>
              <a:gd name="connsiteX24" fmla="*/ 4380068 w 4381009"/>
              <a:gd name="connsiteY24" fmla="*/ 3007715 h 5892104"/>
              <a:gd name="connsiteX25" fmla="*/ 4378186 w 4381009"/>
              <a:gd name="connsiteY25" fmla="*/ 3131210 h 5892104"/>
              <a:gd name="connsiteX26" fmla="*/ 4375363 w 4381009"/>
              <a:gd name="connsiteY26" fmla="*/ 3252283 h 5892104"/>
              <a:gd name="connsiteX27" fmla="*/ 4372697 w 4381009"/>
              <a:gd name="connsiteY27" fmla="*/ 3372146 h 5892104"/>
              <a:gd name="connsiteX28" fmla="*/ 4369718 w 4381009"/>
              <a:gd name="connsiteY28" fmla="*/ 3489587 h 5892104"/>
              <a:gd name="connsiteX29" fmla="*/ 4365170 w 4381009"/>
              <a:gd name="connsiteY29" fmla="*/ 3606423 h 5892104"/>
              <a:gd name="connsiteX30" fmla="*/ 4360309 w 4381009"/>
              <a:gd name="connsiteY30" fmla="*/ 3721443 h 5892104"/>
              <a:gd name="connsiteX31" fmla="*/ 4355918 w 4381009"/>
              <a:gd name="connsiteY31" fmla="*/ 3834041 h 5892104"/>
              <a:gd name="connsiteX32" fmla="*/ 4343529 w 4381009"/>
              <a:gd name="connsiteY32" fmla="*/ 4053789 h 5892104"/>
              <a:gd name="connsiteX33" fmla="*/ 4330356 w 4381009"/>
              <a:gd name="connsiteY33" fmla="*/ 4264457 h 5892104"/>
              <a:gd name="connsiteX34" fmla="*/ 4316556 w 4381009"/>
              <a:gd name="connsiteY34" fmla="*/ 4466650 h 5892104"/>
              <a:gd name="connsiteX35" fmla="*/ 4301344 w 4381009"/>
              <a:gd name="connsiteY35" fmla="*/ 4657946 h 5892104"/>
              <a:gd name="connsiteX36" fmla="*/ 4285506 w 4381009"/>
              <a:gd name="connsiteY36" fmla="*/ 4840767 h 5892104"/>
              <a:gd name="connsiteX37" fmla="*/ 4268412 w 4381009"/>
              <a:gd name="connsiteY37" fmla="*/ 5010269 h 5892104"/>
              <a:gd name="connsiteX38" fmla="*/ 4251633 w 4381009"/>
              <a:gd name="connsiteY38" fmla="*/ 5169481 h 5892104"/>
              <a:gd name="connsiteX39" fmla="*/ 4234853 w 4381009"/>
              <a:gd name="connsiteY39" fmla="*/ 5315980 h 5892104"/>
              <a:gd name="connsiteX40" fmla="*/ 4219014 w 4381009"/>
              <a:gd name="connsiteY40" fmla="*/ 5450371 h 5892104"/>
              <a:gd name="connsiteX41" fmla="*/ 4203959 w 4381009"/>
              <a:gd name="connsiteY41" fmla="*/ 5569628 h 5892104"/>
              <a:gd name="connsiteX42" fmla="*/ 4189689 w 4381009"/>
              <a:gd name="connsiteY42" fmla="*/ 5677384 h 5892104"/>
              <a:gd name="connsiteX43" fmla="*/ 4177770 w 4381009"/>
              <a:gd name="connsiteY43" fmla="*/ 5768189 h 5892104"/>
              <a:gd name="connsiteX44" fmla="*/ 4166479 w 4381009"/>
              <a:gd name="connsiteY44" fmla="*/ 5844465 h 5892104"/>
              <a:gd name="connsiteX45" fmla="*/ 4159132 w 4381009"/>
              <a:gd name="connsiteY45" fmla="*/ 5892104 h 5892104"/>
              <a:gd name="connsiteX46" fmla="*/ 0 w 4381009"/>
              <a:gd name="connsiteY46" fmla="*/ 5892104 h 5892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4381009" h="5892104">
                <a:moveTo>
                  <a:pt x="0" y="0"/>
                </a:moveTo>
                <a:lnTo>
                  <a:pt x="4157628" y="0"/>
                </a:lnTo>
                <a:lnTo>
                  <a:pt x="4169302" y="68659"/>
                </a:lnTo>
                <a:lnTo>
                  <a:pt x="4191571" y="205472"/>
                </a:lnTo>
                <a:lnTo>
                  <a:pt x="4213368" y="342890"/>
                </a:lnTo>
                <a:lnTo>
                  <a:pt x="4232030" y="480913"/>
                </a:lnTo>
                <a:lnTo>
                  <a:pt x="4250848" y="618332"/>
                </a:lnTo>
                <a:lnTo>
                  <a:pt x="4268412" y="756355"/>
                </a:lnTo>
                <a:lnTo>
                  <a:pt x="4283467" y="892563"/>
                </a:lnTo>
                <a:lnTo>
                  <a:pt x="4297737" y="1030587"/>
                </a:lnTo>
                <a:lnTo>
                  <a:pt x="4310754" y="1168005"/>
                </a:lnTo>
                <a:lnTo>
                  <a:pt x="4322045" y="1303002"/>
                </a:lnTo>
                <a:lnTo>
                  <a:pt x="4333336" y="1439815"/>
                </a:lnTo>
                <a:lnTo>
                  <a:pt x="4342745" y="1574812"/>
                </a:lnTo>
                <a:lnTo>
                  <a:pt x="4350115" y="1709808"/>
                </a:lnTo>
                <a:lnTo>
                  <a:pt x="4357799" y="1844200"/>
                </a:lnTo>
                <a:lnTo>
                  <a:pt x="4364229" y="1977381"/>
                </a:lnTo>
                <a:lnTo>
                  <a:pt x="4368777" y="2109351"/>
                </a:lnTo>
                <a:lnTo>
                  <a:pt x="4372697" y="2241321"/>
                </a:lnTo>
                <a:lnTo>
                  <a:pt x="4376461" y="2372080"/>
                </a:lnTo>
                <a:lnTo>
                  <a:pt x="4378186" y="2501023"/>
                </a:lnTo>
                <a:lnTo>
                  <a:pt x="4380068" y="2629966"/>
                </a:lnTo>
                <a:lnTo>
                  <a:pt x="4381009" y="2757093"/>
                </a:lnTo>
                <a:lnTo>
                  <a:pt x="4380068" y="2883010"/>
                </a:lnTo>
                <a:lnTo>
                  <a:pt x="4380068" y="3007715"/>
                </a:lnTo>
                <a:lnTo>
                  <a:pt x="4378186" y="3131210"/>
                </a:lnTo>
                <a:lnTo>
                  <a:pt x="4375363" y="3252283"/>
                </a:lnTo>
                <a:lnTo>
                  <a:pt x="4372697" y="3372146"/>
                </a:lnTo>
                <a:lnTo>
                  <a:pt x="4369718" y="3489587"/>
                </a:lnTo>
                <a:lnTo>
                  <a:pt x="4365170" y="3606423"/>
                </a:lnTo>
                <a:lnTo>
                  <a:pt x="4360309" y="3721443"/>
                </a:lnTo>
                <a:lnTo>
                  <a:pt x="4355918" y="3834041"/>
                </a:lnTo>
                <a:lnTo>
                  <a:pt x="4343529" y="4053789"/>
                </a:lnTo>
                <a:lnTo>
                  <a:pt x="4330356" y="4264457"/>
                </a:lnTo>
                <a:lnTo>
                  <a:pt x="4316556" y="4466650"/>
                </a:lnTo>
                <a:lnTo>
                  <a:pt x="4301344" y="4657946"/>
                </a:lnTo>
                <a:lnTo>
                  <a:pt x="4285506" y="4840767"/>
                </a:lnTo>
                <a:lnTo>
                  <a:pt x="4268412" y="5010269"/>
                </a:lnTo>
                <a:lnTo>
                  <a:pt x="4251633" y="5169481"/>
                </a:lnTo>
                <a:lnTo>
                  <a:pt x="4234853" y="5315980"/>
                </a:lnTo>
                <a:lnTo>
                  <a:pt x="4219014" y="5450371"/>
                </a:lnTo>
                <a:lnTo>
                  <a:pt x="4203959" y="5569628"/>
                </a:lnTo>
                <a:lnTo>
                  <a:pt x="4189689" y="5677384"/>
                </a:lnTo>
                <a:lnTo>
                  <a:pt x="4177770" y="5768189"/>
                </a:lnTo>
                <a:lnTo>
                  <a:pt x="4166479" y="5844465"/>
                </a:lnTo>
                <a:lnTo>
                  <a:pt x="4159132" y="5892104"/>
                </a:lnTo>
                <a:lnTo>
                  <a:pt x="0" y="5892104"/>
                </a:lnTo>
                <a:close/>
              </a:path>
            </a:pathLst>
          </a:custGeom>
          <a:solidFill>
            <a:srgbClr val="40404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p:cNvSpPr>
            <a:spLocks noGrp="1"/>
          </p:cNvSpPr>
          <p:nvPr>
            <p:ph type="title"/>
          </p:nvPr>
        </p:nvSpPr>
        <p:spPr>
          <a:xfrm>
            <a:off x="647271" y="759003"/>
            <a:ext cx="2562119" cy="3596556"/>
          </a:xfrm>
        </p:spPr>
        <p:txBody>
          <a:bodyPr>
            <a:normAutofit/>
          </a:bodyPr>
          <a:lstStyle/>
          <a:p>
            <a:r>
              <a:rPr lang="en-US">
                <a:solidFill>
                  <a:srgbClr val="FFFFFF"/>
                </a:solidFill>
              </a:rPr>
              <a:t>Architect</a:t>
            </a:r>
          </a:p>
        </p:txBody>
      </p:sp>
      <p:graphicFrame>
        <p:nvGraphicFramePr>
          <p:cNvPr id="4" name="Content Placeholder 3"/>
          <p:cNvGraphicFramePr>
            <a:graphicFrameLocks noGrp="1"/>
          </p:cNvGraphicFramePr>
          <p:nvPr>
            <p:ph idx="1"/>
            <p:extLst>
              <p:ext uri="{D42A27DB-BD31-4B8C-83A1-F6EECF244321}">
                <p14:modId xmlns:p14="http://schemas.microsoft.com/office/powerpoint/2010/main" val="1512387935"/>
              </p:ext>
            </p:extLst>
          </p:nvPr>
        </p:nvGraphicFramePr>
        <p:xfrm>
          <a:off x="3895725" y="353193"/>
          <a:ext cx="4885203" cy="4414069"/>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31835156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2A8AA5BC-4F7A-4226-8F99-6D824B226A9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2493"/>
            <a:ext cx="9144000" cy="5145993"/>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3E5445C6-DD42-4979-86FF-03730E8C6DB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ltGray">
          <a:xfrm>
            <a:off x="241300" y="241299"/>
            <a:ext cx="8680116" cy="4660901"/>
          </a:xfrm>
          <a:prstGeom prst="rect">
            <a:avLst/>
          </a:prstGeom>
          <a:solidFill>
            <a:schemeClr val="bg1">
              <a:lumMod val="75000"/>
              <a:lumOff val="25000"/>
            </a:schemeClr>
          </a:solidFill>
          <a:ln w="127000" cap="sq" cmpd="thinThick">
            <a:solidFill>
              <a:schemeClr val="bg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25E5DA1D-BB45-4F00-BD64-315E5F236867}"/>
              </a:ext>
            </a:extLst>
          </p:cNvPr>
          <p:cNvSpPr>
            <a:spLocks noGrp="1"/>
          </p:cNvSpPr>
          <p:nvPr>
            <p:ph type="ctrTitle"/>
          </p:nvPr>
        </p:nvSpPr>
        <p:spPr>
          <a:xfrm>
            <a:off x="1143000" y="841771"/>
            <a:ext cx="6858000" cy="2130028"/>
          </a:xfrm>
        </p:spPr>
        <p:txBody>
          <a:bodyPr>
            <a:normAutofit/>
          </a:bodyPr>
          <a:lstStyle/>
          <a:p>
            <a:r>
              <a:rPr lang="en-US" dirty="0">
                <a:solidFill>
                  <a:schemeClr val="tx1"/>
                </a:solidFill>
              </a:rPr>
              <a:t>Education</a:t>
            </a:r>
          </a:p>
        </p:txBody>
      </p:sp>
      <p:sp>
        <p:nvSpPr>
          <p:cNvPr id="3" name="Subtitle 2">
            <a:extLst>
              <a:ext uri="{FF2B5EF4-FFF2-40B4-BE49-F238E27FC236}">
                <a16:creationId xmlns:a16="http://schemas.microsoft.com/office/drawing/2014/main" id="{CB7C4C92-DE7E-49CD-9102-96AD256AC253}"/>
              </a:ext>
            </a:extLst>
          </p:cNvPr>
          <p:cNvSpPr>
            <a:spLocks noGrp="1"/>
          </p:cNvSpPr>
          <p:nvPr>
            <p:ph type="subTitle" idx="1"/>
          </p:nvPr>
        </p:nvSpPr>
        <p:spPr>
          <a:xfrm>
            <a:off x="1143000" y="3192327"/>
            <a:ext cx="6858000" cy="1200613"/>
          </a:xfrm>
        </p:spPr>
        <p:txBody>
          <a:bodyPr>
            <a:normAutofit/>
          </a:bodyPr>
          <a:lstStyle/>
          <a:p>
            <a:endParaRPr lang="en-US" dirty="0">
              <a:solidFill>
                <a:schemeClr val="accent1">
                  <a:lumMod val="60000"/>
                  <a:lumOff val="40000"/>
                </a:schemeClr>
              </a:solidFill>
            </a:endParaRPr>
          </a:p>
        </p:txBody>
      </p:sp>
      <p:cxnSp>
        <p:nvCxnSpPr>
          <p:cNvPr id="12" name="Straight Connector 11">
            <a:extLst>
              <a:ext uri="{FF2B5EF4-FFF2-40B4-BE49-F238E27FC236}">
                <a16:creationId xmlns:a16="http://schemas.microsoft.com/office/drawing/2014/main" id="{45000665-DFC7-417E-8FD7-516A0F15C975}"/>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3543300" y="3082062"/>
            <a:ext cx="2057400" cy="0"/>
          </a:xfrm>
          <a:prstGeom prst="line">
            <a:avLst/>
          </a:prstGeom>
          <a:ln w="12700">
            <a:solidFill>
              <a:schemeClr val="tx1">
                <a:lumMod val="8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09514120"/>
      </p:ext>
    </p:extLst>
  </p:cSld>
  <p:clrMapOvr>
    <a:overrideClrMapping bg1="dk1" tx1="lt1" bg2="dk2" tx2="lt2" accent1="accent1" accent2="accent2" accent3="accent3" accent4="accent4" accent5="accent5" accent6="accent6" hlink="hlink" folHlink="folHlink"/>
  </p:clrMapOvr>
</p:sld>
</file>

<file path=ppt/slides/slide1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2">
            <a:extLst>
              <a:ext uri="{28A0092B-C50C-407E-A947-70E740481C1C}">
                <a14:useLocalDpi xmlns:a14="http://schemas.microsoft.com/office/drawing/2010/main" val="0"/>
              </a:ext>
            </a:extLst>
          </a:blip>
          <a:srcRect r="2178" b="1"/>
          <a:stretch/>
        </p:blipFill>
        <p:spPr>
          <a:xfrm rot="21600000">
            <a:off x="482600" y="606957"/>
            <a:ext cx="8178799" cy="3929583"/>
          </a:xfrm>
          <a:prstGeom prst="rect">
            <a:avLst/>
          </a:prstGeom>
        </p:spPr>
      </p:pic>
    </p:spTree>
    <p:extLst>
      <p:ext uri="{BB962C8B-B14F-4D97-AF65-F5344CB8AC3E}">
        <p14:creationId xmlns:p14="http://schemas.microsoft.com/office/powerpoint/2010/main" val="44416415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6" name="Picture 5"/>
          <p:cNvPicPr>
            <a:picLocks noChangeAspect="1"/>
          </p:cNvPicPr>
          <p:nvPr/>
        </p:nvPicPr>
        <p:blipFill rotWithShape="1">
          <a:blip r:embed="rId2">
            <a:extLst>
              <a:ext uri="{28A0092B-C50C-407E-A947-70E740481C1C}">
                <a14:useLocalDpi xmlns:a14="http://schemas.microsoft.com/office/drawing/2010/main" val="0"/>
              </a:ext>
            </a:extLst>
          </a:blip>
          <a:srcRect t="14073" r="-1" b="18964"/>
          <a:stretch/>
        </p:blipFill>
        <p:spPr>
          <a:xfrm rot="21600000">
            <a:off x="482600" y="606979"/>
            <a:ext cx="8178799" cy="3929540"/>
          </a:xfrm>
          <a:prstGeom prst="rect">
            <a:avLst/>
          </a:prstGeom>
        </p:spPr>
      </p:pic>
    </p:spTree>
    <p:extLst>
      <p:ext uri="{BB962C8B-B14F-4D97-AF65-F5344CB8AC3E}">
        <p14:creationId xmlns:p14="http://schemas.microsoft.com/office/powerpoint/2010/main" val="262924992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9" name="Freeform: Shape 8">
            <a:extLst>
              <a:ext uri="{FF2B5EF4-FFF2-40B4-BE49-F238E27FC236}">
                <a16:creationId xmlns:a16="http://schemas.microsoft.com/office/drawing/2014/main" id="{46C2E80F-49A6-4372-B103-219D417A55E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63072" y="353193"/>
            <a:ext cx="3285756" cy="4419078"/>
          </a:xfrm>
          <a:custGeom>
            <a:avLst/>
            <a:gdLst>
              <a:gd name="connsiteX0" fmla="*/ 0 w 4381009"/>
              <a:gd name="connsiteY0" fmla="*/ 0 h 5892104"/>
              <a:gd name="connsiteX1" fmla="*/ 4157628 w 4381009"/>
              <a:gd name="connsiteY1" fmla="*/ 0 h 5892104"/>
              <a:gd name="connsiteX2" fmla="*/ 4169302 w 4381009"/>
              <a:gd name="connsiteY2" fmla="*/ 68659 h 5892104"/>
              <a:gd name="connsiteX3" fmla="*/ 4191571 w 4381009"/>
              <a:gd name="connsiteY3" fmla="*/ 205472 h 5892104"/>
              <a:gd name="connsiteX4" fmla="*/ 4213368 w 4381009"/>
              <a:gd name="connsiteY4" fmla="*/ 342890 h 5892104"/>
              <a:gd name="connsiteX5" fmla="*/ 4232030 w 4381009"/>
              <a:gd name="connsiteY5" fmla="*/ 480913 h 5892104"/>
              <a:gd name="connsiteX6" fmla="*/ 4250848 w 4381009"/>
              <a:gd name="connsiteY6" fmla="*/ 618332 h 5892104"/>
              <a:gd name="connsiteX7" fmla="*/ 4268412 w 4381009"/>
              <a:gd name="connsiteY7" fmla="*/ 756355 h 5892104"/>
              <a:gd name="connsiteX8" fmla="*/ 4283467 w 4381009"/>
              <a:gd name="connsiteY8" fmla="*/ 892563 h 5892104"/>
              <a:gd name="connsiteX9" fmla="*/ 4297737 w 4381009"/>
              <a:gd name="connsiteY9" fmla="*/ 1030587 h 5892104"/>
              <a:gd name="connsiteX10" fmla="*/ 4310754 w 4381009"/>
              <a:gd name="connsiteY10" fmla="*/ 1168005 h 5892104"/>
              <a:gd name="connsiteX11" fmla="*/ 4322045 w 4381009"/>
              <a:gd name="connsiteY11" fmla="*/ 1303002 h 5892104"/>
              <a:gd name="connsiteX12" fmla="*/ 4333336 w 4381009"/>
              <a:gd name="connsiteY12" fmla="*/ 1439815 h 5892104"/>
              <a:gd name="connsiteX13" fmla="*/ 4342745 w 4381009"/>
              <a:gd name="connsiteY13" fmla="*/ 1574812 h 5892104"/>
              <a:gd name="connsiteX14" fmla="*/ 4350115 w 4381009"/>
              <a:gd name="connsiteY14" fmla="*/ 1709808 h 5892104"/>
              <a:gd name="connsiteX15" fmla="*/ 4357799 w 4381009"/>
              <a:gd name="connsiteY15" fmla="*/ 1844200 h 5892104"/>
              <a:gd name="connsiteX16" fmla="*/ 4364229 w 4381009"/>
              <a:gd name="connsiteY16" fmla="*/ 1977381 h 5892104"/>
              <a:gd name="connsiteX17" fmla="*/ 4368777 w 4381009"/>
              <a:gd name="connsiteY17" fmla="*/ 2109351 h 5892104"/>
              <a:gd name="connsiteX18" fmla="*/ 4372697 w 4381009"/>
              <a:gd name="connsiteY18" fmla="*/ 2241321 h 5892104"/>
              <a:gd name="connsiteX19" fmla="*/ 4376461 w 4381009"/>
              <a:gd name="connsiteY19" fmla="*/ 2372080 h 5892104"/>
              <a:gd name="connsiteX20" fmla="*/ 4378186 w 4381009"/>
              <a:gd name="connsiteY20" fmla="*/ 2501023 h 5892104"/>
              <a:gd name="connsiteX21" fmla="*/ 4380068 w 4381009"/>
              <a:gd name="connsiteY21" fmla="*/ 2629966 h 5892104"/>
              <a:gd name="connsiteX22" fmla="*/ 4381009 w 4381009"/>
              <a:gd name="connsiteY22" fmla="*/ 2757093 h 5892104"/>
              <a:gd name="connsiteX23" fmla="*/ 4380068 w 4381009"/>
              <a:gd name="connsiteY23" fmla="*/ 2883010 h 5892104"/>
              <a:gd name="connsiteX24" fmla="*/ 4380068 w 4381009"/>
              <a:gd name="connsiteY24" fmla="*/ 3007715 h 5892104"/>
              <a:gd name="connsiteX25" fmla="*/ 4378186 w 4381009"/>
              <a:gd name="connsiteY25" fmla="*/ 3131210 h 5892104"/>
              <a:gd name="connsiteX26" fmla="*/ 4375363 w 4381009"/>
              <a:gd name="connsiteY26" fmla="*/ 3252283 h 5892104"/>
              <a:gd name="connsiteX27" fmla="*/ 4372697 w 4381009"/>
              <a:gd name="connsiteY27" fmla="*/ 3372146 h 5892104"/>
              <a:gd name="connsiteX28" fmla="*/ 4369718 w 4381009"/>
              <a:gd name="connsiteY28" fmla="*/ 3489587 h 5892104"/>
              <a:gd name="connsiteX29" fmla="*/ 4365170 w 4381009"/>
              <a:gd name="connsiteY29" fmla="*/ 3606423 h 5892104"/>
              <a:gd name="connsiteX30" fmla="*/ 4360309 w 4381009"/>
              <a:gd name="connsiteY30" fmla="*/ 3721443 h 5892104"/>
              <a:gd name="connsiteX31" fmla="*/ 4355918 w 4381009"/>
              <a:gd name="connsiteY31" fmla="*/ 3834041 h 5892104"/>
              <a:gd name="connsiteX32" fmla="*/ 4343529 w 4381009"/>
              <a:gd name="connsiteY32" fmla="*/ 4053789 h 5892104"/>
              <a:gd name="connsiteX33" fmla="*/ 4330356 w 4381009"/>
              <a:gd name="connsiteY33" fmla="*/ 4264457 h 5892104"/>
              <a:gd name="connsiteX34" fmla="*/ 4316556 w 4381009"/>
              <a:gd name="connsiteY34" fmla="*/ 4466650 h 5892104"/>
              <a:gd name="connsiteX35" fmla="*/ 4301344 w 4381009"/>
              <a:gd name="connsiteY35" fmla="*/ 4657946 h 5892104"/>
              <a:gd name="connsiteX36" fmla="*/ 4285506 w 4381009"/>
              <a:gd name="connsiteY36" fmla="*/ 4840767 h 5892104"/>
              <a:gd name="connsiteX37" fmla="*/ 4268412 w 4381009"/>
              <a:gd name="connsiteY37" fmla="*/ 5010269 h 5892104"/>
              <a:gd name="connsiteX38" fmla="*/ 4251633 w 4381009"/>
              <a:gd name="connsiteY38" fmla="*/ 5169481 h 5892104"/>
              <a:gd name="connsiteX39" fmla="*/ 4234853 w 4381009"/>
              <a:gd name="connsiteY39" fmla="*/ 5315980 h 5892104"/>
              <a:gd name="connsiteX40" fmla="*/ 4219014 w 4381009"/>
              <a:gd name="connsiteY40" fmla="*/ 5450371 h 5892104"/>
              <a:gd name="connsiteX41" fmla="*/ 4203959 w 4381009"/>
              <a:gd name="connsiteY41" fmla="*/ 5569628 h 5892104"/>
              <a:gd name="connsiteX42" fmla="*/ 4189689 w 4381009"/>
              <a:gd name="connsiteY42" fmla="*/ 5677384 h 5892104"/>
              <a:gd name="connsiteX43" fmla="*/ 4177770 w 4381009"/>
              <a:gd name="connsiteY43" fmla="*/ 5768189 h 5892104"/>
              <a:gd name="connsiteX44" fmla="*/ 4166479 w 4381009"/>
              <a:gd name="connsiteY44" fmla="*/ 5844465 h 5892104"/>
              <a:gd name="connsiteX45" fmla="*/ 4159132 w 4381009"/>
              <a:gd name="connsiteY45" fmla="*/ 5892104 h 5892104"/>
              <a:gd name="connsiteX46" fmla="*/ 0 w 4381009"/>
              <a:gd name="connsiteY46" fmla="*/ 5892104 h 5892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4381009" h="5892104">
                <a:moveTo>
                  <a:pt x="0" y="0"/>
                </a:moveTo>
                <a:lnTo>
                  <a:pt x="4157628" y="0"/>
                </a:lnTo>
                <a:lnTo>
                  <a:pt x="4169302" y="68659"/>
                </a:lnTo>
                <a:lnTo>
                  <a:pt x="4191571" y="205472"/>
                </a:lnTo>
                <a:lnTo>
                  <a:pt x="4213368" y="342890"/>
                </a:lnTo>
                <a:lnTo>
                  <a:pt x="4232030" y="480913"/>
                </a:lnTo>
                <a:lnTo>
                  <a:pt x="4250848" y="618332"/>
                </a:lnTo>
                <a:lnTo>
                  <a:pt x="4268412" y="756355"/>
                </a:lnTo>
                <a:lnTo>
                  <a:pt x="4283467" y="892563"/>
                </a:lnTo>
                <a:lnTo>
                  <a:pt x="4297737" y="1030587"/>
                </a:lnTo>
                <a:lnTo>
                  <a:pt x="4310754" y="1168005"/>
                </a:lnTo>
                <a:lnTo>
                  <a:pt x="4322045" y="1303002"/>
                </a:lnTo>
                <a:lnTo>
                  <a:pt x="4333336" y="1439815"/>
                </a:lnTo>
                <a:lnTo>
                  <a:pt x="4342745" y="1574812"/>
                </a:lnTo>
                <a:lnTo>
                  <a:pt x="4350115" y="1709808"/>
                </a:lnTo>
                <a:lnTo>
                  <a:pt x="4357799" y="1844200"/>
                </a:lnTo>
                <a:lnTo>
                  <a:pt x="4364229" y="1977381"/>
                </a:lnTo>
                <a:lnTo>
                  <a:pt x="4368777" y="2109351"/>
                </a:lnTo>
                <a:lnTo>
                  <a:pt x="4372697" y="2241321"/>
                </a:lnTo>
                <a:lnTo>
                  <a:pt x="4376461" y="2372080"/>
                </a:lnTo>
                <a:lnTo>
                  <a:pt x="4378186" y="2501023"/>
                </a:lnTo>
                <a:lnTo>
                  <a:pt x="4380068" y="2629966"/>
                </a:lnTo>
                <a:lnTo>
                  <a:pt x="4381009" y="2757093"/>
                </a:lnTo>
                <a:lnTo>
                  <a:pt x="4380068" y="2883010"/>
                </a:lnTo>
                <a:lnTo>
                  <a:pt x="4380068" y="3007715"/>
                </a:lnTo>
                <a:lnTo>
                  <a:pt x="4378186" y="3131210"/>
                </a:lnTo>
                <a:lnTo>
                  <a:pt x="4375363" y="3252283"/>
                </a:lnTo>
                <a:lnTo>
                  <a:pt x="4372697" y="3372146"/>
                </a:lnTo>
                <a:lnTo>
                  <a:pt x="4369718" y="3489587"/>
                </a:lnTo>
                <a:lnTo>
                  <a:pt x="4365170" y="3606423"/>
                </a:lnTo>
                <a:lnTo>
                  <a:pt x="4360309" y="3721443"/>
                </a:lnTo>
                <a:lnTo>
                  <a:pt x="4355918" y="3834041"/>
                </a:lnTo>
                <a:lnTo>
                  <a:pt x="4343529" y="4053789"/>
                </a:lnTo>
                <a:lnTo>
                  <a:pt x="4330356" y="4264457"/>
                </a:lnTo>
                <a:lnTo>
                  <a:pt x="4316556" y="4466650"/>
                </a:lnTo>
                <a:lnTo>
                  <a:pt x="4301344" y="4657946"/>
                </a:lnTo>
                <a:lnTo>
                  <a:pt x="4285506" y="4840767"/>
                </a:lnTo>
                <a:lnTo>
                  <a:pt x="4268412" y="5010269"/>
                </a:lnTo>
                <a:lnTo>
                  <a:pt x="4251633" y="5169481"/>
                </a:lnTo>
                <a:lnTo>
                  <a:pt x="4234853" y="5315980"/>
                </a:lnTo>
                <a:lnTo>
                  <a:pt x="4219014" y="5450371"/>
                </a:lnTo>
                <a:lnTo>
                  <a:pt x="4203959" y="5569628"/>
                </a:lnTo>
                <a:lnTo>
                  <a:pt x="4189689" y="5677384"/>
                </a:lnTo>
                <a:lnTo>
                  <a:pt x="4177770" y="5768189"/>
                </a:lnTo>
                <a:lnTo>
                  <a:pt x="4166479" y="5844465"/>
                </a:lnTo>
                <a:lnTo>
                  <a:pt x="4159132" y="5892104"/>
                </a:lnTo>
                <a:lnTo>
                  <a:pt x="0" y="5892104"/>
                </a:lnTo>
                <a:close/>
              </a:path>
            </a:pathLst>
          </a:custGeom>
          <a:solidFill>
            <a:srgbClr val="40404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p:cNvSpPr>
            <a:spLocks noGrp="1"/>
          </p:cNvSpPr>
          <p:nvPr>
            <p:ph type="title"/>
          </p:nvPr>
        </p:nvSpPr>
        <p:spPr>
          <a:xfrm>
            <a:off x="647271" y="759003"/>
            <a:ext cx="2562119" cy="3596556"/>
          </a:xfrm>
        </p:spPr>
        <p:txBody>
          <a:bodyPr>
            <a:normAutofit/>
          </a:bodyPr>
          <a:lstStyle/>
          <a:p>
            <a:r>
              <a:rPr lang="en-US">
                <a:solidFill>
                  <a:srgbClr val="FFFFFF"/>
                </a:solidFill>
              </a:rPr>
              <a:t>Resource Types</a:t>
            </a:r>
          </a:p>
        </p:txBody>
      </p:sp>
      <p:graphicFrame>
        <p:nvGraphicFramePr>
          <p:cNvPr id="4" name="Content Placeholder 3"/>
          <p:cNvGraphicFramePr>
            <a:graphicFrameLocks noGrp="1"/>
          </p:cNvGraphicFramePr>
          <p:nvPr>
            <p:ph idx="1"/>
            <p:extLst>
              <p:ext uri="{D42A27DB-BD31-4B8C-83A1-F6EECF244321}">
                <p14:modId xmlns:p14="http://schemas.microsoft.com/office/powerpoint/2010/main" val="3303243077"/>
              </p:ext>
            </p:extLst>
          </p:nvPr>
        </p:nvGraphicFramePr>
        <p:xfrm>
          <a:off x="3895725" y="353193"/>
          <a:ext cx="4885203" cy="4414069"/>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87235702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3A5B4632-C963-4296-86F0-79AA9EA5AE9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ltGray">
          <a:xfrm>
            <a:off x="253746" y="227693"/>
            <a:ext cx="3251495" cy="4422557"/>
          </a:xfrm>
          <a:prstGeom prst="rect">
            <a:avLst/>
          </a:prstGeom>
          <a:solidFill>
            <a:schemeClr val="tx1">
              <a:lumMod val="75000"/>
              <a:lumOff val="25000"/>
            </a:schemeClr>
          </a:solidFill>
          <a:ln w="127000" cap="sq" cmpd="thinThick">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a:xfrm>
            <a:off x="445770" y="477843"/>
            <a:ext cx="2851707" cy="3942279"/>
          </a:xfrm>
          <a:prstGeom prst="ellipse">
            <a:avLst/>
          </a:prstGeom>
        </p:spPr>
        <p:txBody>
          <a:bodyPr>
            <a:normAutofit/>
          </a:bodyPr>
          <a:lstStyle/>
          <a:p>
            <a:r>
              <a:rPr lang="en-US" sz="3600">
                <a:solidFill>
                  <a:schemeClr val="bg1"/>
                </a:solidFill>
              </a:rPr>
              <a:t>Useful Web Sites</a:t>
            </a:r>
          </a:p>
        </p:txBody>
      </p:sp>
      <p:graphicFrame>
        <p:nvGraphicFramePr>
          <p:cNvPr id="4" name="Content Placeholder 3"/>
          <p:cNvGraphicFramePr>
            <a:graphicFrameLocks noGrp="1"/>
          </p:cNvGraphicFramePr>
          <p:nvPr>
            <p:ph idx="1"/>
            <p:extLst>
              <p:ext uri="{D42A27DB-BD31-4B8C-83A1-F6EECF244321}">
                <p14:modId xmlns:p14="http://schemas.microsoft.com/office/powerpoint/2010/main" val="591963470"/>
              </p:ext>
            </p:extLst>
          </p:nvPr>
        </p:nvGraphicFramePr>
        <p:xfrm>
          <a:off x="3875238" y="227693"/>
          <a:ext cx="4941519" cy="442255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294260992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9" name="Freeform: Shape 8">
            <a:extLst>
              <a:ext uri="{FF2B5EF4-FFF2-40B4-BE49-F238E27FC236}">
                <a16:creationId xmlns:a16="http://schemas.microsoft.com/office/drawing/2014/main" id="{46C2E80F-49A6-4372-B103-219D417A55E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63072" y="353193"/>
            <a:ext cx="3285756" cy="4419078"/>
          </a:xfrm>
          <a:custGeom>
            <a:avLst/>
            <a:gdLst>
              <a:gd name="connsiteX0" fmla="*/ 0 w 4381009"/>
              <a:gd name="connsiteY0" fmla="*/ 0 h 5892104"/>
              <a:gd name="connsiteX1" fmla="*/ 4157628 w 4381009"/>
              <a:gd name="connsiteY1" fmla="*/ 0 h 5892104"/>
              <a:gd name="connsiteX2" fmla="*/ 4169302 w 4381009"/>
              <a:gd name="connsiteY2" fmla="*/ 68659 h 5892104"/>
              <a:gd name="connsiteX3" fmla="*/ 4191571 w 4381009"/>
              <a:gd name="connsiteY3" fmla="*/ 205472 h 5892104"/>
              <a:gd name="connsiteX4" fmla="*/ 4213368 w 4381009"/>
              <a:gd name="connsiteY4" fmla="*/ 342890 h 5892104"/>
              <a:gd name="connsiteX5" fmla="*/ 4232030 w 4381009"/>
              <a:gd name="connsiteY5" fmla="*/ 480913 h 5892104"/>
              <a:gd name="connsiteX6" fmla="*/ 4250848 w 4381009"/>
              <a:gd name="connsiteY6" fmla="*/ 618332 h 5892104"/>
              <a:gd name="connsiteX7" fmla="*/ 4268412 w 4381009"/>
              <a:gd name="connsiteY7" fmla="*/ 756355 h 5892104"/>
              <a:gd name="connsiteX8" fmla="*/ 4283467 w 4381009"/>
              <a:gd name="connsiteY8" fmla="*/ 892563 h 5892104"/>
              <a:gd name="connsiteX9" fmla="*/ 4297737 w 4381009"/>
              <a:gd name="connsiteY9" fmla="*/ 1030587 h 5892104"/>
              <a:gd name="connsiteX10" fmla="*/ 4310754 w 4381009"/>
              <a:gd name="connsiteY10" fmla="*/ 1168005 h 5892104"/>
              <a:gd name="connsiteX11" fmla="*/ 4322045 w 4381009"/>
              <a:gd name="connsiteY11" fmla="*/ 1303002 h 5892104"/>
              <a:gd name="connsiteX12" fmla="*/ 4333336 w 4381009"/>
              <a:gd name="connsiteY12" fmla="*/ 1439815 h 5892104"/>
              <a:gd name="connsiteX13" fmla="*/ 4342745 w 4381009"/>
              <a:gd name="connsiteY13" fmla="*/ 1574812 h 5892104"/>
              <a:gd name="connsiteX14" fmla="*/ 4350115 w 4381009"/>
              <a:gd name="connsiteY14" fmla="*/ 1709808 h 5892104"/>
              <a:gd name="connsiteX15" fmla="*/ 4357799 w 4381009"/>
              <a:gd name="connsiteY15" fmla="*/ 1844200 h 5892104"/>
              <a:gd name="connsiteX16" fmla="*/ 4364229 w 4381009"/>
              <a:gd name="connsiteY16" fmla="*/ 1977381 h 5892104"/>
              <a:gd name="connsiteX17" fmla="*/ 4368777 w 4381009"/>
              <a:gd name="connsiteY17" fmla="*/ 2109351 h 5892104"/>
              <a:gd name="connsiteX18" fmla="*/ 4372697 w 4381009"/>
              <a:gd name="connsiteY18" fmla="*/ 2241321 h 5892104"/>
              <a:gd name="connsiteX19" fmla="*/ 4376461 w 4381009"/>
              <a:gd name="connsiteY19" fmla="*/ 2372080 h 5892104"/>
              <a:gd name="connsiteX20" fmla="*/ 4378186 w 4381009"/>
              <a:gd name="connsiteY20" fmla="*/ 2501023 h 5892104"/>
              <a:gd name="connsiteX21" fmla="*/ 4380068 w 4381009"/>
              <a:gd name="connsiteY21" fmla="*/ 2629966 h 5892104"/>
              <a:gd name="connsiteX22" fmla="*/ 4381009 w 4381009"/>
              <a:gd name="connsiteY22" fmla="*/ 2757093 h 5892104"/>
              <a:gd name="connsiteX23" fmla="*/ 4380068 w 4381009"/>
              <a:gd name="connsiteY23" fmla="*/ 2883010 h 5892104"/>
              <a:gd name="connsiteX24" fmla="*/ 4380068 w 4381009"/>
              <a:gd name="connsiteY24" fmla="*/ 3007715 h 5892104"/>
              <a:gd name="connsiteX25" fmla="*/ 4378186 w 4381009"/>
              <a:gd name="connsiteY25" fmla="*/ 3131210 h 5892104"/>
              <a:gd name="connsiteX26" fmla="*/ 4375363 w 4381009"/>
              <a:gd name="connsiteY26" fmla="*/ 3252283 h 5892104"/>
              <a:gd name="connsiteX27" fmla="*/ 4372697 w 4381009"/>
              <a:gd name="connsiteY27" fmla="*/ 3372146 h 5892104"/>
              <a:gd name="connsiteX28" fmla="*/ 4369718 w 4381009"/>
              <a:gd name="connsiteY28" fmla="*/ 3489587 h 5892104"/>
              <a:gd name="connsiteX29" fmla="*/ 4365170 w 4381009"/>
              <a:gd name="connsiteY29" fmla="*/ 3606423 h 5892104"/>
              <a:gd name="connsiteX30" fmla="*/ 4360309 w 4381009"/>
              <a:gd name="connsiteY30" fmla="*/ 3721443 h 5892104"/>
              <a:gd name="connsiteX31" fmla="*/ 4355918 w 4381009"/>
              <a:gd name="connsiteY31" fmla="*/ 3834041 h 5892104"/>
              <a:gd name="connsiteX32" fmla="*/ 4343529 w 4381009"/>
              <a:gd name="connsiteY32" fmla="*/ 4053789 h 5892104"/>
              <a:gd name="connsiteX33" fmla="*/ 4330356 w 4381009"/>
              <a:gd name="connsiteY33" fmla="*/ 4264457 h 5892104"/>
              <a:gd name="connsiteX34" fmla="*/ 4316556 w 4381009"/>
              <a:gd name="connsiteY34" fmla="*/ 4466650 h 5892104"/>
              <a:gd name="connsiteX35" fmla="*/ 4301344 w 4381009"/>
              <a:gd name="connsiteY35" fmla="*/ 4657946 h 5892104"/>
              <a:gd name="connsiteX36" fmla="*/ 4285506 w 4381009"/>
              <a:gd name="connsiteY36" fmla="*/ 4840767 h 5892104"/>
              <a:gd name="connsiteX37" fmla="*/ 4268412 w 4381009"/>
              <a:gd name="connsiteY37" fmla="*/ 5010269 h 5892104"/>
              <a:gd name="connsiteX38" fmla="*/ 4251633 w 4381009"/>
              <a:gd name="connsiteY38" fmla="*/ 5169481 h 5892104"/>
              <a:gd name="connsiteX39" fmla="*/ 4234853 w 4381009"/>
              <a:gd name="connsiteY39" fmla="*/ 5315980 h 5892104"/>
              <a:gd name="connsiteX40" fmla="*/ 4219014 w 4381009"/>
              <a:gd name="connsiteY40" fmla="*/ 5450371 h 5892104"/>
              <a:gd name="connsiteX41" fmla="*/ 4203959 w 4381009"/>
              <a:gd name="connsiteY41" fmla="*/ 5569628 h 5892104"/>
              <a:gd name="connsiteX42" fmla="*/ 4189689 w 4381009"/>
              <a:gd name="connsiteY42" fmla="*/ 5677384 h 5892104"/>
              <a:gd name="connsiteX43" fmla="*/ 4177770 w 4381009"/>
              <a:gd name="connsiteY43" fmla="*/ 5768189 h 5892104"/>
              <a:gd name="connsiteX44" fmla="*/ 4166479 w 4381009"/>
              <a:gd name="connsiteY44" fmla="*/ 5844465 h 5892104"/>
              <a:gd name="connsiteX45" fmla="*/ 4159132 w 4381009"/>
              <a:gd name="connsiteY45" fmla="*/ 5892104 h 5892104"/>
              <a:gd name="connsiteX46" fmla="*/ 0 w 4381009"/>
              <a:gd name="connsiteY46" fmla="*/ 5892104 h 5892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4381009" h="5892104">
                <a:moveTo>
                  <a:pt x="0" y="0"/>
                </a:moveTo>
                <a:lnTo>
                  <a:pt x="4157628" y="0"/>
                </a:lnTo>
                <a:lnTo>
                  <a:pt x="4169302" y="68659"/>
                </a:lnTo>
                <a:lnTo>
                  <a:pt x="4191571" y="205472"/>
                </a:lnTo>
                <a:lnTo>
                  <a:pt x="4213368" y="342890"/>
                </a:lnTo>
                <a:lnTo>
                  <a:pt x="4232030" y="480913"/>
                </a:lnTo>
                <a:lnTo>
                  <a:pt x="4250848" y="618332"/>
                </a:lnTo>
                <a:lnTo>
                  <a:pt x="4268412" y="756355"/>
                </a:lnTo>
                <a:lnTo>
                  <a:pt x="4283467" y="892563"/>
                </a:lnTo>
                <a:lnTo>
                  <a:pt x="4297737" y="1030587"/>
                </a:lnTo>
                <a:lnTo>
                  <a:pt x="4310754" y="1168005"/>
                </a:lnTo>
                <a:lnTo>
                  <a:pt x="4322045" y="1303002"/>
                </a:lnTo>
                <a:lnTo>
                  <a:pt x="4333336" y="1439815"/>
                </a:lnTo>
                <a:lnTo>
                  <a:pt x="4342745" y="1574812"/>
                </a:lnTo>
                <a:lnTo>
                  <a:pt x="4350115" y="1709808"/>
                </a:lnTo>
                <a:lnTo>
                  <a:pt x="4357799" y="1844200"/>
                </a:lnTo>
                <a:lnTo>
                  <a:pt x="4364229" y="1977381"/>
                </a:lnTo>
                <a:lnTo>
                  <a:pt x="4368777" y="2109351"/>
                </a:lnTo>
                <a:lnTo>
                  <a:pt x="4372697" y="2241321"/>
                </a:lnTo>
                <a:lnTo>
                  <a:pt x="4376461" y="2372080"/>
                </a:lnTo>
                <a:lnTo>
                  <a:pt x="4378186" y="2501023"/>
                </a:lnTo>
                <a:lnTo>
                  <a:pt x="4380068" y="2629966"/>
                </a:lnTo>
                <a:lnTo>
                  <a:pt x="4381009" y="2757093"/>
                </a:lnTo>
                <a:lnTo>
                  <a:pt x="4380068" y="2883010"/>
                </a:lnTo>
                <a:lnTo>
                  <a:pt x="4380068" y="3007715"/>
                </a:lnTo>
                <a:lnTo>
                  <a:pt x="4378186" y="3131210"/>
                </a:lnTo>
                <a:lnTo>
                  <a:pt x="4375363" y="3252283"/>
                </a:lnTo>
                <a:lnTo>
                  <a:pt x="4372697" y="3372146"/>
                </a:lnTo>
                <a:lnTo>
                  <a:pt x="4369718" y="3489587"/>
                </a:lnTo>
                <a:lnTo>
                  <a:pt x="4365170" y="3606423"/>
                </a:lnTo>
                <a:lnTo>
                  <a:pt x="4360309" y="3721443"/>
                </a:lnTo>
                <a:lnTo>
                  <a:pt x="4355918" y="3834041"/>
                </a:lnTo>
                <a:lnTo>
                  <a:pt x="4343529" y="4053789"/>
                </a:lnTo>
                <a:lnTo>
                  <a:pt x="4330356" y="4264457"/>
                </a:lnTo>
                <a:lnTo>
                  <a:pt x="4316556" y="4466650"/>
                </a:lnTo>
                <a:lnTo>
                  <a:pt x="4301344" y="4657946"/>
                </a:lnTo>
                <a:lnTo>
                  <a:pt x="4285506" y="4840767"/>
                </a:lnTo>
                <a:lnTo>
                  <a:pt x="4268412" y="5010269"/>
                </a:lnTo>
                <a:lnTo>
                  <a:pt x="4251633" y="5169481"/>
                </a:lnTo>
                <a:lnTo>
                  <a:pt x="4234853" y="5315980"/>
                </a:lnTo>
                <a:lnTo>
                  <a:pt x="4219014" y="5450371"/>
                </a:lnTo>
                <a:lnTo>
                  <a:pt x="4203959" y="5569628"/>
                </a:lnTo>
                <a:lnTo>
                  <a:pt x="4189689" y="5677384"/>
                </a:lnTo>
                <a:lnTo>
                  <a:pt x="4177770" y="5768189"/>
                </a:lnTo>
                <a:lnTo>
                  <a:pt x="4166479" y="5844465"/>
                </a:lnTo>
                <a:lnTo>
                  <a:pt x="4159132" y="5892104"/>
                </a:lnTo>
                <a:lnTo>
                  <a:pt x="0" y="5892104"/>
                </a:lnTo>
                <a:close/>
              </a:path>
            </a:pathLst>
          </a:custGeom>
          <a:solidFill>
            <a:srgbClr val="40404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p:cNvSpPr>
            <a:spLocks noGrp="1"/>
          </p:cNvSpPr>
          <p:nvPr>
            <p:ph type="title"/>
          </p:nvPr>
        </p:nvSpPr>
        <p:spPr>
          <a:xfrm>
            <a:off x="647271" y="759003"/>
            <a:ext cx="2562119" cy="3596556"/>
          </a:xfrm>
        </p:spPr>
        <p:txBody>
          <a:bodyPr>
            <a:normAutofit/>
          </a:bodyPr>
          <a:lstStyle/>
          <a:p>
            <a:r>
              <a:rPr lang="en-US" dirty="0">
                <a:solidFill>
                  <a:srgbClr val="FFFFFF"/>
                </a:solidFill>
              </a:rPr>
              <a:t>My Training Resources</a:t>
            </a:r>
            <a:br>
              <a:rPr lang="en-US" dirty="0">
                <a:solidFill>
                  <a:srgbClr val="FFFFFF"/>
                </a:solidFill>
              </a:rPr>
            </a:br>
            <a:br>
              <a:rPr lang="en-US" dirty="0">
                <a:solidFill>
                  <a:srgbClr val="FFFFFF"/>
                </a:solidFill>
              </a:rPr>
            </a:br>
            <a:r>
              <a:rPr lang="en-US" sz="2400" dirty="0">
                <a:solidFill>
                  <a:srgbClr val="FFFFFF"/>
                </a:solidFill>
              </a:rPr>
              <a:t>xrmcoaches.com</a:t>
            </a:r>
            <a:endParaRPr lang="en-US" dirty="0">
              <a:solidFill>
                <a:srgbClr val="FFFFFF"/>
              </a:solidFill>
            </a:endParaRPr>
          </a:p>
        </p:txBody>
      </p:sp>
      <p:graphicFrame>
        <p:nvGraphicFramePr>
          <p:cNvPr id="4" name="Content Placeholder 3"/>
          <p:cNvGraphicFramePr>
            <a:graphicFrameLocks noGrp="1"/>
          </p:cNvGraphicFramePr>
          <p:nvPr>
            <p:ph idx="1"/>
            <p:extLst>
              <p:ext uri="{D42A27DB-BD31-4B8C-83A1-F6EECF244321}">
                <p14:modId xmlns:p14="http://schemas.microsoft.com/office/powerpoint/2010/main" val="1595614451"/>
              </p:ext>
            </p:extLst>
          </p:nvPr>
        </p:nvGraphicFramePr>
        <p:xfrm>
          <a:off x="3895725" y="353193"/>
          <a:ext cx="4885203" cy="4414069"/>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419487613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A4AC5506-6312-4701-8D3C-40187889A94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488814"/>
            <a:ext cx="9144000" cy="552413"/>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a:xfrm>
            <a:off x="417399" y="482600"/>
            <a:ext cx="8408193" cy="558627"/>
          </a:xfrm>
        </p:spPr>
        <p:txBody>
          <a:bodyPr vert="horz" lIns="91440" tIns="45720" rIns="91440" bIns="45720" rtlCol="0" anchor="ctr">
            <a:normAutofit/>
          </a:bodyPr>
          <a:lstStyle/>
          <a:p>
            <a:pPr>
              <a:lnSpc>
                <a:spcPct val="90000"/>
              </a:lnSpc>
            </a:pPr>
            <a:r>
              <a:rPr lang="en-US" sz="2400" kern="1200">
                <a:solidFill>
                  <a:schemeClr val="bg1"/>
                </a:solidFill>
                <a:latin typeface="+mj-lt"/>
                <a:ea typeface="+mj-ea"/>
                <a:cs typeface="+mj-cs"/>
              </a:rPr>
              <a:t>Help &amp; Training</a:t>
            </a:r>
          </a:p>
        </p:txBody>
      </p:sp>
      <p:pic>
        <p:nvPicPr>
          <p:cNvPr id="3" name="Picture 2">
            <a:extLst>
              <a:ext uri="{FF2B5EF4-FFF2-40B4-BE49-F238E27FC236}">
                <a16:creationId xmlns:a16="http://schemas.microsoft.com/office/drawing/2014/main" id="{7FF4D62A-4681-4E14-B7D4-EFBE2FF02103}"/>
              </a:ext>
            </a:extLst>
          </p:cNvPr>
          <p:cNvPicPr>
            <a:picLocks noChangeAspect="1"/>
          </p:cNvPicPr>
          <p:nvPr/>
        </p:nvPicPr>
        <p:blipFill>
          <a:blip r:embed="rId2"/>
          <a:stretch>
            <a:fillRect/>
          </a:stretch>
        </p:blipFill>
        <p:spPr>
          <a:xfrm>
            <a:off x="1363579" y="1256419"/>
            <a:ext cx="6416842" cy="3657600"/>
          </a:xfrm>
          <a:prstGeom prst="rect">
            <a:avLst/>
          </a:prstGeom>
        </p:spPr>
      </p:pic>
    </p:spTree>
    <p:extLst>
      <p:ext uri="{BB962C8B-B14F-4D97-AF65-F5344CB8AC3E}">
        <p14:creationId xmlns:p14="http://schemas.microsoft.com/office/powerpoint/2010/main" val="231807904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0" name="Rectangle 9">
            <a:extLst>
              <a:ext uri="{FF2B5EF4-FFF2-40B4-BE49-F238E27FC236}">
                <a16:creationId xmlns:a16="http://schemas.microsoft.com/office/drawing/2014/main" id="{F4C0B10B-D2C4-4A54-AFAD-3D27DF88BB3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9141714" cy="51435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2" name="Group 11">
            <a:extLst>
              <a:ext uri="{FF2B5EF4-FFF2-40B4-BE49-F238E27FC236}">
                <a16:creationId xmlns:a16="http://schemas.microsoft.com/office/drawing/2014/main" id="{B6BADB90-C74B-40D6-86DC-503F65FCE8DC}"/>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a:off x="307282" y="476786"/>
            <a:ext cx="8356656" cy="1861602"/>
            <a:chOff x="409710" y="635715"/>
            <a:chExt cx="11142208" cy="2482136"/>
          </a:xfrm>
        </p:grpSpPr>
        <p:sp>
          <p:nvSpPr>
            <p:cNvPr id="13" name="Freeform 44">
              <a:extLst>
                <a:ext uri="{FF2B5EF4-FFF2-40B4-BE49-F238E27FC236}">
                  <a16:creationId xmlns:a16="http://schemas.microsoft.com/office/drawing/2014/main" id="{6559431D-1886-4AE0-9B87-9AD2ECAB8439}"/>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11223203" y="635716"/>
              <a:ext cx="328612" cy="1742360"/>
            </a:xfrm>
            <a:custGeom>
              <a:avLst/>
              <a:gdLst>
                <a:gd name="T0" fmla="*/ 207 w 207"/>
                <a:gd name="T1" fmla="*/ 987 h 1114"/>
                <a:gd name="T2" fmla="*/ 0 w 207"/>
                <a:gd name="T3" fmla="*/ 1114 h 1114"/>
                <a:gd name="T4" fmla="*/ 0 w 207"/>
                <a:gd name="T5" fmla="*/ 127 h 1114"/>
                <a:gd name="T6" fmla="*/ 207 w 207"/>
                <a:gd name="T7" fmla="*/ 0 h 1114"/>
                <a:gd name="T8" fmla="*/ 207 w 207"/>
                <a:gd name="T9" fmla="*/ 987 h 1114"/>
              </a:gdLst>
              <a:ahLst/>
              <a:cxnLst>
                <a:cxn ang="0">
                  <a:pos x="T0" y="T1"/>
                </a:cxn>
                <a:cxn ang="0">
                  <a:pos x="T2" y="T3"/>
                </a:cxn>
                <a:cxn ang="0">
                  <a:pos x="T4" y="T5"/>
                </a:cxn>
                <a:cxn ang="0">
                  <a:pos x="T6" y="T7"/>
                </a:cxn>
                <a:cxn ang="0">
                  <a:pos x="T8" y="T9"/>
                </a:cxn>
              </a:cxnLst>
              <a:rect l="0" t="0" r="r" b="b"/>
              <a:pathLst>
                <a:path w="207" h="1114">
                  <a:moveTo>
                    <a:pt x="207" y="987"/>
                  </a:moveTo>
                  <a:lnTo>
                    <a:pt x="0" y="1114"/>
                  </a:lnTo>
                  <a:lnTo>
                    <a:pt x="0" y="127"/>
                  </a:lnTo>
                  <a:lnTo>
                    <a:pt x="207" y="0"/>
                  </a:lnTo>
                  <a:lnTo>
                    <a:pt x="207" y="987"/>
                  </a:lnTo>
                  <a:close/>
                </a:path>
              </a:pathLst>
            </a:custGeom>
            <a:solidFill>
              <a:schemeClr val="accent1">
                <a:lumMod val="5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14" name="Freeform 45">
              <a:extLst>
                <a:ext uri="{FF2B5EF4-FFF2-40B4-BE49-F238E27FC236}">
                  <a16:creationId xmlns:a16="http://schemas.microsoft.com/office/drawing/2014/main" id="{373850A5-B04A-4FCD-9E73-EE322167FB31}"/>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409710" y="1022350"/>
              <a:ext cx="709612" cy="2095501"/>
            </a:xfrm>
            <a:custGeom>
              <a:avLst/>
              <a:gdLst>
                <a:gd name="T0" fmla="*/ 447 w 447"/>
                <a:gd name="T1" fmla="*/ 1363 h 1363"/>
                <a:gd name="T2" fmla="*/ 0 w 447"/>
                <a:gd name="T3" fmla="*/ 987 h 1363"/>
                <a:gd name="T4" fmla="*/ 0 w 447"/>
                <a:gd name="T5" fmla="*/ 0 h 1363"/>
                <a:gd name="T6" fmla="*/ 447 w 447"/>
                <a:gd name="T7" fmla="*/ 376 h 1363"/>
                <a:gd name="T8" fmla="*/ 447 w 447"/>
                <a:gd name="T9" fmla="*/ 1363 h 1363"/>
              </a:gdLst>
              <a:ahLst/>
              <a:cxnLst>
                <a:cxn ang="0">
                  <a:pos x="T0" y="T1"/>
                </a:cxn>
                <a:cxn ang="0">
                  <a:pos x="T2" y="T3"/>
                </a:cxn>
                <a:cxn ang="0">
                  <a:pos x="T4" y="T5"/>
                </a:cxn>
                <a:cxn ang="0">
                  <a:pos x="T6" y="T7"/>
                </a:cxn>
                <a:cxn ang="0">
                  <a:pos x="T8" y="T9"/>
                </a:cxn>
              </a:cxnLst>
              <a:rect l="0" t="0" r="r" b="b"/>
              <a:pathLst>
                <a:path w="447" h="1363">
                  <a:moveTo>
                    <a:pt x="447" y="1363"/>
                  </a:moveTo>
                  <a:lnTo>
                    <a:pt x="0" y="987"/>
                  </a:lnTo>
                  <a:lnTo>
                    <a:pt x="0" y="0"/>
                  </a:lnTo>
                  <a:lnTo>
                    <a:pt x="447" y="376"/>
                  </a:lnTo>
                  <a:lnTo>
                    <a:pt x="447" y="1363"/>
                  </a:lnTo>
                  <a:close/>
                </a:path>
              </a:pathLst>
            </a:custGeom>
            <a:solidFill>
              <a:schemeClr val="accent1">
                <a:lumMod val="5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15" name="Freeform 46">
              <a:extLst>
                <a:ext uri="{FF2B5EF4-FFF2-40B4-BE49-F238E27FC236}">
                  <a16:creationId xmlns:a16="http://schemas.microsoft.com/office/drawing/2014/main" id="{82C18C67-80FA-4738-AA53-0AF2419F98E0}"/>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409710" y="837744"/>
              <a:ext cx="403225" cy="1705431"/>
            </a:xfrm>
            <a:custGeom>
              <a:avLst/>
              <a:gdLst>
                <a:gd name="T0" fmla="*/ 254 w 254"/>
                <a:gd name="T1" fmla="*/ 987 h 1109"/>
                <a:gd name="T2" fmla="*/ 0 w 254"/>
                <a:gd name="T3" fmla="*/ 1109 h 1109"/>
                <a:gd name="T4" fmla="*/ 0 w 254"/>
                <a:gd name="T5" fmla="*/ 119 h 1109"/>
                <a:gd name="T6" fmla="*/ 254 w 254"/>
                <a:gd name="T7" fmla="*/ 0 h 1109"/>
                <a:gd name="T8" fmla="*/ 254 w 254"/>
                <a:gd name="T9" fmla="*/ 987 h 1109"/>
              </a:gdLst>
              <a:ahLst/>
              <a:cxnLst>
                <a:cxn ang="0">
                  <a:pos x="T0" y="T1"/>
                </a:cxn>
                <a:cxn ang="0">
                  <a:pos x="T2" y="T3"/>
                </a:cxn>
                <a:cxn ang="0">
                  <a:pos x="T4" y="T5"/>
                </a:cxn>
                <a:cxn ang="0">
                  <a:pos x="T6" y="T7"/>
                </a:cxn>
                <a:cxn ang="0">
                  <a:pos x="T8" y="T9"/>
                </a:cxn>
              </a:cxnLst>
              <a:rect l="0" t="0" r="r" b="b"/>
              <a:pathLst>
                <a:path w="254" h="1109">
                  <a:moveTo>
                    <a:pt x="254" y="987"/>
                  </a:moveTo>
                  <a:lnTo>
                    <a:pt x="0" y="1109"/>
                  </a:lnTo>
                  <a:lnTo>
                    <a:pt x="0" y="119"/>
                  </a:lnTo>
                  <a:lnTo>
                    <a:pt x="254" y="0"/>
                  </a:lnTo>
                  <a:lnTo>
                    <a:pt x="254" y="987"/>
                  </a:lnTo>
                  <a:close/>
                </a:path>
              </a:pathLst>
            </a:cu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16" name="Freeform 47">
              <a:extLst>
                <a:ext uri="{FF2B5EF4-FFF2-40B4-BE49-F238E27FC236}">
                  <a16:creationId xmlns:a16="http://schemas.microsoft.com/office/drawing/2014/main" id="{48543B1A-8BF5-4C63-8404-41B2EA70B33E}"/>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644660" y="640894"/>
              <a:ext cx="168275" cy="1713195"/>
            </a:xfrm>
            <a:custGeom>
              <a:avLst/>
              <a:gdLst>
                <a:gd name="T0" fmla="*/ 106 w 106"/>
                <a:gd name="T1" fmla="*/ 1114 h 1114"/>
                <a:gd name="T2" fmla="*/ 0 w 106"/>
                <a:gd name="T3" fmla="*/ 1005 h 1114"/>
                <a:gd name="T4" fmla="*/ 0 w 106"/>
                <a:gd name="T5" fmla="*/ 0 h 1114"/>
                <a:gd name="T6" fmla="*/ 106 w 106"/>
                <a:gd name="T7" fmla="*/ 110 h 1114"/>
                <a:gd name="T8" fmla="*/ 106 w 106"/>
                <a:gd name="T9" fmla="*/ 1114 h 1114"/>
              </a:gdLst>
              <a:ahLst/>
              <a:cxnLst>
                <a:cxn ang="0">
                  <a:pos x="T0" y="T1"/>
                </a:cxn>
                <a:cxn ang="0">
                  <a:pos x="T2" y="T3"/>
                </a:cxn>
                <a:cxn ang="0">
                  <a:pos x="T4" y="T5"/>
                </a:cxn>
                <a:cxn ang="0">
                  <a:pos x="T6" y="T7"/>
                </a:cxn>
                <a:cxn ang="0">
                  <a:pos x="T8" y="T9"/>
                </a:cxn>
              </a:cxnLst>
              <a:rect l="0" t="0" r="r" b="b"/>
              <a:pathLst>
                <a:path w="106" h="1114">
                  <a:moveTo>
                    <a:pt x="106" y="1114"/>
                  </a:moveTo>
                  <a:lnTo>
                    <a:pt x="0" y="1005"/>
                  </a:lnTo>
                  <a:lnTo>
                    <a:pt x="0" y="0"/>
                  </a:lnTo>
                  <a:lnTo>
                    <a:pt x="106" y="110"/>
                  </a:lnTo>
                  <a:lnTo>
                    <a:pt x="106" y="1114"/>
                  </a:lnTo>
                  <a:close/>
                </a:path>
              </a:pathLst>
            </a:custGeom>
            <a:solidFill>
              <a:schemeClr val="accent1">
                <a:lumMod val="5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17" name="Rectangle 16">
              <a:extLst>
                <a:ext uri="{FF2B5EF4-FFF2-40B4-BE49-F238E27FC236}">
                  <a16:creationId xmlns:a16="http://schemas.microsoft.com/office/drawing/2014/main" id="{92DF5096-E051-498C-A3ED-CBA77A813AAC}"/>
                </a:ext>
                <a:ext uri="{C183D7F6-B498-43B3-948B-1728B52AA6E4}">
                  <adec:decorative xmlns:adec="http://schemas.microsoft.com/office/drawing/2017/decorative" val="1"/>
                </a:ext>
              </a:extLst>
            </p:cNvPr>
            <p:cNvSpPr>
              <a:spLocks noChangeArrowheads="1"/>
            </p:cNvSpPr>
            <p:nvPr>
              <p:extLst>
                <p:ext uri="{386F3935-93C4-4BCD-93E2-E3B085C9AB24}">
                  <p16:designElem xmlns:p16="http://schemas.microsoft.com/office/powerpoint/2015/main" val="1"/>
                </p:ext>
              </p:extLst>
            </p:nvPr>
          </p:nvSpPr>
          <p:spPr bwMode="auto">
            <a:xfrm>
              <a:off x="644055" y="635715"/>
              <a:ext cx="10907863" cy="1541457"/>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US"/>
            </a:p>
          </p:txBody>
        </p:sp>
      </p:grpSp>
      <p:sp>
        <p:nvSpPr>
          <p:cNvPr id="2" name="Title 1"/>
          <p:cNvSpPr>
            <a:spLocks noGrp="1"/>
          </p:cNvSpPr>
          <p:nvPr>
            <p:ph type="title"/>
          </p:nvPr>
        </p:nvSpPr>
        <p:spPr>
          <a:xfrm>
            <a:off x="785460" y="569853"/>
            <a:ext cx="7729890" cy="994173"/>
          </a:xfrm>
        </p:spPr>
        <p:txBody>
          <a:bodyPr>
            <a:normAutofit/>
          </a:bodyPr>
          <a:lstStyle/>
          <a:p>
            <a:r>
              <a:rPr lang="en-US" sz="3000">
                <a:solidFill>
                  <a:srgbClr val="FFFFFF"/>
                </a:solidFill>
              </a:rPr>
              <a:t>Mitch Milam</a:t>
            </a:r>
          </a:p>
        </p:txBody>
      </p:sp>
      <p:pic>
        <p:nvPicPr>
          <p:cNvPr id="4" name="Picture 3"/>
          <p:cNvPicPr>
            <a:picLocks noChangeAspect="1"/>
          </p:cNvPicPr>
          <p:nvPr/>
        </p:nvPicPr>
        <p:blipFill rotWithShape="1">
          <a:blip r:embed="rId3">
            <a:extLst>
              <a:ext uri="{28A0092B-C50C-407E-A947-70E740481C1C}">
                <a14:useLocalDpi xmlns:a14="http://schemas.microsoft.com/office/drawing/2010/main" val="0"/>
              </a:ext>
            </a:extLst>
          </a:blip>
          <a:srcRect l="3998" r="1999"/>
          <a:stretch/>
        </p:blipFill>
        <p:spPr>
          <a:xfrm>
            <a:off x="4574169" y="1869282"/>
            <a:ext cx="3601803" cy="2672529"/>
          </a:xfrm>
          <a:prstGeom prst="rect">
            <a:avLst/>
          </a:prstGeom>
          <a:solidFill>
            <a:srgbClr val="FFFFFF">
              <a:shade val="85000"/>
            </a:srgbClr>
          </a:solidFill>
          <a:scene3d>
            <a:camera prst="orthographicFront"/>
            <a:lightRig rig="twoPt" dir="t">
              <a:rot lat="0" lon="0" rev="7200000"/>
            </a:lightRig>
          </a:scene3d>
          <a:sp3d>
            <a:bevelT w="25400" h="19050"/>
            <a:contourClr>
              <a:srgbClr val="FFFFFF"/>
            </a:contourClr>
          </a:sp3d>
        </p:spPr>
      </p:pic>
      <p:graphicFrame>
        <p:nvGraphicFramePr>
          <p:cNvPr id="5" name="Content Placeholder 4"/>
          <p:cNvGraphicFramePr>
            <a:graphicFrameLocks noGrp="1"/>
          </p:cNvGraphicFramePr>
          <p:nvPr>
            <p:ph idx="1"/>
            <p:extLst>
              <p:ext uri="{D42A27DB-BD31-4B8C-83A1-F6EECF244321}">
                <p14:modId xmlns:p14="http://schemas.microsoft.com/office/powerpoint/2010/main" val="1737235738"/>
              </p:ext>
            </p:extLst>
          </p:nvPr>
        </p:nvGraphicFramePr>
        <p:xfrm>
          <a:off x="1068678" y="1870837"/>
          <a:ext cx="3040158" cy="2672369"/>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pic>
        <p:nvPicPr>
          <p:cNvPr id="2054" name="Picture 6">
            <a:extLst>
              <a:ext uri="{FF2B5EF4-FFF2-40B4-BE49-F238E27FC236}">
                <a16:creationId xmlns:a16="http://schemas.microsoft.com/office/drawing/2014/main" id="{687D8780-3306-439C-832E-44D15B7AFA82}"/>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1849847" y="4339590"/>
            <a:ext cx="1477819" cy="36576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68336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2A8AA5BC-4F7A-4226-8F99-6D824B226A9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2493"/>
            <a:ext cx="9144000" cy="5145993"/>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3E5445C6-DD42-4979-86FF-03730E8C6DB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ltGray">
          <a:xfrm>
            <a:off x="241300" y="241299"/>
            <a:ext cx="8680116" cy="4660901"/>
          </a:xfrm>
          <a:prstGeom prst="rect">
            <a:avLst/>
          </a:prstGeom>
          <a:solidFill>
            <a:schemeClr val="bg1">
              <a:lumMod val="75000"/>
              <a:lumOff val="25000"/>
            </a:schemeClr>
          </a:solidFill>
          <a:ln w="127000" cap="sq" cmpd="thinThick">
            <a:solidFill>
              <a:schemeClr val="bg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25E5DA1D-BB45-4F00-BD64-315E5F236867}"/>
              </a:ext>
            </a:extLst>
          </p:cNvPr>
          <p:cNvSpPr>
            <a:spLocks noGrp="1"/>
          </p:cNvSpPr>
          <p:nvPr>
            <p:ph type="ctrTitle"/>
          </p:nvPr>
        </p:nvSpPr>
        <p:spPr>
          <a:xfrm>
            <a:off x="1143000" y="841771"/>
            <a:ext cx="6858000" cy="2130028"/>
          </a:xfrm>
        </p:spPr>
        <p:txBody>
          <a:bodyPr>
            <a:normAutofit/>
          </a:bodyPr>
          <a:lstStyle/>
          <a:p>
            <a:r>
              <a:rPr lang="en-US" dirty="0">
                <a:solidFill>
                  <a:schemeClr val="tx1"/>
                </a:solidFill>
              </a:rPr>
              <a:t>Define Your Path</a:t>
            </a:r>
          </a:p>
        </p:txBody>
      </p:sp>
      <p:sp>
        <p:nvSpPr>
          <p:cNvPr id="3" name="Subtitle 2">
            <a:extLst>
              <a:ext uri="{FF2B5EF4-FFF2-40B4-BE49-F238E27FC236}">
                <a16:creationId xmlns:a16="http://schemas.microsoft.com/office/drawing/2014/main" id="{CB7C4C92-DE7E-49CD-9102-96AD256AC253}"/>
              </a:ext>
            </a:extLst>
          </p:cNvPr>
          <p:cNvSpPr>
            <a:spLocks noGrp="1"/>
          </p:cNvSpPr>
          <p:nvPr>
            <p:ph type="subTitle" idx="1"/>
          </p:nvPr>
        </p:nvSpPr>
        <p:spPr>
          <a:xfrm>
            <a:off x="1143000" y="3192327"/>
            <a:ext cx="6858000" cy="1200613"/>
          </a:xfrm>
        </p:spPr>
        <p:txBody>
          <a:bodyPr>
            <a:normAutofit/>
          </a:bodyPr>
          <a:lstStyle/>
          <a:p>
            <a:endParaRPr lang="en-US" dirty="0">
              <a:solidFill>
                <a:schemeClr val="accent1">
                  <a:lumMod val="60000"/>
                  <a:lumOff val="40000"/>
                </a:schemeClr>
              </a:solidFill>
            </a:endParaRPr>
          </a:p>
        </p:txBody>
      </p:sp>
      <p:cxnSp>
        <p:nvCxnSpPr>
          <p:cNvPr id="12" name="Straight Connector 11">
            <a:extLst>
              <a:ext uri="{FF2B5EF4-FFF2-40B4-BE49-F238E27FC236}">
                <a16:creationId xmlns:a16="http://schemas.microsoft.com/office/drawing/2014/main" id="{45000665-DFC7-417E-8FD7-516A0F15C975}"/>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3543300" y="3082062"/>
            <a:ext cx="2057400" cy="0"/>
          </a:xfrm>
          <a:prstGeom prst="line">
            <a:avLst/>
          </a:prstGeom>
          <a:ln w="12700">
            <a:solidFill>
              <a:schemeClr val="tx1">
                <a:lumMod val="8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204085"/>
      </p:ext>
    </p:extLst>
  </p:cSld>
  <p:clrMapOvr>
    <a:overrideClrMapping bg1="dk1" tx1="lt1" bg2="dk2" tx2="lt2" accent1="accent1" accent2="accent2" accent3="accent3" accent4="accent4" accent5="accent5" accent6="accent6" hlink="hlink" folHlink="folHlink"/>
  </p:clrMapOvr>
</p:sld>
</file>

<file path=ppt/slides/slide2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9" name="Freeform: Shape 8">
            <a:extLst>
              <a:ext uri="{FF2B5EF4-FFF2-40B4-BE49-F238E27FC236}">
                <a16:creationId xmlns:a16="http://schemas.microsoft.com/office/drawing/2014/main" id="{46C2E80F-49A6-4372-B103-219D417A55E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63072" y="353193"/>
            <a:ext cx="3285756" cy="4419078"/>
          </a:xfrm>
          <a:custGeom>
            <a:avLst/>
            <a:gdLst>
              <a:gd name="connsiteX0" fmla="*/ 0 w 4381009"/>
              <a:gd name="connsiteY0" fmla="*/ 0 h 5892104"/>
              <a:gd name="connsiteX1" fmla="*/ 4157628 w 4381009"/>
              <a:gd name="connsiteY1" fmla="*/ 0 h 5892104"/>
              <a:gd name="connsiteX2" fmla="*/ 4169302 w 4381009"/>
              <a:gd name="connsiteY2" fmla="*/ 68659 h 5892104"/>
              <a:gd name="connsiteX3" fmla="*/ 4191571 w 4381009"/>
              <a:gd name="connsiteY3" fmla="*/ 205472 h 5892104"/>
              <a:gd name="connsiteX4" fmla="*/ 4213368 w 4381009"/>
              <a:gd name="connsiteY4" fmla="*/ 342890 h 5892104"/>
              <a:gd name="connsiteX5" fmla="*/ 4232030 w 4381009"/>
              <a:gd name="connsiteY5" fmla="*/ 480913 h 5892104"/>
              <a:gd name="connsiteX6" fmla="*/ 4250848 w 4381009"/>
              <a:gd name="connsiteY6" fmla="*/ 618332 h 5892104"/>
              <a:gd name="connsiteX7" fmla="*/ 4268412 w 4381009"/>
              <a:gd name="connsiteY7" fmla="*/ 756355 h 5892104"/>
              <a:gd name="connsiteX8" fmla="*/ 4283467 w 4381009"/>
              <a:gd name="connsiteY8" fmla="*/ 892563 h 5892104"/>
              <a:gd name="connsiteX9" fmla="*/ 4297737 w 4381009"/>
              <a:gd name="connsiteY9" fmla="*/ 1030587 h 5892104"/>
              <a:gd name="connsiteX10" fmla="*/ 4310754 w 4381009"/>
              <a:gd name="connsiteY10" fmla="*/ 1168005 h 5892104"/>
              <a:gd name="connsiteX11" fmla="*/ 4322045 w 4381009"/>
              <a:gd name="connsiteY11" fmla="*/ 1303002 h 5892104"/>
              <a:gd name="connsiteX12" fmla="*/ 4333336 w 4381009"/>
              <a:gd name="connsiteY12" fmla="*/ 1439815 h 5892104"/>
              <a:gd name="connsiteX13" fmla="*/ 4342745 w 4381009"/>
              <a:gd name="connsiteY13" fmla="*/ 1574812 h 5892104"/>
              <a:gd name="connsiteX14" fmla="*/ 4350115 w 4381009"/>
              <a:gd name="connsiteY14" fmla="*/ 1709808 h 5892104"/>
              <a:gd name="connsiteX15" fmla="*/ 4357799 w 4381009"/>
              <a:gd name="connsiteY15" fmla="*/ 1844200 h 5892104"/>
              <a:gd name="connsiteX16" fmla="*/ 4364229 w 4381009"/>
              <a:gd name="connsiteY16" fmla="*/ 1977381 h 5892104"/>
              <a:gd name="connsiteX17" fmla="*/ 4368777 w 4381009"/>
              <a:gd name="connsiteY17" fmla="*/ 2109351 h 5892104"/>
              <a:gd name="connsiteX18" fmla="*/ 4372697 w 4381009"/>
              <a:gd name="connsiteY18" fmla="*/ 2241321 h 5892104"/>
              <a:gd name="connsiteX19" fmla="*/ 4376461 w 4381009"/>
              <a:gd name="connsiteY19" fmla="*/ 2372080 h 5892104"/>
              <a:gd name="connsiteX20" fmla="*/ 4378186 w 4381009"/>
              <a:gd name="connsiteY20" fmla="*/ 2501023 h 5892104"/>
              <a:gd name="connsiteX21" fmla="*/ 4380068 w 4381009"/>
              <a:gd name="connsiteY21" fmla="*/ 2629966 h 5892104"/>
              <a:gd name="connsiteX22" fmla="*/ 4381009 w 4381009"/>
              <a:gd name="connsiteY22" fmla="*/ 2757093 h 5892104"/>
              <a:gd name="connsiteX23" fmla="*/ 4380068 w 4381009"/>
              <a:gd name="connsiteY23" fmla="*/ 2883010 h 5892104"/>
              <a:gd name="connsiteX24" fmla="*/ 4380068 w 4381009"/>
              <a:gd name="connsiteY24" fmla="*/ 3007715 h 5892104"/>
              <a:gd name="connsiteX25" fmla="*/ 4378186 w 4381009"/>
              <a:gd name="connsiteY25" fmla="*/ 3131210 h 5892104"/>
              <a:gd name="connsiteX26" fmla="*/ 4375363 w 4381009"/>
              <a:gd name="connsiteY26" fmla="*/ 3252283 h 5892104"/>
              <a:gd name="connsiteX27" fmla="*/ 4372697 w 4381009"/>
              <a:gd name="connsiteY27" fmla="*/ 3372146 h 5892104"/>
              <a:gd name="connsiteX28" fmla="*/ 4369718 w 4381009"/>
              <a:gd name="connsiteY28" fmla="*/ 3489587 h 5892104"/>
              <a:gd name="connsiteX29" fmla="*/ 4365170 w 4381009"/>
              <a:gd name="connsiteY29" fmla="*/ 3606423 h 5892104"/>
              <a:gd name="connsiteX30" fmla="*/ 4360309 w 4381009"/>
              <a:gd name="connsiteY30" fmla="*/ 3721443 h 5892104"/>
              <a:gd name="connsiteX31" fmla="*/ 4355918 w 4381009"/>
              <a:gd name="connsiteY31" fmla="*/ 3834041 h 5892104"/>
              <a:gd name="connsiteX32" fmla="*/ 4343529 w 4381009"/>
              <a:gd name="connsiteY32" fmla="*/ 4053789 h 5892104"/>
              <a:gd name="connsiteX33" fmla="*/ 4330356 w 4381009"/>
              <a:gd name="connsiteY33" fmla="*/ 4264457 h 5892104"/>
              <a:gd name="connsiteX34" fmla="*/ 4316556 w 4381009"/>
              <a:gd name="connsiteY34" fmla="*/ 4466650 h 5892104"/>
              <a:gd name="connsiteX35" fmla="*/ 4301344 w 4381009"/>
              <a:gd name="connsiteY35" fmla="*/ 4657946 h 5892104"/>
              <a:gd name="connsiteX36" fmla="*/ 4285506 w 4381009"/>
              <a:gd name="connsiteY36" fmla="*/ 4840767 h 5892104"/>
              <a:gd name="connsiteX37" fmla="*/ 4268412 w 4381009"/>
              <a:gd name="connsiteY37" fmla="*/ 5010269 h 5892104"/>
              <a:gd name="connsiteX38" fmla="*/ 4251633 w 4381009"/>
              <a:gd name="connsiteY38" fmla="*/ 5169481 h 5892104"/>
              <a:gd name="connsiteX39" fmla="*/ 4234853 w 4381009"/>
              <a:gd name="connsiteY39" fmla="*/ 5315980 h 5892104"/>
              <a:gd name="connsiteX40" fmla="*/ 4219014 w 4381009"/>
              <a:gd name="connsiteY40" fmla="*/ 5450371 h 5892104"/>
              <a:gd name="connsiteX41" fmla="*/ 4203959 w 4381009"/>
              <a:gd name="connsiteY41" fmla="*/ 5569628 h 5892104"/>
              <a:gd name="connsiteX42" fmla="*/ 4189689 w 4381009"/>
              <a:gd name="connsiteY42" fmla="*/ 5677384 h 5892104"/>
              <a:gd name="connsiteX43" fmla="*/ 4177770 w 4381009"/>
              <a:gd name="connsiteY43" fmla="*/ 5768189 h 5892104"/>
              <a:gd name="connsiteX44" fmla="*/ 4166479 w 4381009"/>
              <a:gd name="connsiteY44" fmla="*/ 5844465 h 5892104"/>
              <a:gd name="connsiteX45" fmla="*/ 4159132 w 4381009"/>
              <a:gd name="connsiteY45" fmla="*/ 5892104 h 5892104"/>
              <a:gd name="connsiteX46" fmla="*/ 0 w 4381009"/>
              <a:gd name="connsiteY46" fmla="*/ 5892104 h 5892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4381009" h="5892104">
                <a:moveTo>
                  <a:pt x="0" y="0"/>
                </a:moveTo>
                <a:lnTo>
                  <a:pt x="4157628" y="0"/>
                </a:lnTo>
                <a:lnTo>
                  <a:pt x="4169302" y="68659"/>
                </a:lnTo>
                <a:lnTo>
                  <a:pt x="4191571" y="205472"/>
                </a:lnTo>
                <a:lnTo>
                  <a:pt x="4213368" y="342890"/>
                </a:lnTo>
                <a:lnTo>
                  <a:pt x="4232030" y="480913"/>
                </a:lnTo>
                <a:lnTo>
                  <a:pt x="4250848" y="618332"/>
                </a:lnTo>
                <a:lnTo>
                  <a:pt x="4268412" y="756355"/>
                </a:lnTo>
                <a:lnTo>
                  <a:pt x="4283467" y="892563"/>
                </a:lnTo>
                <a:lnTo>
                  <a:pt x="4297737" y="1030587"/>
                </a:lnTo>
                <a:lnTo>
                  <a:pt x="4310754" y="1168005"/>
                </a:lnTo>
                <a:lnTo>
                  <a:pt x="4322045" y="1303002"/>
                </a:lnTo>
                <a:lnTo>
                  <a:pt x="4333336" y="1439815"/>
                </a:lnTo>
                <a:lnTo>
                  <a:pt x="4342745" y="1574812"/>
                </a:lnTo>
                <a:lnTo>
                  <a:pt x="4350115" y="1709808"/>
                </a:lnTo>
                <a:lnTo>
                  <a:pt x="4357799" y="1844200"/>
                </a:lnTo>
                <a:lnTo>
                  <a:pt x="4364229" y="1977381"/>
                </a:lnTo>
                <a:lnTo>
                  <a:pt x="4368777" y="2109351"/>
                </a:lnTo>
                <a:lnTo>
                  <a:pt x="4372697" y="2241321"/>
                </a:lnTo>
                <a:lnTo>
                  <a:pt x="4376461" y="2372080"/>
                </a:lnTo>
                <a:lnTo>
                  <a:pt x="4378186" y="2501023"/>
                </a:lnTo>
                <a:lnTo>
                  <a:pt x="4380068" y="2629966"/>
                </a:lnTo>
                <a:lnTo>
                  <a:pt x="4381009" y="2757093"/>
                </a:lnTo>
                <a:lnTo>
                  <a:pt x="4380068" y="2883010"/>
                </a:lnTo>
                <a:lnTo>
                  <a:pt x="4380068" y="3007715"/>
                </a:lnTo>
                <a:lnTo>
                  <a:pt x="4378186" y="3131210"/>
                </a:lnTo>
                <a:lnTo>
                  <a:pt x="4375363" y="3252283"/>
                </a:lnTo>
                <a:lnTo>
                  <a:pt x="4372697" y="3372146"/>
                </a:lnTo>
                <a:lnTo>
                  <a:pt x="4369718" y="3489587"/>
                </a:lnTo>
                <a:lnTo>
                  <a:pt x="4365170" y="3606423"/>
                </a:lnTo>
                <a:lnTo>
                  <a:pt x="4360309" y="3721443"/>
                </a:lnTo>
                <a:lnTo>
                  <a:pt x="4355918" y="3834041"/>
                </a:lnTo>
                <a:lnTo>
                  <a:pt x="4343529" y="4053789"/>
                </a:lnTo>
                <a:lnTo>
                  <a:pt x="4330356" y="4264457"/>
                </a:lnTo>
                <a:lnTo>
                  <a:pt x="4316556" y="4466650"/>
                </a:lnTo>
                <a:lnTo>
                  <a:pt x="4301344" y="4657946"/>
                </a:lnTo>
                <a:lnTo>
                  <a:pt x="4285506" y="4840767"/>
                </a:lnTo>
                <a:lnTo>
                  <a:pt x="4268412" y="5010269"/>
                </a:lnTo>
                <a:lnTo>
                  <a:pt x="4251633" y="5169481"/>
                </a:lnTo>
                <a:lnTo>
                  <a:pt x="4234853" y="5315980"/>
                </a:lnTo>
                <a:lnTo>
                  <a:pt x="4219014" y="5450371"/>
                </a:lnTo>
                <a:lnTo>
                  <a:pt x="4203959" y="5569628"/>
                </a:lnTo>
                <a:lnTo>
                  <a:pt x="4189689" y="5677384"/>
                </a:lnTo>
                <a:lnTo>
                  <a:pt x="4177770" y="5768189"/>
                </a:lnTo>
                <a:lnTo>
                  <a:pt x="4166479" y="5844465"/>
                </a:lnTo>
                <a:lnTo>
                  <a:pt x="4159132" y="5892104"/>
                </a:lnTo>
                <a:lnTo>
                  <a:pt x="0" y="5892104"/>
                </a:lnTo>
                <a:close/>
              </a:path>
            </a:pathLst>
          </a:custGeom>
          <a:solidFill>
            <a:srgbClr val="40404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p:cNvSpPr>
            <a:spLocks noGrp="1"/>
          </p:cNvSpPr>
          <p:nvPr>
            <p:ph type="title"/>
          </p:nvPr>
        </p:nvSpPr>
        <p:spPr>
          <a:xfrm>
            <a:off x="647271" y="759003"/>
            <a:ext cx="2562119" cy="3596556"/>
          </a:xfrm>
        </p:spPr>
        <p:txBody>
          <a:bodyPr>
            <a:normAutofit/>
          </a:bodyPr>
          <a:lstStyle/>
          <a:p>
            <a:r>
              <a:rPr lang="en-US" dirty="0">
                <a:solidFill>
                  <a:srgbClr val="FFFFFF"/>
                </a:solidFill>
              </a:rPr>
              <a:t>Define</a:t>
            </a:r>
            <a:br>
              <a:rPr lang="en-US" dirty="0">
                <a:solidFill>
                  <a:srgbClr val="FFFFFF"/>
                </a:solidFill>
              </a:rPr>
            </a:br>
            <a:r>
              <a:rPr lang="en-US" dirty="0">
                <a:solidFill>
                  <a:srgbClr val="FFFFFF"/>
                </a:solidFill>
              </a:rPr>
              <a:t>Your</a:t>
            </a:r>
            <a:br>
              <a:rPr lang="en-US" dirty="0">
                <a:solidFill>
                  <a:srgbClr val="FFFFFF"/>
                </a:solidFill>
              </a:rPr>
            </a:br>
            <a:r>
              <a:rPr lang="en-US" dirty="0">
                <a:solidFill>
                  <a:srgbClr val="FFFFFF"/>
                </a:solidFill>
              </a:rPr>
              <a:t>Main</a:t>
            </a:r>
            <a:br>
              <a:rPr lang="en-US" dirty="0">
                <a:solidFill>
                  <a:srgbClr val="FFFFFF"/>
                </a:solidFill>
              </a:rPr>
            </a:br>
            <a:r>
              <a:rPr lang="en-US" dirty="0">
                <a:solidFill>
                  <a:srgbClr val="FFFFFF"/>
                </a:solidFill>
              </a:rPr>
              <a:t>Goal</a:t>
            </a:r>
          </a:p>
        </p:txBody>
      </p:sp>
      <p:graphicFrame>
        <p:nvGraphicFramePr>
          <p:cNvPr id="4" name="Content Placeholder 3"/>
          <p:cNvGraphicFramePr>
            <a:graphicFrameLocks noGrp="1"/>
          </p:cNvGraphicFramePr>
          <p:nvPr>
            <p:ph idx="1"/>
            <p:extLst>
              <p:ext uri="{D42A27DB-BD31-4B8C-83A1-F6EECF244321}">
                <p14:modId xmlns:p14="http://schemas.microsoft.com/office/powerpoint/2010/main" val="1585771220"/>
              </p:ext>
            </p:extLst>
          </p:nvPr>
        </p:nvGraphicFramePr>
        <p:xfrm>
          <a:off x="3895725" y="353193"/>
          <a:ext cx="4885203" cy="4414069"/>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250260001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A4AC5506-6312-4701-8D3C-40187889A94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488814"/>
            <a:ext cx="9144000" cy="552413"/>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a:xfrm>
            <a:off x="417399" y="482600"/>
            <a:ext cx="8408193" cy="558627"/>
          </a:xfrm>
        </p:spPr>
        <p:txBody>
          <a:bodyPr vert="horz" lIns="91440" tIns="45720" rIns="91440" bIns="45720" rtlCol="0" anchor="ctr">
            <a:normAutofit/>
          </a:bodyPr>
          <a:lstStyle/>
          <a:p>
            <a:pPr>
              <a:lnSpc>
                <a:spcPct val="90000"/>
              </a:lnSpc>
            </a:pPr>
            <a:r>
              <a:rPr lang="en-US" sz="2400" dirty="0">
                <a:solidFill>
                  <a:schemeClr val="bg1"/>
                </a:solidFill>
              </a:rPr>
              <a:t>Functional Curve</a:t>
            </a:r>
            <a:endParaRPr lang="en-US" sz="2400" kern="1200" dirty="0">
              <a:solidFill>
                <a:schemeClr val="bg1"/>
              </a:solidFill>
              <a:latin typeface="+mj-lt"/>
              <a:ea typeface="+mj-ea"/>
              <a:cs typeface="+mj-cs"/>
            </a:endParaRPr>
          </a:p>
        </p:txBody>
      </p:sp>
      <p:graphicFrame>
        <p:nvGraphicFramePr>
          <p:cNvPr id="13" name="Content Placeholder 3">
            <a:extLst>
              <a:ext uri="{FF2B5EF4-FFF2-40B4-BE49-F238E27FC236}">
                <a16:creationId xmlns:a16="http://schemas.microsoft.com/office/drawing/2014/main" id="{814CA620-BDAC-44C7-9DB6-4A0EF32074AB}"/>
              </a:ext>
            </a:extLst>
          </p:cNvPr>
          <p:cNvGraphicFramePr>
            <a:graphicFrameLocks noGrp="1"/>
          </p:cNvGraphicFramePr>
          <p:nvPr>
            <p:ph idx="1"/>
            <p:extLst>
              <p:ext uri="{D42A27DB-BD31-4B8C-83A1-F6EECF244321}">
                <p14:modId xmlns:p14="http://schemas.microsoft.com/office/powerpoint/2010/main" val="2870128475"/>
              </p:ext>
            </p:extLst>
          </p:nvPr>
        </p:nvGraphicFramePr>
        <p:xfrm>
          <a:off x="628650" y="1369218"/>
          <a:ext cx="7886700" cy="3263504"/>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114001245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A4AC5506-6312-4701-8D3C-40187889A94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488814"/>
            <a:ext cx="9144000" cy="552413"/>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a:xfrm>
            <a:off x="417399" y="482600"/>
            <a:ext cx="8408193" cy="558627"/>
          </a:xfrm>
        </p:spPr>
        <p:txBody>
          <a:bodyPr vert="horz" lIns="91440" tIns="45720" rIns="91440" bIns="45720" rtlCol="0" anchor="ctr">
            <a:normAutofit/>
          </a:bodyPr>
          <a:lstStyle/>
          <a:p>
            <a:pPr>
              <a:lnSpc>
                <a:spcPct val="90000"/>
              </a:lnSpc>
            </a:pPr>
            <a:r>
              <a:rPr lang="en-US" sz="2400" dirty="0">
                <a:solidFill>
                  <a:schemeClr val="bg1"/>
                </a:solidFill>
              </a:rPr>
              <a:t>Learn By Function</a:t>
            </a:r>
            <a:endParaRPr lang="en-US" sz="2400" kern="1200" dirty="0">
              <a:solidFill>
                <a:schemeClr val="bg1"/>
              </a:solidFill>
              <a:latin typeface="+mj-lt"/>
              <a:ea typeface="+mj-ea"/>
              <a:cs typeface="+mj-cs"/>
            </a:endParaRPr>
          </a:p>
        </p:txBody>
      </p:sp>
      <p:grpSp>
        <p:nvGrpSpPr>
          <p:cNvPr id="8" name="Group 7">
            <a:extLst>
              <a:ext uri="{FF2B5EF4-FFF2-40B4-BE49-F238E27FC236}">
                <a16:creationId xmlns:a16="http://schemas.microsoft.com/office/drawing/2014/main" id="{2AA0EB0A-029C-4148-BF7A-BBE8705FAF9F}"/>
              </a:ext>
            </a:extLst>
          </p:cNvPr>
          <p:cNvGrpSpPr/>
          <p:nvPr/>
        </p:nvGrpSpPr>
        <p:grpSpPr>
          <a:xfrm>
            <a:off x="2648712" y="1105345"/>
            <a:ext cx="3846577" cy="3944042"/>
            <a:chOff x="838200" y="1105345"/>
            <a:chExt cx="3846577" cy="3944042"/>
          </a:xfrm>
        </p:grpSpPr>
        <p:pic>
          <p:nvPicPr>
            <p:cNvPr id="6" name="Picture 5">
              <a:extLst>
                <a:ext uri="{FF2B5EF4-FFF2-40B4-BE49-F238E27FC236}">
                  <a16:creationId xmlns:a16="http://schemas.microsoft.com/office/drawing/2014/main" id="{81805B6C-3103-4484-9904-782F860FFFA8}"/>
                </a:ext>
              </a:extLst>
            </p:cNvPr>
            <p:cNvPicPr>
              <a:picLocks noChangeAspect="1"/>
            </p:cNvPicPr>
            <p:nvPr/>
          </p:nvPicPr>
          <p:blipFill>
            <a:blip r:embed="rId2"/>
            <a:stretch>
              <a:fillRect/>
            </a:stretch>
          </p:blipFill>
          <p:spPr>
            <a:xfrm>
              <a:off x="838200" y="1117467"/>
              <a:ext cx="971103" cy="3931920"/>
            </a:xfrm>
            <a:prstGeom prst="rect">
              <a:avLst/>
            </a:prstGeom>
            <a:ln>
              <a:solidFill>
                <a:schemeClr val="tx1"/>
              </a:solidFill>
            </a:ln>
          </p:spPr>
        </p:pic>
        <p:pic>
          <p:nvPicPr>
            <p:cNvPr id="3" name="Picture 2">
              <a:extLst>
                <a:ext uri="{FF2B5EF4-FFF2-40B4-BE49-F238E27FC236}">
                  <a16:creationId xmlns:a16="http://schemas.microsoft.com/office/drawing/2014/main" id="{D22B8C43-C001-4DEF-816E-EBC018DAD4CF}"/>
                </a:ext>
              </a:extLst>
            </p:cNvPr>
            <p:cNvPicPr>
              <a:picLocks noChangeAspect="1"/>
            </p:cNvPicPr>
            <p:nvPr/>
          </p:nvPicPr>
          <p:blipFill>
            <a:blip r:embed="rId3"/>
            <a:stretch>
              <a:fillRect/>
            </a:stretch>
          </p:blipFill>
          <p:spPr>
            <a:xfrm>
              <a:off x="3733801" y="1117467"/>
              <a:ext cx="950976" cy="3922762"/>
            </a:xfrm>
            <a:prstGeom prst="rect">
              <a:avLst/>
            </a:prstGeom>
            <a:ln>
              <a:solidFill>
                <a:schemeClr val="tx1"/>
              </a:solidFill>
            </a:ln>
          </p:spPr>
        </p:pic>
        <p:pic>
          <p:nvPicPr>
            <p:cNvPr id="7" name="Picture 6">
              <a:extLst>
                <a:ext uri="{FF2B5EF4-FFF2-40B4-BE49-F238E27FC236}">
                  <a16:creationId xmlns:a16="http://schemas.microsoft.com/office/drawing/2014/main" id="{241FCC7A-7BCD-418D-856E-4A5426B8B9AF}"/>
                </a:ext>
              </a:extLst>
            </p:cNvPr>
            <p:cNvPicPr>
              <a:picLocks noChangeAspect="1"/>
            </p:cNvPicPr>
            <p:nvPr/>
          </p:nvPicPr>
          <p:blipFill>
            <a:blip r:embed="rId4"/>
            <a:stretch>
              <a:fillRect/>
            </a:stretch>
          </p:blipFill>
          <p:spPr>
            <a:xfrm>
              <a:off x="2286920" y="1105345"/>
              <a:ext cx="969264" cy="1597690"/>
            </a:xfrm>
            <a:prstGeom prst="rect">
              <a:avLst/>
            </a:prstGeom>
            <a:ln>
              <a:solidFill>
                <a:schemeClr val="tx1"/>
              </a:solidFill>
            </a:ln>
          </p:spPr>
        </p:pic>
      </p:grpSp>
    </p:spTree>
    <p:extLst>
      <p:ext uri="{BB962C8B-B14F-4D97-AF65-F5344CB8AC3E}">
        <p14:creationId xmlns:p14="http://schemas.microsoft.com/office/powerpoint/2010/main" val="370559862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F8A5861D-9862-444A-9920-F412F3AFD6D1}"/>
              </a:ext>
            </a:extLst>
          </p:cNvPr>
          <p:cNvSpPr/>
          <p:nvPr/>
        </p:nvSpPr>
        <p:spPr bwMode="auto">
          <a:xfrm>
            <a:off x="0" y="2693950"/>
            <a:ext cx="9144000" cy="814796"/>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fontAlgn="base">
              <a:lnSpc>
                <a:spcPct val="90000"/>
              </a:lnSpc>
              <a:spcBef>
                <a:spcPct val="0"/>
              </a:spcBef>
              <a:spcAft>
                <a:spcPct val="0"/>
              </a:spcAft>
              <a:defRPr/>
            </a:pPr>
            <a:endParaRPr lang="en-US">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61" name="ARROW">
            <a:extLst>
              <a:ext uri="{FF2B5EF4-FFF2-40B4-BE49-F238E27FC236}">
                <a16:creationId xmlns:a16="http://schemas.microsoft.com/office/drawing/2014/main" id="{8F454C1D-EA8A-4578-9A05-5AE3FD6DB806}"/>
              </a:ext>
            </a:extLst>
          </p:cNvPr>
          <p:cNvCxnSpPr>
            <a:cxnSpLocks/>
          </p:cNvCxnSpPr>
          <p:nvPr/>
        </p:nvCxnSpPr>
        <p:spPr>
          <a:xfrm>
            <a:off x="423191" y="2375514"/>
            <a:ext cx="8464074" cy="0"/>
          </a:xfrm>
          <a:prstGeom prst="line">
            <a:avLst/>
          </a:prstGeom>
          <a:noFill/>
          <a:ln w="12700" cap="rnd" cmpd="sng" algn="ctr">
            <a:solidFill>
              <a:srgbClr val="FFFFFF">
                <a:lumMod val="75000"/>
              </a:srgbClr>
            </a:solidFill>
            <a:prstDash val="sysDash"/>
            <a:headEnd type="oval" w="sm" len="sm"/>
            <a:tailEnd type="oval" w="sm" len="sm"/>
          </a:ln>
          <a:effectLst/>
        </p:spPr>
      </p:cxnSp>
      <p:sp>
        <p:nvSpPr>
          <p:cNvPr id="63" name="Freeform: Shape 62">
            <a:extLst>
              <a:ext uri="{FF2B5EF4-FFF2-40B4-BE49-F238E27FC236}">
                <a16:creationId xmlns:a16="http://schemas.microsoft.com/office/drawing/2014/main" id="{C87F9CB4-7FFE-4AD1-A3B1-F8487E9B095F}"/>
              </a:ext>
            </a:extLst>
          </p:cNvPr>
          <p:cNvSpPr>
            <a:spLocks noChangeAspect="1"/>
          </p:cNvSpPr>
          <p:nvPr/>
        </p:nvSpPr>
        <p:spPr bwMode="auto">
          <a:xfrm rot="10800000">
            <a:off x="2985278" y="831155"/>
            <a:ext cx="3047796" cy="1465447"/>
          </a:xfrm>
          <a:custGeom>
            <a:avLst/>
            <a:gdLst>
              <a:gd name="connsiteX0" fmla="*/ 0 w 3479760"/>
              <a:gd name="connsiteY0" fmla="*/ 0 h 1673145"/>
              <a:gd name="connsiteX1" fmla="*/ 3479760 w 3479760"/>
              <a:gd name="connsiteY1" fmla="*/ 0 h 1673145"/>
              <a:gd name="connsiteX2" fmla="*/ 3474308 w 3479760"/>
              <a:gd name="connsiteY2" fmla="*/ 107972 h 1673145"/>
              <a:gd name="connsiteX3" fmla="*/ 1739880 w 3479760"/>
              <a:gd name="connsiteY3" fmla="*/ 1673145 h 1673145"/>
              <a:gd name="connsiteX4" fmla="*/ 5453 w 3479760"/>
              <a:gd name="connsiteY4" fmla="*/ 107972 h 16731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79760" h="1673145">
                <a:moveTo>
                  <a:pt x="0" y="0"/>
                </a:moveTo>
                <a:lnTo>
                  <a:pt x="3479760" y="0"/>
                </a:lnTo>
                <a:lnTo>
                  <a:pt x="3474308" y="107972"/>
                </a:lnTo>
                <a:cubicBezTo>
                  <a:pt x="3385027" y="987106"/>
                  <a:pt x="2642570" y="1673145"/>
                  <a:pt x="1739880" y="1673145"/>
                </a:cubicBezTo>
                <a:cubicBezTo>
                  <a:pt x="837191" y="1673145"/>
                  <a:pt x="94733" y="987106"/>
                  <a:pt x="5453" y="107972"/>
                </a:cubicBezTo>
                <a:close/>
              </a:path>
            </a:pathLst>
          </a:custGeom>
          <a:solidFill>
            <a:srgbClr val="737373"/>
          </a:solidFill>
          <a:ln w="9525" cap="flat" cmpd="sng" algn="ctr">
            <a:noFill/>
            <a:prstDash val="solid"/>
            <a:headEnd type="none" w="med" len="med"/>
            <a:tailEnd type="none" w="med" len="med"/>
          </a:ln>
          <a:effectLst/>
        </p:spPr>
        <p:txBody>
          <a:bodyPr rot="0" spcFirstLastPara="0" vertOverflow="overflow" horzOverflow="overflow" vert="horz" wrap="square" lIns="134444" tIns="107556" rIns="134444" bIns="107556" numCol="1" spcCol="0" rtlCol="0" fromWordArt="0" anchor="t" anchorCtr="0" forceAA="0" compatLnSpc="1">
            <a:prstTxWarp prst="textNoShape">
              <a:avLst/>
            </a:prstTxWarp>
            <a:noAutofit/>
          </a:bodyPr>
          <a:lstStyle/>
          <a:p>
            <a:pPr defTabSz="685445" fontAlgn="base">
              <a:spcBef>
                <a:spcPct val="0"/>
              </a:spcBef>
              <a:spcAft>
                <a:spcPct val="0"/>
              </a:spcAft>
              <a:defRPr/>
            </a:pPr>
            <a:endParaRPr lang="en-US" sz="1765" kern="0">
              <a:solidFill>
                <a:srgbClr val="FFFFFF">
                  <a:lumMod val="50000"/>
                </a:srgbClr>
              </a:solidFill>
              <a:latin typeface="Segoe UI Semilight"/>
              <a:ea typeface="Segoe UI" pitchFamily="34" charset="0"/>
              <a:cs typeface="Segoe UI" pitchFamily="34" charset="0"/>
            </a:endParaRPr>
          </a:p>
        </p:txBody>
      </p:sp>
      <p:sp>
        <p:nvSpPr>
          <p:cNvPr id="64" name="Freeform: Shape 63">
            <a:extLst>
              <a:ext uri="{FF2B5EF4-FFF2-40B4-BE49-F238E27FC236}">
                <a16:creationId xmlns:a16="http://schemas.microsoft.com/office/drawing/2014/main" id="{1A7BD364-2714-4610-BF0D-25CE93395D7E}"/>
              </a:ext>
            </a:extLst>
          </p:cNvPr>
          <p:cNvSpPr>
            <a:spLocks noChangeAspect="1"/>
          </p:cNvSpPr>
          <p:nvPr/>
        </p:nvSpPr>
        <p:spPr bwMode="auto">
          <a:xfrm>
            <a:off x="2983998" y="2445457"/>
            <a:ext cx="3050355" cy="1466678"/>
          </a:xfrm>
          <a:custGeom>
            <a:avLst/>
            <a:gdLst>
              <a:gd name="connsiteX0" fmla="*/ 0 w 3479760"/>
              <a:gd name="connsiteY0" fmla="*/ 0 h 1673145"/>
              <a:gd name="connsiteX1" fmla="*/ 3479760 w 3479760"/>
              <a:gd name="connsiteY1" fmla="*/ 0 h 1673145"/>
              <a:gd name="connsiteX2" fmla="*/ 3474308 w 3479760"/>
              <a:gd name="connsiteY2" fmla="*/ 107972 h 1673145"/>
              <a:gd name="connsiteX3" fmla="*/ 1739880 w 3479760"/>
              <a:gd name="connsiteY3" fmla="*/ 1673145 h 1673145"/>
              <a:gd name="connsiteX4" fmla="*/ 5453 w 3479760"/>
              <a:gd name="connsiteY4" fmla="*/ 107972 h 16731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79760" h="1673145">
                <a:moveTo>
                  <a:pt x="0" y="0"/>
                </a:moveTo>
                <a:lnTo>
                  <a:pt x="3479760" y="0"/>
                </a:lnTo>
                <a:lnTo>
                  <a:pt x="3474308" y="107972"/>
                </a:lnTo>
                <a:cubicBezTo>
                  <a:pt x="3385027" y="987106"/>
                  <a:pt x="2642570" y="1673145"/>
                  <a:pt x="1739880" y="1673145"/>
                </a:cubicBezTo>
                <a:cubicBezTo>
                  <a:pt x="837191" y="1673145"/>
                  <a:pt x="94733" y="987106"/>
                  <a:pt x="5453" y="107972"/>
                </a:cubicBezTo>
                <a:close/>
              </a:path>
            </a:pathLst>
          </a:custGeom>
          <a:solidFill>
            <a:srgbClr val="737373"/>
          </a:solidFill>
          <a:ln w="9525" cap="flat" cmpd="sng" algn="ctr">
            <a:noFill/>
            <a:prstDash val="solid"/>
            <a:headEnd type="none" w="med" len="med"/>
            <a:tailEnd type="none" w="med" len="med"/>
          </a:ln>
          <a:effectLst/>
        </p:spPr>
        <p:txBody>
          <a:bodyPr rot="0" spcFirstLastPara="0" vertOverflow="overflow" horzOverflow="overflow" vert="horz" wrap="square" lIns="134444" tIns="107556" rIns="134444" bIns="107556" numCol="1" spcCol="0" rtlCol="0" fromWordArt="0" anchor="t" anchorCtr="0" forceAA="0" compatLnSpc="1">
            <a:prstTxWarp prst="textNoShape">
              <a:avLst/>
            </a:prstTxWarp>
            <a:noAutofit/>
          </a:bodyPr>
          <a:lstStyle/>
          <a:p>
            <a:pPr defTabSz="685445" fontAlgn="base">
              <a:spcBef>
                <a:spcPct val="0"/>
              </a:spcBef>
              <a:spcAft>
                <a:spcPct val="0"/>
              </a:spcAft>
              <a:defRPr/>
            </a:pPr>
            <a:endParaRPr lang="en-US" sz="1765" kern="0">
              <a:solidFill>
                <a:srgbClr val="FFFFFF">
                  <a:lumMod val="50000"/>
                </a:srgbClr>
              </a:solidFill>
              <a:latin typeface="Segoe UI Semilight"/>
              <a:ea typeface="Segoe UI" pitchFamily="34" charset="0"/>
              <a:cs typeface="Segoe UI" pitchFamily="34" charset="0"/>
            </a:endParaRPr>
          </a:p>
        </p:txBody>
      </p:sp>
      <p:grpSp>
        <p:nvGrpSpPr>
          <p:cNvPr id="57" name="Dynamics 365">
            <a:extLst>
              <a:ext uri="{FF2B5EF4-FFF2-40B4-BE49-F238E27FC236}">
                <a16:creationId xmlns:a16="http://schemas.microsoft.com/office/drawing/2014/main" id="{B4C22E26-704B-4127-8A47-8F698879D673}"/>
              </a:ext>
            </a:extLst>
          </p:cNvPr>
          <p:cNvGrpSpPr>
            <a:grpSpLocks noChangeAspect="1"/>
          </p:cNvGrpSpPr>
          <p:nvPr/>
        </p:nvGrpSpPr>
        <p:grpSpPr>
          <a:xfrm>
            <a:off x="3258508" y="1098535"/>
            <a:ext cx="2513384" cy="2529704"/>
            <a:chOff x="4289881" y="1508609"/>
            <a:chExt cx="3694131" cy="3718117"/>
          </a:xfrm>
        </p:grpSpPr>
        <p:sp>
          <p:nvSpPr>
            <p:cNvPr id="58" name="white">
              <a:extLst>
                <a:ext uri="{FF2B5EF4-FFF2-40B4-BE49-F238E27FC236}">
                  <a16:creationId xmlns:a16="http://schemas.microsoft.com/office/drawing/2014/main" id="{9FDE620A-D9C1-4455-B1B2-FD11DBA7BB7A}"/>
                </a:ext>
              </a:extLst>
            </p:cNvPr>
            <p:cNvSpPr>
              <a:spLocks noChangeArrowheads="1"/>
            </p:cNvSpPr>
            <p:nvPr/>
          </p:nvSpPr>
          <p:spPr bwMode="auto">
            <a:xfrm>
              <a:off x="4289881" y="1508609"/>
              <a:ext cx="3694131" cy="3718117"/>
            </a:xfrm>
            <a:prstGeom prst="ellipse">
              <a:avLst/>
            </a:prstGeom>
            <a:solidFill>
              <a:schemeClr val="bg1"/>
            </a:solidFill>
            <a:ln w="10795" cap="flat" cmpd="sng" algn="ctr">
              <a:noFill/>
              <a:prstDash val="solid"/>
            </a:ln>
            <a:effectLst>
              <a:outerShdw blurRad="254000" dist="50800" dir="2700000" sx="101000" sy="101000" algn="tl" rotWithShape="0">
                <a:prstClr val="black">
                  <a:alpha val="35000"/>
                </a:prstClr>
              </a:outerShdw>
            </a:effectLst>
            <a:extLst>
              <a:ext uri="{91240B29-F687-4F45-9708-019B960494DF}">
                <a14:hiddenLine xmlns:a14="http://schemas.microsoft.com/office/drawing/2010/main" w="9525">
                  <a:solidFill>
                    <a:srgbClr val="000000"/>
                  </a:solidFill>
                  <a:round/>
                  <a:headEnd/>
                  <a:tailEnd/>
                </a14:hiddenLine>
              </a:ext>
            </a:extLst>
          </p:spPr>
          <p:txBody>
            <a:bodyPr vert="horz" wrap="square" lIns="0" tIns="34280" rIns="0" bIns="34280" numCol="1" rtlCol="0" anchor="ctr" anchorCtr="0" compatLnSpc="1">
              <a:prstTxWarp prst="textNoShape">
                <a:avLst/>
              </a:prstTxWarp>
            </a:bodyPr>
            <a:lstStyle/>
            <a:p>
              <a:pPr algn="ctr" defTabSz="685313" fontAlgn="base">
                <a:spcBef>
                  <a:spcPct val="0"/>
                </a:spcBef>
                <a:spcAft>
                  <a:spcPct val="0"/>
                </a:spcAft>
                <a:defRPr/>
              </a:pPr>
              <a:endParaRPr lang="de-DE" sz="808" kern="0">
                <a:solidFill>
                  <a:srgbClr val="1A1A1A"/>
                </a:solidFill>
                <a:latin typeface="Segoe UI Semibold"/>
              </a:endParaRPr>
            </a:p>
          </p:txBody>
        </p:sp>
        <p:pic>
          <p:nvPicPr>
            <p:cNvPr id="59" name="DYNAMICS 365">
              <a:extLst>
                <a:ext uri="{FF2B5EF4-FFF2-40B4-BE49-F238E27FC236}">
                  <a16:creationId xmlns:a16="http://schemas.microsoft.com/office/drawing/2014/main" id="{225D9A18-F140-4E1D-82F5-87E939472C89}"/>
                </a:ext>
              </a:extLst>
            </p:cNvPr>
            <p:cNvPicPr>
              <a:picLocks noChangeAspect="1"/>
            </p:cNvPicPr>
            <p:nvPr/>
          </p:nvPicPr>
          <p:blipFill>
            <a:blip r:embed="rId3" cstate="print">
              <a:extLst>
                <a:ext uri="{28A0092B-C50C-407E-A947-70E740481C1C}">
                  <a14:useLocalDpi xmlns:a14="http://schemas.microsoft.com/office/drawing/2010/main" val="0"/>
                </a:ext>
              </a:extLst>
            </a:blip>
            <a:srcRect/>
            <a:stretch/>
          </p:blipFill>
          <p:spPr>
            <a:xfrm>
              <a:off x="4951730" y="2726288"/>
              <a:ext cx="2513857" cy="1105655"/>
            </a:xfrm>
            <a:prstGeom prst="rect">
              <a:avLst/>
            </a:prstGeom>
          </p:spPr>
        </p:pic>
      </p:grpSp>
      <p:sp>
        <p:nvSpPr>
          <p:cNvPr id="70" name="Modern">
            <a:extLst>
              <a:ext uri="{FF2B5EF4-FFF2-40B4-BE49-F238E27FC236}">
                <a16:creationId xmlns:a16="http://schemas.microsoft.com/office/drawing/2014/main" id="{2B5F2B67-6C4A-431F-9BFE-BA494ED1A129}"/>
              </a:ext>
            </a:extLst>
          </p:cNvPr>
          <p:cNvSpPr txBox="1"/>
          <p:nvPr/>
        </p:nvSpPr>
        <p:spPr>
          <a:xfrm>
            <a:off x="761557" y="2285892"/>
            <a:ext cx="917948" cy="203710"/>
          </a:xfrm>
          <a:prstGeom prst="rect">
            <a:avLst/>
          </a:prstGeom>
          <a:solidFill>
            <a:srgbClr val="FFFFFF"/>
          </a:solidFill>
        </p:spPr>
        <p:txBody>
          <a:bodyPr wrap="square" lIns="0" tIns="0" rIns="0" bIns="0" rtlCol="0">
            <a:spAutoFit/>
          </a:bodyPr>
          <a:lstStyle/>
          <a:p>
            <a:pPr algn="ctr" defTabSz="672161">
              <a:lnSpc>
                <a:spcPct val="90000"/>
              </a:lnSpc>
              <a:spcAft>
                <a:spcPts val="441"/>
              </a:spcAft>
              <a:defRPr/>
            </a:pPr>
            <a:r>
              <a:rPr lang="en-US" sz="1471">
                <a:solidFill>
                  <a:srgbClr val="0070C0"/>
                </a:solidFill>
                <a:latin typeface="Segoe UI Semibold"/>
              </a:rPr>
              <a:t>MODERN</a:t>
            </a:r>
          </a:p>
        </p:txBody>
      </p:sp>
      <p:sp>
        <p:nvSpPr>
          <p:cNvPr id="71" name="Unified">
            <a:extLst>
              <a:ext uri="{FF2B5EF4-FFF2-40B4-BE49-F238E27FC236}">
                <a16:creationId xmlns:a16="http://schemas.microsoft.com/office/drawing/2014/main" id="{035CE847-9ED5-4140-956F-73BF1F12E05B}"/>
              </a:ext>
            </a:extLst>
          </p:cNvPr>
          <p:cNvSpPr txBox="1"/>
          <p:nvPr/>
        </p:nvSpPr>
        <p:spPr>
          <a:xfrm>
            <a:off x="1865458" y="2285892"/>
            <a:ext cx="845630" cy="203710"/>
          </a:xfrm>
          <a:prstGeom prst="rect">
            <a:avLst/>
          </a:prstGeom>
          <a:solidFill>
            <a:srgbClr val="FFFFFF"/>
          </a:solidFill>
        </p:spPr>
        <p:txBody>
          <a:bodyPr wrap="square" lIns="0" tIns="0" rIns="0" bIns="0" rtlCol="0">
            <a:spAutoFit/>
          </a:bodyPr>
          <a:lstStyle/>
          <a:p>
            <a:pPr algn="ctr" defTabSz="672161">
              <a:lnSpc>
                <a:spcPct val="90000"/>
              </a:lnSpc>
              <a:spcAft>
                <a:spcPts val="441"/>
              </a:spcAft>
              <a:defRPr/>
            </a:pPr>
            <a:r>
              <a:rPr lang="en-US" sz="1471">
                <a:solidFill>
                  <a:srgbClr val="0070C0"/>
                </a:solidFill>
                <a:latin typeface="Segoe UI Semibold"/>
              </a:rPr>
              <a:t>UNIFIED</a:t>
            </a:r>
          </a:p>
        </p:txBody>
      </p:sp>
      <p:sp>
        <p:nvSpPr>
          <p:cNvPr id="72" name="Intelligent">
            <a:extLst>
              <a:ext uri="{FF2B5EF4-FFF2-40B4-BE49-F238E27FC236}">
                <a16:creationId xmlns:a16="http://schemas.microsoft.com/office/drawing/2014/main" id="{8F78D1F3-8FAF-4433-BB05-75734E56E7A5}"/>
              </a:ext>
            </a:extLst>
          </p:cNvPr>
          <p:cNvSpPr txBox="1"/>
          <p:nvPr/>
        </p:nvSpPr>
        <p:spPr>
          <a:xfrm>
            <a:off x="6190897" y="2285892"/>
            <a:ext cx="1181030" cy="203710"/>
          </a:xfrm>
          <a:prstGeom prst="rect">
            <a:avLst/>
          </a:prstGeom>
          <a:solidFill>
            <a:srgbClr val="FFFFFF"/>
          </a:solidFill>
        </p:spPr>
        <p:txBody>
          <a:bodyPr wrap="square" lIns="0" tIns="0" rIns="0" bIns="0" rtlCol="0">
            <a:spAutoFit/>
          </a:bodyPr>
          <a:lstStyle/>
          <a:p>
            <a:pPr algn="ctr" defTabSz="672161">
              <a:lnSpc>
                <a:spcPct val="90000"/>
              </a:lnSpc>
              <a:spcAft>
                <a:spcPts val="441"/>
              </a:spcAft>
              <a:defRPr/>
            </a:pPr>
            <a:r>
              <a:rPr lang="en-US" sz="1471">
                <a:solidFill>
                  <a:srgbClr val="0070C0"/>
                </a:solidFill>
                <a:latin typeface="Segoe UI Semibold"/>
              </a:rPr>
              <a:t>INTELLIGENT</a:t>
            </a:r>
          </a:p>
        </p:txBody>
      </p:sp>
      <p:sp>
        <p:nvSpPr>
          <p:cNvPr id="73" name="Adaptable">
            <a:extLst>
              <a:ext uri="{FF2B5EF4-FFF2-40B4-BE49-F238E27FC236}">
                <a16:creationId xmlns:a16="http://schemas.microsoft.com/office/drawing/2014/main" id="{34A42CC0-6337-4E80-9498-E153048D6AEB}"/>
              </a:ext>
            </a:extLst>
          </p:cNvPr>
          <p:cNvSpPr txBox="1"/>
          <p:nvPr/>
        </p:nvSpPr>
        <p:spPr>
          <a:xfrm>
            <a:off x="7507408" y="2285892"/>
            <a:ext cx="1181030" cy="203710"/>
          </a:xfrm>
          <a:prstGeom prst="rect">
            <a:avLst/>
          </a:prstGeom>
          <a:solidFill>
            <a:srgbClr val="FFFFFF"/>
          </a:solidFill>
        </p:spPr>
        <p:txBody>
          <a:bodyPr wrap="square" lIns="0" tIns="0" rIns="0" bIns="0" rtlCol="0">
            <a:spAutoFit/>
          </a:bodyPr>
          <a:lstStyle/>
          <a:p>
            <a:pPr algn="ctr" defTabSz="672161">
              <a:lnSpc>
                <a:spcPct val="90000"/>
              </a:lnSpc>
              <a:spcAft>
                <a:spcPts val="441"/>
              </a:spcAft>
              <a:defRPr/>
            </a:pPr>
            <a:r>
              <a:rPr lang="en-US" sz="1471">
                <a:solidFill>
                  <a:srgbClr val="0070C0"/>
                </a:solidFill>
                <a:latin typeface="Segoe UI Semibold"/>
              </a:rPr>
              <a:t>ADAPTABLE</a:t>
            </a:r>
          </a:p>
        </p:txBody>
      </p:sp>
      <p:cxnSp>
        <p:nvCxnSpPr>
          <p:cNvPr id="75" name="PP LINE">
            <a:extLst>
              <a:ext uri="{FF2B5EF4-FFF2-40B4-BE49-F238E27FC236}">
                <a16:creationId xmlns:a16="http://schemas.microsoft.com/office/drawing/2014/main" id="{6C27B146-F0E5-433C-9E10-A302242FFD61}"/>
              </a:ext>
            </a:extLst>
          </p:cNvPr>
          <p:cNvCxnSpPr>
            <a:cxnSpLocks/>
          </p:cNvCxnSpPr>
          <p:nvPr/>
        </p:nvCxnSpPr>
        <p:spPr>
          <a:xfrm>
            <a:off x="2738738" y="4543029"/>
            <a:ext cx="3636762" cy="0"/>
          </a:xfrm>
          <a:prstGeom prst="line">
            <a:avLst/>
          </a:prstGeom>
          <a:noFill/>
          <a:ln w="12700" cap="rnd" cmpd="sng" algn="ctr">
            <a:solidFill>
              <a:srgbClr val="FFFFFF">
                <a:lumMod val="75000"/>
              </a:srgbClr>
            </a:solidFill>
            <a:prstDash val="sysDash"/>
            <a:headEnd type="oval" w="sm" len="sm"/>
            <a:tailEnd type="oval" w="sm" len="sm"/>
          </a:ln>
          <a:effectLst/>
        </p:spPr>
      </p:cxnSp>
      <p:sp>
        <p:nvSpPr>
          <p:cNvPr id="77" name="Oval 76">
            <a:extLst>
              <a:ext uri="{FF2B5EF4-FFF2-40B4-BE49-F238E27FC236}">
                <a16:creationId xmlns:a16="http://schemas.microsoft.com/office/drawing/2014/main" id="{8C50EDB0-9714-416C-9E34-E70648D89E4C}"/>
              </a:ext>
            </a:extLst>
          </p:cNvPr>
          <p:cNvSpPr/>
          <p:nvPr/>
        </p:nvSpPr>
        <p:spPr bwMode="auto">
          <a:xfrm>
            <a:off x="4067221" y="4356156"/>
            <a:ext cx="393390" cy="393390"/>
          </a:xfrm>
          <a:prstGeom prst="ellipse">
            <a:avLst/>
          </a:prstGeom>
          <a:solidFill>
            <a:srgbClr val="FFFFFF"/>
          </a:solidFill>
          <a:ln w="9525" cap="flat" cmpd="sng" algn="ctr">
            <a:noFill/>
            <a:prstDash val="solid"/>
          </a:ln>
          <a:effectLst>
            <a:outerShdw blurRad="190500" dist="50800" dir="2700000" sx="101000" sy="101000" algn="tl" rotWithShape="0">
              <a:prstClr val="black">
                <a:alpha val="30000"/>
              </a:prstClr>
            </a:outerShdw>
          </a:effectLst>
        </p:spPr>
        <p:txBody>
          <a:bodyPr rot="0" spcFirstLastPara="0" vert="horz" wrap="square" lIns="134444" tIns="107556" rIns="134444" bIns="107556" numCol="1" spcCol="0" rtlCol="0" fromWordArt="0" anchor="ctr" anchorCtr="0" forceAA="0" compatLnSpc="1">
            <a:prstTxWarp prst="textNoShape">
              <a:avLst/>
            </a:prstTxWarp>
            <a:noAutofit/>
          </a:bodyPr>
          <a:lstStyle/>
          <a:p>
            <a:pPr defTabSz="685445" fontAlgn="base">
              <a:spcBef>
                <a:spcPct val="0"/>
              </a:spcBef>
              <a:spcAft>
                <a:spcPct val="0"/>
              </a:spcAft>
              <a:defRPr/>
            </a:pPr>
            <a:endParaRPr lang="en-US" sz="1471" kern="0">
              <a:gradFill>
                <a:gsLst>
                  <a:gs pos="0">
                    <a:srgbClr val="FFFFFF"/>
                  </a:gs>
                  <a:gs pos="100000">
                    <a:srgbClr val="FFFFFF"/>
                  </a:gs>
                </a:gsLst>
                <a:lin ang="5400000" scaled="0"/>
              </a:gradFill>
              <a:latin typeface="Segoe UI"/>
              <a:cs typeface="Segoe UI" pitchFamily="34" charset="0"/>
            </a:endParaRPr>
          </a:p>
        </p:txBody>
      </p:sp>
      <p:sp>
        <p:nvSpPr>
          <p:cNvPr id="81" name="Oval 80">
            <a:extLst>
              <a:ext uri="{FF2B5EF4-FFF2-40B4-BE49-F238E27FC236}">
                <a16:creationId xmlns:a16="http://schemas.microsoft.com/office/drawing/2014/main" id="{69A3F97C-9587-48FD-9B68-C72EEF9FD68D}"/>
              </a:ext>
            </a:extLst>
          </p:cNvPr>
          <p:cNvSpPr/>
          <p:nvPr/>
        </p:nvSpPr>
        <p:spPr bwMode="auto">
          <a:xfrm>
            <a:off x="3206852" y="4346335"/>
            <a:ext cx="393390" cy="393390"/>
          </a:xfrm>
          <a:prstGeom prst="ellipse">
            <a:avLst/>
          </a:prstGeom>
          <a:solidFill>
            <a:srgbClr val="FFFFFF"/>
          </a:solidFill>
          <a:ln w="9525" cap="flat" cmpd="sng" algn="ctr">
            <a:noFill/>
            <a:prstDash val="solid"/>
          </a:ln>
          <a:effectLst>
            <a:outerShdw blurRad="190500" dist="50800" dir="2700000" sx="101000" sy="101000" algn="tl" rotWithShape="0">
              <a:prstClr val="black">
                <a:alpha val="30000"/>
              </a:prstClr>
            </a:outerShdw>
          </a:effectLst>
        </p:spPr>
        <p:txBody>
          <a:bodyPr rot="0" spcFirstLastPara="0" vert="horz" wrap="square" lIns="134444" tIns="107556" rIns="134444" bIns="107556" numCol="1" spcCol="0" rtlCol="0" fromWordArt="0" anchor="ctr" anchorCtr="0" forceAA="0" compatLnSpc="1">
            <a:prstTxWarp prst="textNoShape">
              <a:avLst/>
            </a:prstTxWarp>
            <a:noAutofit/>
          </a:bodyPr>
          <a:lstStyle/>
          <a:p>
            <a:pPr defTabSz="685445" fontAlgn="base">
              <a:spcBef>
                <a:spcPct val="0"/>
              </a:spcBef>
              <a:spcAft>
                <a:spcPct val="0"/>
              </a:spcAft>
              <a:defRPr/>
            </a:pPr>
            <a:endParaRPr lang="en-US" sz="1471" kern="0">
              <a:gradFill>
                <a:gsLst>
                  <a:gs pos="0">
                    <a:srgbClr val="FFFFFF"/>
                  </a:gs>
                  <a:gs pos="100000">
                    <a:srgbClr val="FFFFFF"/>
                  </a:gs>
                </a:gsLst>
                <a:lin ang="5400000" scaled="0"/>
              </a:gradFill>
              <a:latin typeface="Segoe UI"/>
              <a:cs typeface="Segoe UI" pitchFamily="34" charset="0"/>
            </a:endParaRPr>
          </a:p>
        </p:txBody>
      </p:sp>
      <p:sp>
        <p:nvSpPr>
          <p:cNvPr id="84" name="Oval 83">
            <a:extLst>
              <a:ext uri="{FF2B5EF4-FFF2-40B4-BE49-F238E27FC236}">
                <a16:creationId xmlns:a16="http://schemas.microsoft.com/office/drawing/2014/main" id="{09B5132A-A702-4F30-B275-06E53A54FDE6}"/>
              </a:ext>
            </a:extLst>
          </p:cNvPr>
          <p:cNvSpPr/>
          <p:nvPr/>
        </p:nvSpPr>
        <p:spPr bwMode="auto">
          <a:xfrm>
            <a:off x="5570830" y="4346335"/>
            <a:ext cx="393390" cy="393390"/>
          </a:xfrm>
          <a:prstGeom prst="ellipse">
            <a:avLst/>
          </a:prstGeom>
          <a:solidFill>
            <a:srgbClr val="FFFFFF"/>
          </a:solidFill>
          <a:ln w="9525" cap="flat" cmpd="sng" algn="ctr">
            <a:noFill/>
            <a:prstDash val="solid"/>
          </a:ln>
          <a:effectLst>
            <a:outerShdw blurRad="190500" dist="50800" dir="2700000" sx="101000" sy="101000" algn="tl" rotWithShape="0">
              <a:prstClr val="black">
                <a:alpha val="30000"/>
              </a:prstClr>
            </a:outerShdw>
          </a:effectLst>
        </p:spPr>
        <p:txBody>
          <a:bodyPr rot="0" spcFirstLastPara="0" vert="horz" wrap="square" lIns="134444" tIns="107556" rIns="134444" bIns="107556" numCol="1" spcCol="0" rtlCol="0" fromWordArt="0" anchor="ctr" anchorCtr="0" forceAA="0" compatLnSpc="1">
            <a:prstTxWarp prst="textNoShape">
              <a:avLst/>
            </a:prstTxWarp>
            <a:noAutofit/>
          </a:bodyPr>
          <a:lstStyle/>
          <a:p>
            <a:pPr defTabSz="685445" fontAlgn="base">
              <a:spcBef>
                <a:spcPct val="0"/>
              </a:spcBef>
              <a:spcAft>
                <a:spcPct val="0"/>
              </a:spcAft>
              <a:defRPr/>
            </a:pPr>
            <a:endParaRPr lang="en-US" sz="1471" kern="0">
              <a:gradFill>
                <a:gsLst>
                  <a:gs pos="0">
                    <a:srgbClr val="FFFFFF"/>
                  </a:gs>
                  <a:gs pos="100000">
                    <a:srgbClr val="FFFFFF"/>
                  </a:gs>
                </a:gsLst>
                <a:lin ang="5400000" scaled="0"/>
              </a:gradFill>
              <a:latin typeface="Segoe UI"/>
              <a:cs typeface="Segoe UI" pitchFamily="34" charset="0"/>
            </a:endParaRPr>
          </a:p>
        </p:txBody>
      </p:sp>
      <p:sp>
        <p:nvSpPr>
          <p:cNvPr id="86" name="Power platform">
            <a:extLst>
              <a:ext uri="{FF2B5EF4-FFF2-40B4-BE49-F238E27FC236}">
                <a16:creationId xmlns:a16="http://schemas.microsoft.com/office/drawing/2014/main" id="{DC35D80C-0FA7-494C-8F1A-62CDD490E329}"/>
              </a:ext>
            </a:extLst>
          </p:cNvPr>
          <p:cNvSpPr txBox="1"/>
          <p:nvPr/>
        </p:nvSpPr>
        <p:spPr>
          <a:xfrm>
            <a:off x="3692498" y="4089291"/>
            <a:ext cx="1845468" cy="162865"/>
          </a:xfrm>
          <a:prstGeom prst="rect">
            <a:avLst/>
          </a:prstGeom>
          <a:noFill/>
        </p:spPr>
        <p:txBody>
          <a:bodyPr wrap="square" lIns="0" tIns="0" rIns="0" bIns="0" rtlCol="0">
            <a:spAutoFit/>
          </a:bodyPr>
          <a:lstStyle/>
          <a:p>
            <a:pPr algn="ctr" defTabSz="672161">
              <a:lnSpc>
                <a:spcPct val="90000"/>
              </a:lnSpc>
              <a:spcAft>
                <a:spcPts val="441"/>
              </a:spcAft>
              <a:defRPr/>
            </a:pPr>
            <a:r>
              <a:rPr lang="en-US" sz="1176">
                <a:solidFill>
                  <a:srgbClr val="1A1A1A"/>
                </a:solidFill>
                <a:latin typeface="Segoe UI Semibold"/>
              </a:rPr>
              <a:t>Power Platform</a:t>
            </a:r>
          </a:p>
        </p:txBody>
      </p:sp>
      <p:sp>
        <p:nvSpPr>
          <p:cNvPr id="87" name="Power BI">
            <a:extLst>
              <a:ext uri="{FF2B5EF4-FFF2-40B4-BE49-F238E27FC236}">
                <a16:creationId xmlns:a16="http://schemas.microsoft.com/office/drawing/2014/main" id="{7B2F3A10-4B33-4904-B7C3-DD6739B66F0B}"/>
              </a:ext>
            </a:extLst>
          </p:cNvPr>
          <p:cNvSpPr txBox="1"/>
          <p:nvPr/>
        </p:nvSpPr>
        <p:spPr>
          <a:xfrm>
            <a:off x="3159527" y="4823288"/>
            <a:ext cx="488037" cy="113108"/>
          </a:xfrm>
          <a:prstGeom prst="rect">
            <a:avLst/>
          </a:prstGeom>
          <a:noFill/>
        </p:spPr>
        <p:txBody>
          <a:bodyPr wrap="square" lIns="0" tIns="0" rIns="0" bIns="0" rtlCol="0">
            <a:spAutoFit/>
          </a:bodyPr>
          <a:lstStyle>
            <a:defPPr>
              <a:defRPr lang="en-US"/>
            </a:defPPr>
            <a:lvl1pPr marR="0" lvl="0" indent="0" algn="ctr" fontAlgn="auto">
              <a:lnSpc>
                <a:spcPct val="100000"/>
              </a:lnSpc>
              <a:spcBef>
                <a:spcPts val="0"/>
              </a:spcBef>
              <a:spcAft>
                <a:spcPts val="0"/>
              </a:spcAft>
              <a:buClrTx/>
              <a:buSzTx/>
              <a:buFontTx/>
              <a:buNone/>
              <a:tabLst/>
              <a:defRPr kumimoji="0" sz="1000" b="0" i="0" u="none" strike="noStrike" kern="0" cap="none" spc="0" normalizeH="0" baseline="0">
                <a:ln>
                  <a:noFill/>
                </a:ln>
                <a:effectLst/>
                <a:uLnTx/>
                <a:uFillTx/>
                <a:latin typeface="Segoe UI Semibold"/>
                <a:cs typeface="Segoe UI Light" panose="020B0502040204020203" pitchFamily="34" charset="0"/>
              </a:defRPr>
            </a:lvl1pPr>
          </a:lstStyle>
          <a:p>
            <a:pPr defTabSz="672161">
              <a:defRPr/>
            </a:pPr>
            <a:r>
              <a:rPr lang="en-US" sz="735">
                <a:solidFill>
                  <a:srgbClr val="1A1A1A"/>
                </a:solidFill>
              </a:rPr>
              <a:t>Power BI</a:t>
            </a:r>
          </a:p>
        </p:txBody>
      </p:sp>
      <p:sp>
        <p:nvSpPr>
          <p:cNvPr id="88" name="Flow">
            <a:extLst>
              <a:ext uri="{FF2B5EF4-FFF2-40B4-BE49-F238E27FC236}">
                <a16:creationId xmlns:a16="http://schemas.microsoft.com/office/drawing/2014/main" id="{3C670E05-C1A7-4373-B51F-9F5EED5AD6F8}"/>
              </a:ext>
            </a:extLst>
          </p:cNvPr>
          <p:cNvSpPr txBox="1"/>
          <p:nvPr/>
        </p:nvSpPr>
        <p:spPr>
          <a:xfrm>
            <a:off x="4019897" y="4823288"/>
            <a:ext cx="488037" cy="226216"/>
          </a:xfrm>
          <a:prstGeom prst="rect">
            <a:avLst/>
          </a:prstGeom>
          <a:noFill/>
        </p:spPr>
        <p:txBody>
          <a:bodyPr wrap="square" lIns="0" tIns="0" rIns="0" bIns="0" rtlCol="0">
            <a:spAutoFit/>
          </a:bodyPr>
          <a:lstStyle>
            <a:defPPr>
              <a:defRPr lang="en-US"/>
            </a:defPPr>
            <a:lvl1pPr marR="0" lvl="0" indent="0" algn="ctr" fontAlgn="auto">
              <a:lnSpc>
                <a:spcPct val="100000"/>
              </a:lnSpc>
              <a:spcBef>
                <a:spcPts val="0"/>
              </a:spcBef>
              <a:spcAft>
                <a:spcPts val="0"/>
              </a:spcAft>
              <a:buClrTx/>
              <a:buSzTx/>
              <a:buFontTx/>
              <a:buNone/>
              <a:tabLst/>
              <a:defRPr kumimoji="0" sz="1000" b="0" i="0" u="none" strike="noStrike" kern="0" cap="none" spc="0" normalizeH="0" baseline="0">
                <a:ln>
                  <a:noFill/>
                </a:ln>
                <a:effectLst/>
                <a:uLnTx/>
                <a:uFillTx/>
                <a:latin typeface="Segoe UI Semibold"/>
                <a:cs typeface="Segoe UI Light" panose="020B0502040204020203" pitchFamily="34" charset="0"/>
              </a:defRPr>
            </a:lvl1pPr>
          </a:lstStyle>
          <a:p>
            <a:pPr defTabSz="672161">
              <a:defRPr/>
            </a:pPr>
            <a:r>
              <a:rPr lang="en-US" sz="735">
                <a:solidFill>
                  <a:srgbClr val="1A1A1A"/>
                </a:solidFill>
              </a:rPr>
              <a:t>Power Automate</a:t>
            </a:r>
          </a:p>
        </p:txBody>
      </p:sp>
      <p:sp>
        <p:nvSpPr>
          <p:cNvPr id="89" name="PowerApps">
            <a:extLst>
              <a:ext uri="{FF2B5EF4-FFF2-40B4-BE49-F238E27FC236}">
                <a16:creationId xmlns:a16="http://schemas.microsoft.com/office/drawing/2014/main" id="{E2F07726-5F2B-404D-A43B-44FCBB59F636}"/>
              </a:ext>
            </a:extLst>
          </p:cNvPr>
          <p:cNvSpPr txBox="1"/>
          <p:nvPr/>
        </p:nvSpPr>
        <p:spPr>
          <a:xfrm>
            <a:off x="5526814" y="4823288"/>
            <a:ext cx="488037" cy="113108"/>
          </a:xfrm>
          <a:prstGeom prst="rect">
            <a:avLst/>
          </a:prstGeom>
          <a:noFill/>
        </p:spPr>
        <p:txBody>
          <a:bodyPr wrap="square" lIns="0" tIns="0" rIns="0" bIns="0" rtlCol="0">
            <a:spAutoFit/>
          </a:bodyPr>
          <a:lstStyle>
            <a:defPPr>
              <a:defRPr lang="en-US"/>
            </a:defPPr>
            <a:lvl1pPr marR="0" lvl="0" indent="0" algn="ctr" fontAlgn="auto">
              <a:lnSpc>
                <a:spcPct val="100000"/>
              </a:lnSpc>
              <a:spcBef>
                <a:spcPts val="0"/>
              </a:spcBef>
              <a:spcAft>
                <a:spcPts val="0"/>
              </a:spcAft>
              <a:buClrTx/>
              <a:buSzTx/>
              <a:buFontTx/>
              <a:buNone/>
              <a:tabLst/>
              <a:defRPr kumimoji="0" sz="1000" b="0" i="0" u="none" strike="noStrike" kern="0" cap="none" spc="0" normalizeH="0" baseline="0">
                <a:ln>
                  <a:noFill/>
                </a:ln>
                <a:effectLst/>
                <a:uLnTx/>
                <a:uFillTx/>
                <a:latin typeface="Segoe UI Semibold"/>
                <a:cs typeface="Segoe UI Light" panose="020B0502040204020203" pitchFamily="34" charset="0"/>
              </a:defRPr>
            </a:lvl1pPr>
          </a:lstStyle>
          <a:p>
            <a:pPr defTabSz="672161">
              <a:defRPr/>
            </a:pPr>
            <a:r>
              <a:rPr lang="en-US" sz="735">
                <a:solidFill>
                  <a:srgbClr val="1A1A1A"/>
                </a:solidFill>
              </a:rPr>
              <a:t>PowerApps</a:t>
            </a:r>
          </a:p>
        </p:txBody>
      </p:sp>
      <p:sp>
        <p:nvSpPr>
          <p:cNvPr id="90" name="Commerce">
            <a:extLst>
              <a:ext uri="{FF2B5EF4-FFF2-40B4-BE49-F238E27FC236}">
                <a16:creationId xmlns:a16="http://schemas.microsoft.com/office/drawing/2014/main" id="{35A33F50-EC07-47A5-AE1D-70EDC0AD3B72}"/>
              </a:ext>
            </a:extLst>
          </p:cNvPr>
          <p:cNvSpPr txBox="1"/>
          <p:nvPr/>
        </p:nvSpPr>
        <p:spPr>
          <a:xfrm>
            <a:off x="4908204" y="2858682"/>
            <a:ext cx="542228" cy="113108"/>
          </a:xfrm>
          <a:prstGeom prst="rect">
            <a:avLst/>
          </a:prstGeom>
          <a:noFill/>
        </p:spPr>
        <p:txBody>
          <a:bodyPr wrap="square" lIns="0" tIns="0" rIns="0" bIns="0" rtlCol="0">
            <a:spAutoFit/>
          </a:bodyPr>
          <a:lstStyle>
            <a:defPPr>
              <a:defRPr lang="en-US"/>
            </a:defPPr>
            <a:lvl1pPr marR="0" lvl="0" indent="0" algn="ctr" fontAlgn="auto">
              <a:lnSpc>
                <a:spcPct val="100000"/>
              </a:lnSpc>
              <a:spcBef>
                <a:spcPts val="0"/>
              </a:spcBef>
              <a:spcAft>
                <a:spcPts val="0"/>
              </a:spcAft>
              <a:buClrTx/>
              <a:buSzTx/>
              <a:buFontTx/>
              <a:buNone/>
              <a:tabLst/>
              <a:defRPr kumimoji="0" sz="1000" b="0" i="0" u="none" strike="noStrike" kern="0" cap="none" spc="0" normalizeH="0" baseline="0">
                <a:ln>
                  <a:noFill/>
                </a:ln>
                <a:effectLst/>
                <a:uLnTx/>
                <a:uFillTx/>
                <a:latin typeface="Segoe UI Semibold"/>
                <a:cs typeface="Segoe UI Light" panose="020B0502040204020203" pitchFamily="34" charset="0"/>
              </a:defRPr>
            </a:lvl1pPr>
          </a:lstStyle>
          <a:p>
            <a:pPr defTabSz="672161">
              <a:defRPr/>
            </a:pPr>
            <a:r>
              <a:rPr lang="en-US" sz="735">
                <a:solidFill>
                  <a:srgbClr val="1A1A1A"/>
                </a:solidFill>
              </a:rPr>
              <a:t>Field Service</a:t>
            </a:r>
          </a:p>
        </p:txBody>
      </p:sp>
      <p:sp>
        <p:nvSpPr>
          <p:cNvPr id="100" name="Service">
            <a:extLst>
              <a:ext uri="{FF2B5EF4-FFF2-40B4-BE49-F238E27FC236}">
                <a16:creationId xmlns:a16="http://schemas.microsoft.com/office/drawing/2014/main" id="{B8C30DC6-01F8-4877-B4A3-BCF61944A158}"/>
              </a:ext>
            </a:extLst>
          </p:cNvPr>
          <p:cNvSpPr txBox="1"/>
          <p:nvPr/>
        </p:nvSpPr>
        <p:spPr>
          <a:xfrm>
            <a:off x="5206413" y="2532280"/>
            <a:ext cx="488037" cy="226216"/>
          </a:xfrm>
          <a:prstGeom prst="rect">
            <a:avLst/>
          </a:prstGeom>
          <a:noFill/>
        </p:spPr>
        <p:txBody>
          <a:bodyPr wrap="square" lIns="0" tIns="0" rIns="0" bIns="0" rtlCol="0">
            <a:spAutoFit/>
          </a:bodyPr>
          <a:lstStyle>
            <a:defPPr>
              <a:defRPr lang="en-US"/>
            </a:defPPr>
            <a:lvl1pPr marR="0" lvl="0" indent="0" algn="ctr" fontAlgn="auto">
              <a:lnSpc>
                <a:spcPct val="100000"/>
              </a:lnSpc>
              <a:spcBef>
                <a:spcPts val="0"/>
              </a:spcBef>
              <a:spcAft>
                <a:spcPts val="0"/>
              </a:spcAft>
              <a:buClrTx/>
              <a:buSzTx/>
              <a:buFontTx/>
              <a:buNone/>
              <a:tabLst/>
              <a:defRPr kumimoji="0" sz="1000" b="0" i="0" u="none" strike="noStrike" kern="0" cap="none" spc="0" normalizeH="0" baseline="0">
                <a:ln>
                  <a:noFill/>
                </a:ln>
                <a:effectLst/>
                <a:uLnTx/>
                <a:uFillTx/>
                <a:latin typeface="Segoe UI Semibold"/>
                <a:cs typeface="Segoe UI Light" panose="020B0502040204020203" pitchFamily="34" charset="0"/>
              </a:defRPr>
            </a:lvl1pPr>
          </a:lstStyle>
          <a:p>
            <a:pPr defTabSz="672161">
              <a:defRPr/>
            </a:pPr>
            <a:r>
              <a:rPr lang="en-US" sz="735">
                <a:solidFill>
                  <a:srgbClr val="1A1A1A"/>
                </a:solidFill>
              </a:rPr>
              <a:t>Customer</a:t>
            </a:r>
            <a:br>
              <a:rPr lang="en-US" sz="735">
                <a:solidFill>
                  <a:srgbClr val="1A1A1A"/>
                </a:solidFill>
              </a:rPr>
            </a:br>
            <a:r>
              <a:rPr lang="en-US" sz="735">
                <a:solidFill>
                  <a:srgbClr val="1A1A1A"/>
                </a:solidFill>
              </a:rPr>
              <a:t>Service</a:t>
            </a:r>
          </a:p>
        </p:txBody>
      </p:sp>
      <p:sp>
        <p:nvSpPr>
          <p:cNvPr id="101" name="Operations">
            <a:extLst>
              <a:ext uri="{FF2B5EF4-FFF2-40B4-BE49-F238E27FC236}">
                <a16:creationId xmlns:a16="http://schemas.microsoft.com/office/drawing/2014/main" id="{2138E863-2AA9-41E3-B2D0-1963125FFAF0}"/>
              </a:ext>
            </a:extLst>
          </p:cNvPr>
          <p:cNvSpPr txBox="1"/>
          <p:nvPr/>
        </p:nvSpPr>
        <p:spPr>
          <a:xfrm>
            <a:off x="4186712" y="3003261"/>
            <a:ext cx="622983" cy="226216"/>
          </a:xfrm>
          <a:prstGeom prst="rect">
            <a:avLst/>
          </a:prstGeom>
          <a:noFill/>
        </p:spPr>
        <p:txBody>
          <a:bodyPr wrap="square" lIns="0" tIns="0" rIns="0" bIns="0" rtlCol="0">
            <a:spAutoFit/>
          </a:bodyPr>
          <a:lstStyle>
            <a:defPPr>
              <a:defRPr lang="en-US"/>
            </a:defPPr>
            <a:lvl1pPr marR="0" lvl="0" indent="0" algn="ctr" fontAlgn="auto">
              <a:lnSpc>
                <a:spcPct val="100000"/>
              </a:lnSpc>
              <a:spcBef>
                <a:spcPts val="0"/>
              </a:spcBef>
              <a:spcAft>
                <a:spcPts val="0"/>
              </a:spcAft>
              <a:buClrTx/>
              <a:buSzTx/>
              <a:buFontTx/>
              <a:buNone/>
              <a:tabLst/>
              <a:defRPr kumimoji="0" sz="1000" b="0" i="0" u="none" strike="noStrike" kern="0" cap="none" spc="0" normalizeH="0" baseline="0">
                <a:ln>
                  <a:noFill/>
                </a:ln>
                <a:effectLst/>
                <a:uLnTx/>
                <a:uFillTx/>
                <a:latin typeface="Segoe UI Semibold"/>
                <a:cs typeface="Segoe UI Light" panose="020B0502040204020203" pitchFamily="34" charset="0"/>
              </a:defRPr>
            </a:lvl1pPr>
          </a:lstStyle>
          <a:p>
            <a:pPr defTabSz="672161">
              <a:defRPr/>
            </a:pPr>
            <a:r>
              <a:rPr lang="en-US" sz="735">
                <a:solidFill>
                  <a:srgbClr val="1A1A1A"/>
                </a:solidFill>
              </a:rPr>
              <a:t>Supply Chain </a:t>
            </a:r>
            <a:r>
              <a:rPr lang="en-US" sz="735" err="1">
                <a:solidFill>
                  <a:srgbClr val="1A1A1A"/>
                </a:solidFill>
              </a:rPr>
              <a:t>Mgmt</a:t>
            </a:r>
            <a:endParaRPr lang="en-US" sz="735">
              <a:solidFill>
                <a:srgbClr val="1A1A1A"/>
              </a:solidFill>
            </a:endParaRPr>
          </a:p>
        </p:txBody>
      </p:sp>
      <p:sp>
        <p:nvSpPr>
          <p:cNvPr id="103" name="Finance">
            <a:extLst>
              <a:ext uri="{FF2B5EF4-FFF2-40B4-BE49-F238E27FC236}">
                <a16:creationId xmlns:a16="http://schemas.microsoft.com/office/drawing/2014/main" id="{DBBC3767-2A1C-488E-8170-C0B8B49D7EB3}"/>
              </a:ext>
            </a:extLst>
          </p:cNvPr>
          <p:cNvSpPr txBox="1"/>
          <p:nvPr/>
        </p:nvSpPr>
        <p:spPr>
          <a:xfrm>
            <a:off x="3486482" y="1870664"/>
            <a:ext cx="563529" cy="113108"/>
          </a:xfrm>
          <a:prstGeom prst="rect">
            <a:avLst/>
          </a:prstGeom>
          <a:noFill/>
        </p:spPr>
        <p:txBody>
          <a:bodyPr wrap="square" lIns="0" tIns="0" rIns="0" bIns="0" rtlCol="0">
            <a:spAutoFit/>
          </a:bodyPr>
          <a:lstStyle>
            <a:defPPr>
              <a:defRPr lang="en-US"/>
            </a:defPPr>
            <a:lvl1pPr marR="0" lvl="0" indent="0" algn="ctr" fontAlgn="auto">
              <a:lnSpc>
                <a:spcPct val="100000"/>
              </a:lnSpc>
              <a:spcBef>
                <a:spcPts val="0"/>
              </a:spcBef>
              <a:spcAft>
                <a:spcPts val="0"/>
              </a:spcAft>
              <a:buClrTx/>
              <a:buSzTx/>
              <a:buFontTx/>
              <a:buNone/>
              <a:tabLst/>
              <a:defRPr kumimoji="0" sz="1000" b="0" i="0" u="none" strike="noStrike" kern="0" cap="none" spc="0" normalizeH="0" baseline="0">
                <a:ln>
                  <a:noFill/>
                </a:ln>
                <a:effectLst/>
                <a:uLnTx/>
                <a:uFillTx/>
                <a:latin typeface="Segoe UI Semibold"/>
                <a:cs typeface="Segoe UI Light" panose="020B0502040204020203" pitchFamily="34" charset="0"/>
              </a:defRPr>
            </a:lvl1pPr>
          </a:lstStyle>
          <a:p>
            <a:pPr defTabSz="672161">
              <a:defRPr/>
            </a:pPr>
            <a:r>
              <a:rPr lang="en-US" sz="735">
                <a:solidFill>
                  <a:srgbClr val="1A1A1A"/>
                </a:solidFill>
              </a:rPr>
              <a:t>Finance</a:t>
            </a:r>
          </a:p>
        </p:txBody>
      </p:sp>
      <p:sp>
        <p:nvSpPr>
          <p:cNvPr id="96" name="Sales">
            <a:extLst>
              <a:ext uri="{FF2B5EF4-FFF2-40B4-BE49-F238E27FC236}">
                <a16:creationId xmlns:a16="http://schemas.microsoft.com/office/drawing/2014/main" id="{B044F09D-C5F8-4609-BF14-957276D6D21A}"/>
              </a:ext>
            </a:extLst>
          </p:cNvPr>
          <p:cNvSpPr txBox="1"/>
          <p:nvPr/>
        </p:nvSpPr>
        <p:spPr>
          <a:xfrm>
            <a:off x="4896236" y="1810718"/>
            <a:ext cx="613654" cy="113108"/>
          </a:xfrm>
          <a:prstGeom prst="rect">
            <a:avLst/>
          </a:prstGeom>
          <a:noFill/>
        </p:spPr>
        <p:txBody>
          <a:bodyPr wrap="square" lIns="0" tIns="0" rIns="0" bIns="0" rtlCol="0">
            <a:spAutoFit/>
          </a:bodyPr>
          <a:lstStyle>
            <a:defPPr>
              <a:defRPr lang="en-US"/>
            </a:defPPr>
            <a:lvl1pPr marR="0" lvl="0" indent="0" algn="ctr" fontAlgn="auto">
              <a:lnSpc>
                <a:spcPct val="100000"/>
              </a:lnSpc>
              <a:spcBef>
                <a:spcPts val="0"/>
              </a:spcBef>
              <a:spcAft>
                <a:spcPts val="0"/>
              </a:spcAft>
              <a:buClrTx/>
              <a:buSzTx/>
              <a:buFontTx/>
              <a:buNone/>
              <a:tabLst/>
              <a:defRPr kumimoji="0" sz="1000" b="0" i="0" u="none" strike="noStrike" kern="0" cap="none" spc="0" normalizeH="0" baseline="0">
                <a:ln>
                  <a:noFill/>
                </a:ln>
                <a:effectLst/>
                <a:uLnTx/>
                <a:uFillTx/>
                <a:latin typeface="Segoe UI Semibold"/>
                <a:cs typeface="Segoe UI Light" panose="020B0502040204020203" pitchFamily="34" charset="0"/>
              </a:defRPr>
            </a:lvl1pPr>
          </a:lstStyle>
          <a:p>
            <a:pPr defTabSz="672161">
              <a:defRPr/>
            </a:pPr>
            <a:r>
              <a:rPr lang="en-US" sz="735">
                <a:solidFill>
                  <a:srgbClr val="1A1A1A"/>
                </a:solidFill>
              </a:rPr>
              <a:t>Sales </a:t>
            </a:r>
          </a:p>
        </p:txBody>
      </p:sp>
      <p:grpSp>
        <p:nvGrpSpPr>
          <p:cNvPr id="160" name="ARROWS">
            <a:extLst>
              <a:ext uri="{FF2B5EF4-FFF2-40B4-BE49-F238E27FC236}">
                <a16:creationId xmlns:a16="http://schemas.microsoft.com/office/drawing/2014/main" id="{178274B0-1DB4-46A6-94F1-98B7FB6DCAEB}"/>
              </a:ext>
            </a:extLst>
          </p:cNvPr>
          <p:cNvGrpSpPr/>
          <p:nvPr/>
        </p:nvGrpSpPr>
        <p:grpSpPr>
          <a:xfrm>
            <a:off x="2576345" y="596141"/>
            <a:ext cx="3961547" cy="3349541"/>
            <a:chOff x="3098767" y="326668"/>
            <a:chExt cx="6152823" cy="5202298"/>
          </a:xfrm>
        </p:grpSpPr>
        <p:sp>
          <p:nvSpPr>
            <p:cNvPr id="161" name="Intelligence">
              <a:extLst>
                <a:ext uri="{FF2B5EF4-FFF2-40B4-BE49-F238E27FC236}">
                  <a16:creationId xmlns:a16="http://schemas.microsoft.com/office/drawing/2014/main" id="{BFCD2F78-9B7C-474E-8139-48F2256E1D6A}"/>
                </a:ext>
              </a:extLst>
            </p:cNvPr>
            <p:cNvSpPr txBox="1"/>
            <p:nvPr/>
          </p:nvSpPr>
          <p:spPr>
            <a:xfrm rot="14012589">
              <a:off x="4161386" y="-36087"/>
              <a:ext cx="4727449" cy="5452959"/>
            </a:xfrm>
            <a:prstGeom prst="rect">
              <a:avLst/>
            </a:prstGeom>
            <a:noFill/>
          </p:spPr>
          <p:txBody>
            <a:bodyPr spcFirstLastPara="1" wrap="square" lIns="0" tIns="0" rIns="0" bIns="0" numCol="1" rtlCol="0" anchor="t" anchorCtr="0">
              <a:prstTxWarp prst="textArchDown">
                <a:avLst>
                  <a:gd name="adj" fmla="val 12270174"/>
                </a:avLst>
              </a:prstTxWarp>
              <a:spAutoFit/>
            </a:bodyPr>
            <a:lstStyle/>
            <a:p>
              <a:pPr algn="ctr" defTabSz="672161">
                <a:defRPr/>
              </a:pPr>
              <a:r>
                <a:rPr lang="en-US" sz="1176" b="1" kern="0" spc="221">
                  <a:solidFill>
                    <a:srgbClr val="FFFFFF"/>
                  </a:solidFill>
                  <a:latin typeface="Segoe UI"/>
                  <a:cs typeface="Segoe UI Light" panose="020B0502040204020203" pitchFamily="34" charset="0"/>
                </a:rPr>
                <a:t>Intelligence </a:t>
              </a:r>
            </a:p>
          </p:txBody>
        </p:sp>
        <p:sp>
          <p:nvSpPr>
            <p:cNvPr id="162" name="Data">
              <a:extLst>
                <a:ext uri="{FF2B5EF4-FFF2-40B4-BE49-F238E27FC236}">
                  <a16:creationId xmlns:a16="http://schemas.microsoft.com/office/drawing/2014/main" id="{AC95F131-1B5F-4C23-B3FD-3AE62BDB75BB}"/>
                </a:ext>
              </a:extLst>
            </p:cNvPr>
            <p:cNvSpPr txBox="1"/>
            <p:nvPr/>
          </p:nvSpPr>
          <p:spPr>
            <a:xfrm rot="3964135">
              <a:off x="3313818" y="586467"/>
              <a:ext cx="4727448" cy="5157549"/>
            </a:xfrm>
            <a:prstGeom prst="rect">
              <a:avLst/>
            </a:prstGeom>
            <a:noFill/>
          </p:spPr>
          <p:txBody>
            <a:bodyPr spcFirstLastPara="1" wrap="square" lIns="0" tIns="0" rIns="0" bIns="0" numCol="1" rtlCol="0" anchor="t" anchorCtr="0">
              <a:prstTxWarp prst="textArchUp">
                <a:avLst/>
              </a:prstTxWarp>
              <a:spAutoFit/>
            </a:bodyPr>
            <a:lstStyle/>
            <a:p>
              <a:pPr algn="ctr" defTabSz="672161">
                <a:defRPr/>
              </a:pPr>
              <a:r>
                <a:rPr lang="en-US" sz="1176" b="1" kern="0" spc="221">
                  <a:solidFill>
                    <a:srgbClr val="FFFFFF"/>
                  </a:solidFill>
                  <a:latin typeface="Segoe UI"/>
                  <a:cs typeface="Segoe UI Light" panose="020B0502040204020203" pitchFamily="34" charset="0"/>
                </a:rPr>
                <a:t>Data</a:t>
              </a:r>
            </a:p>
          </p:txBody>
        </p:sp>
        <p:sp>
          <p:nvSpPr>
            <p:cNvPr id="163" name="bottom arrow">
              <a:extLst>
                <a:ext uri="{FF2B5EF4-FFF2-40B4-BE49-F238E27FC236}">
                  <a16:creationId xmlns:a16="http://schemas.microsoft.com/office/drawing/2014/main" id="{8A2DB07F-717F-46D8-8B2C-941FE277FDDE}"/>
                </a:ext>
              </a:extLst>
            </p:cNvPr>
            <p:cNvSpPr/>
            <p:nvPr/>
          </p:nvSpPr>
          <p:spPr>
            <a:xfrm rot="20774989">
              <a:off x="3922002" y="854135"/>
              <a:ext cx="4266260" cy="4135915"/>
            </a:xfrm>
            <a:prstGeom prst="arc">
              <a:avLst>
                <a:gd name="adj1" fmla="val 11787294"/>
                <a:gd name="adj2" fmla="val 20369564"/>
              </a:avLst>
            </a:prstGeom>
            <a:noFill/>
            <a:ln w="22225" cap="rnd" cmpd="sng" algn="ctr">
              <a:solidFill>
                <a:srgbClr val="FFFFFF"/>
              </a:solidFill>
              <a:prstDash val="solid"/>
              <a:headEnd type="none" w="lg" len="med"/>
              <a:tailEnd type="arrow" w="lg" len="med"/>
            </a:ln>
            <a:effectLst/>
          </p:spPr>
          <p:txBody>
            <a:bodyPr rtlCol="0" anchor="ctr"/>
            <a:lstStyle/>
            <a:p>
              <a:pPr algn="ctr" defTabSz="672161">
                <a:defRPr/>
              </a:pPr>
              <a:endParaRPr lang="en-IN" sz="882" kern="0">
                <a:solidFill>
                  <a:srgbClr val="1A1A1A"/>
                </a:solidFill>
                <a:latin typeface="Segoe UI"/>
              </a:endParaRPr>
            </a:p>
          </p:txBody>
        </p:sp>
        <p:sp>
          <p:nvSpPr>
            <p:cNvPr id="164" name="top arrow">
              <a:extLst>
                <a:ext uri="{FF2B5EF4-FFF2-40B4-BE49-F238E27FC236}">
                  <a16:creationId xmlns:a16="http://schemas.microsoft.com/office/drawing/2014/main" id="{7EF4B357-3E42-4B0F-83BC-5B904CE14AD5}"/>
                </a:ext>
              </a:extLst>
            </p:cNvPr>
            <p:cNvSpPr/>
            <p:nvPr/>
          </p:nvSpPr>
          <p:spPr>
            <a:xfrm rot="10136900">
              <a:off x="3925456" y="1061027"/>
              <a:ext cx="4313596" cy="4154639"/>
            </a:xfrm>
            <a:prstGeom prst="arc">
              <a:avLst>
                <a:gd name="adj1" fmla="val 11705176"/>
                <a:gd name="adj2" fmla="val 18684423"/>
              </a:avLst>
            </a:prstGeom>
            <a:noFill/>
            <a:ln w="22225" cap="rnd" cmpd="sng" algn="ctr">
              <a:solidFill>
                <a:srgbClr val="FFFFFF"/>
              </a:solidFill>
              <a:prstDash val="solid"/>
              <a:headEnd type="none" w="lg" len="med"/>
              <a:tailEnd type="arrow" w="lg" len="med"/>
            </a:ln>
            <a:effectLst/>
          </p:spPr>
          <p:txBody>
            <a:bodyPr rtlCol="0" anchor="ctr"/>
            <a:lstStyle/>
            <a:p>
              <a:pPr algn="ctr" defTabSz="672161">
                <a:defRPr/>
              </a:pPr>
              <a:endParaRPr lang="en-IN" sz="882" kern="0">
                <a:solidFill>
                  <a:srgbClr val="1A1A1A"/>
                </a:solidFill>
                <a:latin typeface="Segoe UI"/>
              </a:endParaRPr>
            </a:p>
          </p:txBody>
        </p:sp>
      </p:grpSp>
      <p:sp>
        <p:nvSpPr>
          <p:cNvPr id="97" name="Marketing">
            <a:extLst>
              <a:ext uri="{FF2B5EF4-FFF2-40B4-BE49-F238E27FC236}">
                <a16:creationId xmlns:a16="http://schemas.microsoft.com/office/drawing/2014/main" id="{9CDDAE54-4C56-460D-A316-33137185EA26}"/>
              </a:ext>
            </a:extLst>
          </p:cNvPr>
          <p:cNvSpPr txBox="1"/>
          <p:nvPr/>
        </p:nvSpPr>
        <p:spPr>
          <a:xfrm>
            <a:off x="4308488" y="1536005"/>
            <a:ext cx="458852" cy="113108"/>
          </a:xfrm>
          <a:prstGeom prst="rect">
            <a:avLst/>
          </a:prstGeom>
          <a:noFill/>
        </p:spPr>
        <p:txBody>
          <a:bodyPr wrap="square" lIns="0" tIns="0" rIns="0" bIns="0" rtlCol="0">
            <a:spAutoFit/>
          </a:bodyPr>
          <a:lstStyle>
            <a:defPPr>
              <a:defRPr lang="en-US"/>
            </a:defPPr>
            <a:lvl1pPr marR="0" lvl="0" indent="0" algn="ctr" fontAlgn="auto">
              <a:lnSpc>
                <a:spcPct val="100000"/>
              </a:lnSpc>
              <a:spcBef>
                <a:spcPts val="0"/>
              </a:spcBef>
              <a:spcAft>
                <a:spcPts val="0"/>
              </a:spcAft>
              <a:buClrTx/>
              <a:buSzTx/>
              <a:buFontTx/>
              <a:buNone/>
              <a:tabLst/>
              <a:defRPr kumimoji="0" sz="1000" b="0" i="0" u="none" strike="noStrike" kern="0" cap="none" spc="0" normalizeH="0" baseline="0">
                <a:ln>
                  <a:noFill/>
                </a:ln>
                <a:effectLst/>
                <a:uLnTx/>
                <a:uFillTx/>
                <a:latin typeface="Segoe UI Semibold"/>
                <a:cs typeface="Segoe UI Light" panose="020B0502040204020203" pitchFamily="34" charset="0"/>
              </a:defRPr>
            </a:lvl1pPr>
          </a:lstStyle>
          <a:p>
            <a:pPr defTabSz="672161">
              <a:defRPr/>
            </a:pPr>
            <a:r>
              <a:rPr lang="en-US" sz="735">
                <a:solidFill>
                  <a:srgbClr val="1A1A1A"/>
                </a:solidFill>
              </a:rPr>
              <a:t>Marketing</a:t>
            </a:r>
          </a:p>
        </p:txBody>
      </p:sp>
      <p:sp>
        <p:nvSpPr>
          <p:cNvPr id="105" name="Talent">
            <a:extLst>
              <a:ext uri="{FF2B5EF4-FFF2-40B4-BE49-F238E27FC236}">
                <a16:creationId xmlns:a16="http://schemas.microsoft.com/office/drawing/2014/main" id="{F8B689E0-082D-4183-B530-1654755784F7}"/>
              </a:ext>
            </a:extLst>
          </p:cNvPr>
          <p:cNvSpPr txBox="1"/>
          <p:nvPr/>
        </p:nvSpPr>
        <p:spPr>
          <a:xfrm>
            <a:off x="3495363" y="2856716"/>
            <a:ext cx="779240" cy="113108"/>
          </a:xfrm>
          <a:prstGeom prst="rect">
            <a:avLst/>
          </a:prstGeom>
          <a:noFill/>
        </p:spPr>
        <p:txBody>
          <a:bodyPr wrap="square" lIns="0" tIns="0" rIns="0" bIns="0" rtlCol="0">
            <a:spAutoFit/>
          </a:bodyPr>
          <a:lstStyle>
            <a:defPPr>
              <a:defRPr lang="en-US"/>
            </a:defPPr>
            <a:lvl1pPr marR="0" lvl="0" indent="0" algn="ctr" fontAlgn="auto">
              <a:lnSpc>
                <a:spcPct val="100000"/>
              </a:lnSpc>
              <a:spcBef>
                <a:spcPts val="0"/>
              </a:spcBef>
              <a:spcAft>
                <a:spcPts val="0"/>
              </a:spcAft>
              <a:buClrTx/>
              <a:buSzTx/>
              <a:buFontTx/>
              <a:buNone/>
              <a:tabLst/>
              <a:defRPr kumimoji="0" sz="1000" b="0" i="0" u="none" strike="noStrike" kern="0" cap="none" spc="0" normalizeH="0" baseline="0">
                <a:ln>
                  <a:noFill/>
                </a:ln>
                <a:effectLst/>
                <a:uLnTx/>
                <a:uFillTx/>
                <a:latin typeface="Segoe UI Semibold"/>
                <a:cs typeface="Segoe UI Light" panose="020B0502040204020203" pitchFamily="34" charset="0"/>
              </a:defRPr>
            </a:lvl1pPr>
          </a:lstStyle>
          <a:p>
            <a:pPr defTabSz="672161">
              <a:defRPr/>
            </a:pPr>
            <a:r>
              <a:rPr lang="en-US" sz="735">
                <a:solidFill>
                  <a:srgbClr val="1A1A1A"/>
                </a:solidFill>
              </a:rPr>
              <a:t>Human Resources</a:t>
            </a:r>
          </a:p>
        </p:txBody>
      </p:sp>
      <p:pic>
        <p:nvPicPr>
          <p:cNvPr id="120" name="AZURE">
            <a:extLst>
              <a:ext uri="{FF2B5EF4-FFF2-40B4-BE49-F238E27FC236}">
                <a16:creationId xmlns:a16="http://schemas.microsoft.com/office/drawing/2014/main" id="{C8A3232D-717C-465D-A248-CEE91788FA2D}"/>
              </a:ext>
            </a:extLst>
          </p:cNvPr>
          <p:cNvPicPr>
            <a:picLocks noChangeAspect="1"/>
          </p:cNvPicPr>
          <p:nvPr/>
        </p:nvPicPr>
        <p:blipFill>
          <a:blip r:embed="rId4"/>
          <a:stretch>
            <a:fillRect/>
          </a:stretch>
        </p:blipFill>
        <p:spPr>
          <a:xfrm>
            <a:off x="6549716" y="2714265"/>
            <a:ext cx="1750826" cy="579100"/>
          </a:xfrm>
          <a:prstGeom prst="rect">
            <a:avLst/>
          </a:prstGeom>
        </p:spPr>
      </p:pic>
      <p:sp>
        <p:nvSpPr>
          <p:cNvPr id="126" name="Title 6">
            <a:extLst>
              <a:ext uri="{FF2B5EF4-FFF2-40B4-BE49-F238E27FC236}">
                <a16:creationId xmlns:a16="http://schemas.microsoft.com/office/drawing/2014/main" id="{9D26354A-7186-4282-847C-64D4C1FDDA1D}"/>
              </a:ext>
            </a:extLst>
          </p:cNvPr>
          <p:cNvSpPr>
            <a:spLocks noGrp="1"/>
          </p:cNvSpPr>
          <p:nvPr>
            <p:ph type="title"/>
          </p:nvPr>
        </p:nvSpPr>
        <p:spPr>
          <a:xfrm>
            <a:off x="224367" y="172231"/>
            <a:ext cx="8472488" cy="914096"/>
          </a:xfrm>
        </p:spPr>
        <p:txBody>
          <a:bodyPr>
            <a:normAutofit fontScale="90000"/>
          </a:bodyPr>
          <a:lstStyle/>
          <a:p>
            <a:r>
              <a:rPr lang="en-US" dirty="0">
                <a:solidFill>
                  <a:schemeClr val="tx1"/>
                </a:solidFill>
              </a:rPr>
              <a:t>The Microsoft Cloud</a:t>
            </a:r>
            <a:br>
              <a:rPr lang="en-US" dirty="0">
                <a:solidFill>
                  <a:schemeClr val="tx1"/>
                </a:solidFill>
              </a:rPr>
            </a:br>
            <a:endParaRPr lang="en-US" dirty="0">
              <a:solidFill>
                <a:schemeClr val="tx1"/>
              </a:solidFill>
            </a:endParaRPr>
          </a:p>
        </p:txBody>
      </p:sp>
      <p:sp>
        <p:nvSpPr>
          <p:cNvPr id="2" name="Rectangle 1">
            <a:extLst>
              <a:ext uri="{FF2B5EF4-FFF2-40B4-BE49-F238E27FC236}">
                <a16:creationId xmlns:a16="http://schemas.microsoft.com/office/drawing/2014/main" id="{C9027C39-5266-4B45-BFA6-6522B89100E4}"/>
              </a:ext>
            </a:extLst>
          </p:cNvPr>
          <p:cNvSpPr/>
          <p:nvPr/>
        </p:nvSpPr>
        <p:spPr>
          <a:xfrm>
            <a:off x="576373" y="3144223"/>
            <a:ext cx="2417111" cy="206595"/>
          </a:xfrm>
          <a:prstGeom prst="rect">
            <a:avLst/>
          </a:prstGeom>
        </p:spPr>
        <p:txBody>
          <a:bodyPr wrap="square">
            <a:spAutoFit/>
          </a:bodyPr>
          <a:lstStyle/>
          <a:p>
            <a:pPr algn="ctr" defTabSz="685800">
              <a:lnSpc>
                <a:spcPct val="90000"/>
              </a:lnSpc>
              <a:spcAft>
                <a:spcPts val="450"/>
              </a:spcAft>
              <a:defRPr/>
            </a:pPr>
            <a:r>
              <a:rPr lang="en-US" sz="825" b="1">
                <a:solidFill>
                  <a:srgbClr val="1A1A1A"/>
                </a:solidFill>
                <a:latin typeface="Segoe UI Semibold" panose="020B0502040204020203" pitchFamily="34" charset="0"/>
                <a:cs typeface="Segoe UI Semibold" panose="020B0502040204020203" pitchFamily="34" charset="0"/>
              </a:rPr>
              <a:t>Productivity and collaboration</a:t>
            </a:r>
          </a:p>
        </p:txBody>
      </p:sp>
      <p:sp>
        <p:nvSpPr>
          <p:cNvPr id="3" name="Rectangle 2">
            <a:extLst>
              <a:ext uri="{FF2B5EF4-FFF2-40B4-BE49-F238E27FC236}">
                <a16:creationId xmlns:a16="http://schemas.microsoft.com/office/drawing/2014/main" id="{DB897AF0-DB04-42EC-AFE2-F0AD7BD6DC03}"/>
              </a:ext>
            </a:extLst>
          </p:cNvPr>
          <p:cNvSpPr/>
          <p:nvPr/>
        </p:nvSpPr>
        <p:spPr>
          <a:xfrm>
            <a:off x="6498189" y="3142560"/>
            <a:ext cx="1852216" cy="320857"/>
          </a:xfrm>
          <a:prstGeom prst="rect">
            <a:avLst/>
          </a:prstGeom>
        </p:spPr>
        <p:txBody>
          <a:bodyPr wrap="square">
            <a:spAutoFit/>
          </a:bodyPr>
          <a:lstStyle/>
          <a:p>
            <a:pPr algn="ctr" defTabSz="685800">
              <a:lnSpc>
                <a:spcPct val="90000"/>
              </a:lnSpc>
              <a:spcAft>
                <a:spcPts val="450"/>
              </a:spcAft>
              <a:defRPr/>
            </a:pPr>
            <a:r>
              <a:rPr lang="en-US" sz="825" b="1">
                <a:solidFill>
                  <a:srgbClr val="1A1A1A"/>
                </a:solidFill>
                <a:latin typeface="Segoe UI Semibold" panose="020B0502040204020203" pitchFamily="34" charset="0"/>
                <a:cs typeface="Segoe UI Semibold" panose="020B0502040204020203" pitchFamily="34" charset="0"/>
              </a:rPr>
              <a:t>Open, flexible, enterprise-grade cloud computing platform</a:t>
            </a:r>
          </a:p>
        </p:txBody>
      </p:sp>
      <p:pic>
        <p:nvPicPr>
          <p:cNvPr id="8" name="Picture 7">
            <a:extLst>
              <a:ext uri="{FF2B5EF4-FFF2-40B4-BE49-F238E27FC236}">
                <a16:creationId xmlns:a16="http://schemas.microsoft.com/office/drawing/2014/main" id="{9FADFC27-7780-1E4F-89DA-6DB3FA53DEB3}"/>
              </a:ext>
            </a:extLst>
          </p:cNvPr>
          <p:cNvPicPr>
            <a:picLocks noChangeAspect="1"/>
          </p:cNvPicPr>
          <p:nvPr/>
        </p:nvPicPr>
        <p:blipFill>
          <a:blip r:embed="rId5"/>
          <a:stretch>
            <a:fillRect/>
          </a:stretch>
        </p:blipFill>
        <p:spPr>
          <a:xfrm>
            <a:off x="1180057" y="2912092"/>
            <a:ext cx="1210773" cy="196621"/>
          </a:xfrm>
          <a:prstGeom prst="rect">
            <a:avLst/>
          </a:prstGeom>
        </p:spPr>
      </p:pic>
      <p:grpSp>
        <p:nvGrpSpPr>
          <p:cNvPr id="4" name="Group 3">
            <a:extLst>
              <a:ext uri="{FF2B5EF4-FFF2-40B4-BE49-F238E27FC236}">
                <a16:creationId xmlns:a16="http://schemas.microsoft.com/office/drawing/2014/main" id="{6A5C5858-E153-41AF-A12B-78CFD9A0237B}"/>
              </a:ext>
            </a:extLst>
          </p:cNvPr>
          <p:cNvGrpSpPr/>
          <p:nvPr/>
        </p:nvGrpSpPr>
        <p:grpSpPr>
          <a:xfrm>
            <a:off x="3439890" y="1179269"/>
            <a:ext cx="2149507" cy="2395989"/>
            <a:chOff x="4396826" y="1301357"/>
            <a:chExt cx="3271052" cy="3646141"/>
          </a:xfrm>
        </p:grpSpPr>
        <p:pic>
          <p:nvPicPr>
            <p:cNvPr id="135" name="Picture 134">
              <a:extLst>
                <a:ext uri="{FF2B5EF4-FFF2-40B4-BE49-F238E27FC236}">
                  <a16:creationId xmlns:a16="http://schemas.microsoft.com/office/drawing/2014/main" id="{0DC3C787-990C-4657-88E4-F4C413C4C9AE}"/>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210678" y="2877510"/>
              <a:ext cx="457200" cy="457200"/>
            </a:xfrm>
            <a:prstGeom prst="rect">
              <a:avLst/>
            </a:prstGeom>
          </p:spPr>
        </p:pic>
        <p:pic>
          <p:nvPicPr>
            <p:cNvPr id="136" name="Picture 135">
              <a:extLst>
                <a:ext uri="{FF2B5EF4-FFF2-40B4-BE49-F238E27FC236}">
                  <a16:creationId xmlns:a16="http://schemas.microsoft.com/office/drawing/2014/main" id="{B6A37B4B-334B-474B-918A-AA81E51D398B}"/>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4667909" y="1809438"/>
              <a:ext cx="457201" cy="457201"/>
            </a:xfrm>
            <a:prstGeom prst="rect">
              <a:avLst/>
            </a:prstGeom>
          </p:spPr>
        </p:pic>
        <p:pic>
          <p:nvPicPr>
            <p:cNvPr id="137" name="Picture 136">
              <a:extLst>
                <a:ext uri="{FF2B5EF4-FFF2-40B4-BE49-F238E27FC236}">
                  <a16:creationId xmlns:a16="http://schemas.microsoft.com/office/drawing/2014/main" id="{AA7244A8-D108-46D8-B5DD-42C9EC27329E}"/>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5839165" y="1301357"/>
              <a:ext cx="457201" cy="457199"/>
            </a:xfrm>
            <a:prstGeom prst="rect">
              <a:avLst/>
            </a:prstGeom>
          </p:spPr>
        </p:pic>
        <p:pic>
          <p:nvPicPr>
            <p:cNvPr id="138" name="Picture 137">
              <a:extLst>
                <a:ext uri="{FF2B5EF4-FFF2-40B4-BE49-F238E27FC236}">
                  <a16:creationId xmlns:a16="http://schemas.microsoft.com/office/drawing/2014/main" id="{5EC9F45A-8431-42BC-A047-AD3CB1AEF26E}"/>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6874162" y="1707461"/>
              <a:ext cx="457201" cy="457199"/>
            </a:xfrm>
            <a:prstGeom prst="rect">
              <a:avLst/>
            </a:prstGeom>
          </p:spPr>
        </p:pic>
        <p:pic>
          <p:nvPicPr>
            <p:cNvPr id="139" name="Picture 138">
              <a:extLst>
                <a:ext uri="{FF2B5EF4-FFF2-40B4-BE49-F238E27FC236}">
                  <a16:creationId xmlns:a16="http://schemas.microsoft.com/office/drawing/2014/main" id="{63A5B9B6-F2E7-40CF-825E-396F2991CC13}"/>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5774372" y="4490299"/>
              <a:ext cx="457201" cy="457199"/>
            </a:xfrm>
            <a:prstGeom prst="rect">
              <a:avLst/>
            </a:prstGeom>
          </p:spPr>
        </p:pic>
        <p:pic>
          <p:nvPicPr>
            <p:cNvPr id="140" name="Picture 139">
              <a:extLst>
                <a:ext uri="{FF2B5EF4-FFF2-40B4-BE49-F238E27FC236}">
                  <a16:creationId xmlns:a16="http://schemas.microsoft.com/office/drawing/2014/main" id="{075250C5-9DE7-451D-9F39-AA701129305A}"/>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4821968" y="4108985"/>
              <a:ext cx="457201" cy="457199"/>
            </a:xfrm>
            <a:prstGeom prst="rect">
              <a:avLst/>
            </a:prstGeom>
          </p:spPr>
        </p:pic>
        <p:pic>
          <p:nvPicPr>
            <p:cNvPr id="141" name="Picture 140">
              <a:extLst>
                <a:ext uri="{FF2B5EF4-FFF2-40B4-BE49-F238E27FC236}">
                  <a16:creationId xmlns:a16="http://schemas.microsoft.com/office/drawing/2014/main" id="{ACD13A04-0897-465A-BB61-2670D1550D22}"/>
                </a:ext>
              </a:extLst>
            </p:cNvPr>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6747956" y="4108985"/>
              <a:ext cx="457201" cy="457199"/>
            </a:xfrm>
            <a:prstGeom prst="rect">
              <a:avLst/>
            </a:prstGeom>
          </p:spPr>
        </p:pic>
        <p:pic>
          <p:nvPicPr>
            <p:cNvPr id="142" name="Picture 141">
              <a:extLst>
                <a:ext uri="{FF2B5EF4-FFF2-40B4-BE49-F238E27FC236}">
                  <a16:creationId xmlns:a16="http://schemas.microsoft.com/office/drawing/2014/main" id="{D2F7711C-7C5A-461B-AC5A-23D252DA0572}"/>
                </a:ext>
              </a:extLst>
            </p:cNvPr>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4396826" y="2881359"/>
              <a:ext cx="457200" cy="457200"/>
            </a:xfrm>
            <a:prstGeom prst="rect">
              <a:avLst/>
            </a:prstGeom>
          </p:spPr>
        </p:pic>
      </p:grpSp>
      <p:sp>
        <p:nvSpPr>
          <p:cNvPr id="143" name="Operations">
            <a:extLst>
              <a:ext uri="{FF2B5EF4-FFF2-40B4-BE49-F238E27FC236}">
                <a16:creationId xmlns:a16="http://schemas.microsoft.com/office/drawing/2014/main" id="{42E9AEC4-2103-447E-8ED8-A8DBE87E6830}"/>
              </a:ext>
            </a:extLst>
          </p:cNvPr>
          <p:cNvSpPr txBox="1"/>
          <p:nvPr/>
        </p:nvSpPr>
        <p:spPr>
          <a:xfrm>
            <a:off x="3348522" y="2568998"/>
            <a:ext cx="483922" cy="113108"/>
          </a:xfrm>
          <a:prstGeom prst="rect">
            <a:avLst/>
          </a:prstGeom>
          <a:noFill/>
        </p:spPr>
        <p:txBody>
          <a:bodyPr wrap="square" lIns="0" tIns="0" rIns="0" bIns="0" rtlCol="0">
            <a:spAutoFit/>
          </a:bodyPr>
          <a:lstStyle>
            <a:defPPr>
              <a:defRPr lang="en-US"/>
            </a:defPPr>
            <a:lvl1pPr marR="0" lvl="0" indent="0" algn="ctr" fontAlgn="auto">
              <a:lnSpc>
                <a:spcPct val="100000"/>
              </a:lnSpc>
              <a:spcBef>
                <a:spcPts val="0"/>
              </a:spcBef>
              <a:spcAft>
                <a:spcPts val="0"/>
              </a:spcAft>
              <a:buClrTx/>
              <a:buSzTx/>
              <a:buFontTx/>
              <a:buNone/>
              <a:tabLst/>
              <a:defRPr kumimoji="0" sz="1000" b="0" i="0" u="none" strike="noStrike" kern="0" cap="none" spc="0" normalizeH="0" baseline="0">
                <a:ln>
                  <a:noFill/>
                </a:ln>
                <a:effectLst/>
                <a:uLnTx/>
                <a:uFillTx/>
                <a:latin typeface="Segoe UI Semibold"/>
                <a:cs typeface="Segoe UI Light" panose="020B0502040204020203" pitchFamily="34" charset="0"/>
              </a:defRPr>
            </a:lvl1pPr>
          </a:lstStyle>
          <a:p>
            <a:pPr defTabSz="672161">
              <a:defRPr/>
            </a:pPr>
            <a:r>
              <a:rPr lang="en-US" sz="735">
                <a:solidFill>
                  <a:srgbClr val="1A1A1A"/>
                </a:solidFill>
              </a:rPr>
              <a:t>Commerce</a:t>
            </a:r>
          </a:p>
        </p:txBody>
      </p:sp>
      <p:grpSp>
        <p:nvGrpSpPr>
          <p:cNvPr id="144" name="Group 4">
            <a:extLst>
              <a:ext uri="{FF2B5EF4-FFF2-40B4-BE49-F238E27FC236}">
                <a16:creationId xmlns:a16="http://schemas.microsoft.com/office/drawing/2014/main" id="{5DE35B9E-9F5A-4033-B73E-59631FAFF17E}"/>
              </a:ext>
            </a:extLst>
          </p:cNvPr>
          <p:cNvGrpSpPr>
            <a:grpSpLocks noChangeAspect="1"/>
          </p:cNvGrpSpPr>
          <p:nvPr/>
        </p:nvGrpSpPr>
        <p:grpSpPr bwMode="auto">
          <a:xfrm>
            <a:off x="5643353" y="4455917"/>
            <a:ext cx="257625" cy="198249"/>
            <a:chOff x="2880" y="2176"/>
            <a:chExt cx="256" cy="197"/>
          </a:xfrm>
          <a:solidFill>
            <a:srgbClr val="5C005C"/>
          </a:solidFill>
        </p:grpSpPr>
        <p:sp>
          <p:nvSpPr>
            <p:cNvPr id="145" name="Freeform 5">
              <a:extLst>
                <a:ext uri="{FF2B5EF4-FFF2-40B4-BE49-F238E27FC236}">
                  <a16:creationId xmlns:a16="http://schemas.microsoft.com/office/drawing/2014/main" id="{D8479F4E-377C-40A7-8743-93C5224B3E90}"/>
                </a:ext>
              </a:extLst>
            </p:cNvPr>
            <p:cNvSpPr>
              <a:spLocks/>
            </p:cNvSpPr>
            <p:nvPr/>
          </p:nvSpPr>
          <p:spPr bwMode="auto">
            <a:xfrm>
              <a:off x="3017" y="2320"/>
              <a:ext cx="52" cy="53"/>
            </a:xfrm>
            <a:custGeom>
              <a:avLst/>
              <a:gdLst>
                <a:gd name="T0" fmla="*/ 79 w 130"/>
                <a:gd name="T1" fmla="*/ 8 h 129"/>
                <a:gd name="T2" fmla="*/ 51 w 130"/>
                <a:gd name="T3" fmla="*/ 8 h 129"/>
                <a:gd name="T4" fmla="*/ 8 w 130"/>
                <a:gd name="T5" fmla="*/ 50 h 129"/>
                <a:gd name="T6" fmla="*/ 8 w 130"/>
                <a:gd name="T7" fmla="*/ 79 h 129"/>
                <a:gd name="T8" fmla="*/ 51 w 130"/>
                <a:gd name="T9" fmla="*/ 122 h 129"/>
                <a:gd name="T10" fmla="*/ 79 w 130"/>
                <a:gd name="T11" fmla="*/ 122 h 129"/>
                <a:gd name="T12" fmla="*/ 122 w 130"/>
                <a:gd name="T13" fmla="*/ 79 h 129"/>
                <a:gd name="T14" fmla="*/ 122 w 130"/>
                <a:gd name="T15" fmla="*/ 50 h 129"/>
                <a:gd name="T16" fmla="*/ 79 w 130"/>
                <a:gd name="T17" fmla="*/ 8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 h="129">
                  <a:moveTo>
                    <a:pt x="79" y="8"/>
                  </a:moveTo>
                  <a:cubicBezTo>
                    <a:pt x="71" y="0"/>
                    <a:pt x="59" y="0"/>
                    <a:pt x="51" y="8"/>
                  </a:cubicBezTo>
                  <a:cubicBezTo>
                    <a:pt x="8" y="50"/>
                    <a:pt x="8" y="50"/>
                    <a:pt x="8" y="50"/>
                  </a:cubicBezTo>
                  <a:cubicBezTo>
                    <a:pt x="0" y="58"/>
                    <a:pt x="0" y="71"/>
                    <a:pt x="8" y="79"/>
                  </a:cubicBezTo>
                  <a:cubicBezTo>
                    <a:pt x="51" y="122"/>
                    <a:pt x="51" y="122"/>
                    <a:pt x="51" y="122"/>
                  </a:cubicBezTo>
                  <a:cubicBezTo>
                    <a:pt x="59" y="129"/>
                    <a:pt x="71" y="129"/>
                    <a:pt x="79" y="122"/>
                  </a:cubicBezTo>
                  <a:cubicBezTo>
                    <a:pt x="122" y="79"/>
                    <a:pt x="122" y="79"/>
                    <a:pt x="122" y="79"/>
                  </a:cubicBezTo>
                  <a:cubicBezTo>
                    <a:pt x="130" y="71"/>
                    <a:pt x="130" y="58"/>
                    <a:pt x="122" y="50"/>
                  </a:cubicBezTo>
                  <a:lnTo>
                    <a:pt x="79"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1" tIns="34280" rIns="68561" bIns="34280" numCol="1" anchor="t" anchorCtr="0" compatLnSpc="1">
              <a:prstTxWarp prst="textNoShape">
                <a:avLst/>
              </a:prstTxWarp>
            </a:bodyPr>
            <a:lstStyle/>
            <a:p>
              <a:pPr defTabSz="685537">
                <a:defRPr/>
              </a:pPr>
              <a:endParaRPr lang="en-US" sz="1350" kern="0">
                <a:solidFill>
                  <a:srgbClr val="30E5D0"/>
                </a:solidFill>
                <a:latin typeface="Segoe UI"/>
              </a:endParaRPr>
            </a:p>
          </p:txBody>
        </p:sp>
        <p:sp>
          <p:nvSpPr>
            <p:cNvPr id="146" name="Freeform 6">
              <a:extLst>
                <a:ext uri="{FF2B5EF4-FFF2-40B4-BE49-F238E27FC236}">
                  <a16:creationId xmlns:a16="http://schemas.microsoft.com/office/drawing/2014/main" id="{0DFF227D-A1C7-4E0E-8549-72E3E334B086}"/>
                </a:ext>
              </a:extLst>
            </p:cNvPr>
            <p:cNvSpPr>
              <a:spLocks/>
            </p:cNvSpPr>
            <p:nvPr/>
          </p:nvSpPr>
          <p:spPr bwMode="auto">
            <a:xfrm>
              <a:off x="3053" y="2283"/>
              <a:ext cx="52" cy="53"/>
            </a:xfrm>
            <a:custGeom>
              <a:avLst/>
              <a:gdLst>
                <a:gd name="T0" fmla="*/ 79 w 130"/>
                <a:gd name="T1" fmla="*/ 8 h 129"/>
                <a:gd name="T2" fmla="*/ 51 w 130"/>
                <a:gd name="T3" fmla="*/ 8 h 129"/>
                <a:gd name="T4" fmla="*/ 8 w 130"/>
                <a:gd name="T5" fmla="*/ 50 h 129"/>
                <a:gd name="T6" fmla="*/ 8 w 130"/>
                <a:gd name="T7" fmla="*/ 79 h 129"/>
                <a:gd name="T8" fmla="*/ 51 w 130"/>
                <a:gd name="T9" fmla="*/ 122 h 129"/>
                <a:gd name="T10" fmla="*/ 79 w 130"/>
                <a:gd name="T11" fmla="*/ 122 h 129"/>
                <a:gd name="T12" fmla="*/ 122 w 130"/>
                <a:gd name="T13" fmla="*/ 79 h 129"/>
                <a:gd name="T14" fmla="*/ 122 w 130"/>
                <a:gd name="T15" fmla="*/ 50 h 129"/>
                <a:gd name="T16" fmla="*/ 79 w 130"/>
                <a:gd name="T17" fmla="*/ 8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 h="129">
                  <a:moveTo>
                    <a:pt x="79" y="8"/>
                  </a:moveTo>
                  <a:cubicBezTo>
                    <a:pt x="71" y="0"/>
                    <a:pt x="59" y="0"/>
                    <a:pt x="51" y="8"/>
                  </a:cubicBezTo>
                  <a:cubicBezTo>
                    <a:pt x="8" y="50"/>
                    <a:pt x="8" y="50"/>
                    <a:pt x="8" y="50"/>
                  </a:cubicBezTo>
                  <a:cubicBezTo>
                    <a:pt x="0" y="58"/>
                    <a:pt x="0" y="71"/>
                    <a:pt x="8" y="79"/>
                  </a:cubicBezTo>
                  <a:cubicBezTo>
                    <a:pt x="51" y="122"/>
                    <a:pt x="51" y="122"/>
                    <a:pt x="51" y="122"/>
                  </a:cubicBezTo>
                  <a:cubicBezTo>
                    <a:pt x="59" y="129"/>
                    <a:pt x="71" y="129"/>
                    <a:pt x="79" y="122"/>
                  </a:cubicBezTo>
                  <a:cubicBezTo>
                    <a:pt x="122" y="79"/>
                    <a:pt x="122" y="79"/>
                    <a:pt x="122" y="79"/>
                  </a:cubicBezTo>
                  <a:cubicBezTo>
                    <a:pt x="130" y="71"/>
                    <a:pt x="130" y="58"/>
                    <a:pt x="122" y="50"/>
                  </a:cubicBezTo>
                  <a:lnTo>
                    <a:pt x="79"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1" tIns="34280" rIns="68561" bIns="34280" numCol="1" anchor="t" anchorCtr="0" compatLnSpc="1">
              <a:prstTxWarp prst="textNoShape">
                <a:avLst/>
              </a:prstTxWarp>
            </a:bodyPr>
            <a:lstStyle/>
            <a:p>
              <a:pPr defTabSz="685537">
                <a:defRPr/>
              </a:pPr>
              <a:endParaRPr lang="en-US" sz="1350" kern="0">
                <a:solidFill>
                  <a:srgbClr val="30E5D0"/>
                </a:solidFill>
                <a:latin typeface="Segoe UI"/>
              </a:endParaRPr>
            </a:p>
          </p:txBody>
        </p:sp>
        <p:sp>
          <p:nvSpPr>
            <p:cNvPr id="147" name="Freeform 7">
              <a:extLst>
                <a:ext uri="{FF2B5EF4-FFF2-40B4-BE49-F238E27FC236}">
                  <a16:creationId xmlns:a16="http://schemas.microsoft.com/office/drawing/2014/main" id="{5801F4CD-69A4-4DE8-9604-BDA22A8C4888}"/>
                </a:ext>
              </a:extLst>
            </p:cNvPr>
            <p:cNvSpPr>
              <a:spLocks noEditPoints="1"/>
            </p:cNvSpPr>
            <p:nvPr/>
          </p:nvSpPr>
          <p:spPr bwMode="auto">
            <a:xfrm>
              <a:off x="2909" y="2247"/>
              <a:ext cx="124" cy="126"/>
            </a:xfrm>
            <a:custGeom>
              <a:avLst/>
              <a:gdLst>
                <a:gd name="T0" fmla="*/ 300 w 308"/>
                <a:gd name="T1" fmla="*/ 139 h 307"/>
                <a:gd name="T2" fmla="*/ 286 w 308"/>
                <a:gd name="T3" fmla="*/ 125 h 307"/>
                <a:gd name="T4" fmla="*/ 168 w 308"/>
                <a:gd name="T5" fmla="*/ 8 h 307"/>
                <a:gd name="T6" fmla="*/ 140 w 308"/>
                <a:gd name="T7" fmla="*/ 8 h 307"/>
                <a:gd name="T8" fmla="*/ 22 w 308"/>
                <a:gd name="T9" fmla="*/ 125 h 307"/>
                <a:gd name="T10" fmla="*/ 8 w 308"/>
                <a:gd name="T11" fmla="*/ 139 h 307"/>
                <a:gd name="T12" fmla="*/ 8 w 308"/>
                <a:gd name="T13" fmla="*/ 168 h 307"/>
                <a:gd name="T14" fmla="*/ 22 w 308"/>
                <a:gd name="T15" fmla="*/ 182 h 307"/>
                <a:gd name="T16" fmla="*/ 140 w 308"/>
                <a:gd name="T17" fmla="*/ 299 h 307"/>
                <a:gd name="T18" fmla="*/ 168 w 308"/>
                <a:gd name="T19" fmla="*/ 299 h 307"/>
                <a:gd name="T20" fmla="*/ 286 w 308"/>
                <a:gd name="T21" fmla="*/ 182 h 307"/>
                <a:gd name="T22" fmla="*/ 300 w 308"/>
                <a:gd name="T23" fmla="*/ 168 h 307"/>
                <a:gd name="T24" fmla="*/ 300 w 308"/>
                <a:gd name="T25" fmla="*/ 139 h 307"/>
                <a:gd name="T26" fmla="*/ 140 w 308"/>
                <a:gd name="T27" fmla="*/ 210 h 307"/>
                <a:gd name="T28" fmla="*/ 108 w 308"/>
                <a:gd name="T29" fmla="*/ 179 h 307"/>
                <a:gd name="T30" fmla="*/ 97 w 308"/>
                <a:gd name="T31" fmla="*/ 168 h 307"/>
                <a:gd name="T32" fmla="*/ 97 w 308"/>
                <a:gd name="T33" fmla="*/ 139 h 307"/>
                <a:gd name="T34" fmla="*/ 140 w 308"/>
                <a:gd name="T35" fmla="*/ 97 h 307"/>
                <a:gd name="T36" fmla="*/ 168 w 308"/>
                <a:gd name="T37" fmla="*/ 97 h 307"/>
                <a:gd name="T38" fmla="*/ 211 w 308"/>
                <a:gd name="T39" fmla="*/ 139 h 307"/>
                <a:gd name="T40" fmla="*/ 211 w 308"/>
                <a:gd name="T41" fmla="*/ 168 h 307"/>
                <a:gd name="T42" fmla="*/ 200 w 308"/>
                <a:gd name="T43" fmla="*/ 179 h 307"/>
                <a:gd name="T44" fmla="*/ 168 w 308"/>
                <a:gd name="T45" fmla="*/ 210 h 307"/>
                <a:gd name="T46" fmla="*/ 140 w 308"/>
                <a:gd name="T47" fmla="*/ 210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08" h="307">
                  <a:moveTo>
                    <a:pt x="300" y="139"/>
                  </a:moveTo>
                  <a:cubicBezTo>
                    <a:pt x="286" y="125"/>
                    <a:pt x="286" y="125"/>
                    <a:pt x="286" y="125"/>
                  </a:cubicBezTo>
                  <a:cubicBezTo>
                    <a:pt x="168" y="8"/>
                    <a:pt x="168" y="8"/>
                    <a:pt x="168" y="8"/>
                  </a:cubicBezTo>
                  <a:cubicBezTo>
                    <a:pt x="161" y="0"/>
                    <a:pt x="148" y="0"/>
                    <a:pt x="140" y="8"/>
                  </a:cubicBezTo>
                  <a:cubicBezTo>
                    <a:pt x="22" y="125"/>
                    <a:pt x="22" y="125"/>
                    <a:pt x="22" y="125"/>
                  </a:cubicBezTo>
                  <a:cubicBezTo>
                    <a:pt x="8" y="139"/>
                    <a:pt x="8" y="139"/>
                    <a:pt x="8" y="139"/>
                  </a:cubicBezTo>
                  <a:cubicBezTo>
                    <a:pt x="0" y="147"/>
                    <a:pt x="0" y="160"/>
                    <a:pt x="8" y="168"/>
                  </a:cubicBezTo>
                  <a:cubicBezTo>
                    <a:pt x="22" y="182"/>
                    <a:pt x="22" y="182"/>
                    <a:pt x="22" y="182"/>
                  </a:cubicBezTo>
                  <a:cubicBezTo>
                    <a:pt x="140" y="299"/>
                    <a:pt x="140" y="299"/>
                    <a:pt x="140" y="299"/>
                  </a:cubicBezTo>
                  <a:cubicBezTo>
                    <a:pt x="148" y="307"/>
                    <a:pt x="161" y="307"/>
                    <a:pt x="168" y="299"/>
                  </a:cubicBezTo>
                  <a:cubicBezTo>
                    <a:pt x="286" y="182"/>
                    <a:pt x="286" y="182"/>
                    <a:pt x="286" y="182"/>
                  </a:cubicBezTo>
                  <a:cubicBezTo>
                    <a:pt x="300" y="168"/>
                    <a:pt x="300" y="168"/>
                    <a:pt x="300" y="168"/>
                  </a:cubicBezTo>
                  <a:cubicBezTo>
                    <a:pt x="308" y="160"/>
                    <a:pt x="308" y="147"/>
                    <a:pt x="300" y="139"/>
                  </a:cubicBezTo>
                  <a:moveTo>
                    <a:pt x="140" y="210"/>
                  </a:moveTo>
                  <a:cubicBezTo>
                    <a:pt x="108" y="179"/>
                    <a:pt x="108" y="179"/>
                    <a:pt x="108" y="179"/>
                  </a:cubicBezTo>
                  <a:cubicBezTo>
                    <a:pt x="97" y="168"/>
                    <a:pt x="97" y="168"/>
                    <a:pt x="97" y="168"/>
                  </a:cubicBezTo>
                  <a:cubicBezTo>
                    <a:pt x="89" y="160"/>
                    <a:pt x="89" y="147"/>
                    <a:pt x="97" y="139"/>
                  </a:cubicBezTo>
                  <a:cubicBezTo>
                    <a:pt x="140" y="97"/>
                    <a:pt x="140" y="97"/>
                    <a:pt x="140" y="97"/>
                  </a:cubicBezTo>
                  <a:cubicBezTo>
                    <a:pt x="148" y="89"/>
                    <a:pt x="161" y="89"/>
                    <a:pt x="168" y="97"/>
                  </a:cubicBezTo>
                  <a:cubicBezTo>
                    <a:pt x="211" y="139"/>
                    <a:pt x="211" y="139"/>
                    <a:pt x="211" y="139"/>
                  </a:cubicBezTo>
                  <a:cubicBezTo>
                    <a:pt x="219" y="147"/>
                    <a:pt x="219" y="160"/>
                    <a:pt x="211" y="168"/>
                  </a:cubicBezTo>
                  <a:cubicBezTo>
                    <a:pt x="200" y="179"/>
                    <a:pt x="200" y="179"/>
                    <a:pt x="200" y="179"/>
                  </a:cubicBezTo>
                  <a:cubicBezTo>
                    <a:pt x="168" y="210"/>
                    <a:pt x="168" y="210"/>
                    <a:pt x="168" y="210"/>
                  </a:cubicBezTo>
                  <a:cubicBezTo>
                    <a:pt x="161" y="218"/>
                    <a:pt x="148" y="218"/>
                    <a:pt x="140" y="21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1" tIns="34280" rIns="68561" bIns="34280" numCol="1" anchor="t" anchorCtr="0" compatLnSpc="1">
              <a:prstTxWarp prst="textNoShape">
                <a:avLst/>
              </a:prstTxWarp>
            </a:bodyPr>
            <a:lstStyle/>
            <a:p>
              <a:pPr defTabSz="685537">
                <a:defRPr/>
              </a:pPr>
              <a:endParaRPr lang="en-US" sz="1350" kern="0">
                <a:solidFill>
                  <a:srgbClr val="30E5D0"/>
                </a:solidFill>
                <a:latin typeface="Segoe UI"/>
              </a:endParaRPr>
            </a:p>
          </p:txBody>
        </p:sp>
        <p:sp>
          <p:nvSpPr>
            <p:cNvPr id="148" name="Freeform 8">
              <a:extLst>
                <a:ext uri="{FF2B5EF4-FFF2-40B4-BE49-F238E27FC236}">
                  <a16:creationId xmlns:a16="http://schemas.microsoft.com/office/drawing/2014/main" id="{E65741A9-A941-423B-ABE7-70BDF71A606C}"/>
                </a:ext>
              </a:extLst>
            </p:cNvPr>
            <p:cNvSpPr>
              <a:spLocks/>
            </p:cNvSpPr>
            <p:nvPr/>
          </p:nvSpPr>
          <p:spPr bwMode="auto">
            <a:xfrm>
              <a:off x="3017" y="2247"/>
              <a:ext cx="52" cy="53"/>
            </a:xfrm>
            <a:custGeom>
              <a:avLst/>
              <a:gdLst>
                <a:gd name="T0" fmla="*/ 79 w 130"/>
                <a:gd name="T1" fmla="*/ 122 h 129"/>
                <a:gd name="T2" fmla="*/ 122 w 130"/>
                <a:gd name="T3" fmla="*/ 79 h 129"/>
                <a:gd name="T4" fmla="*/ 122 w 130"/>
                <a:gd name="T5" fmla="*/ 50 h 129"/>
                <a:gd name="T6" fmla="*/ 79 w 130"/>
                <a:gd name="T7" fmla="*/ 8 h 129"/>
                <a:gd name="T8" fmla="*/ 51 w 130"/>
                <a:gd name="T9" fmla="*/ 8 h 129"/>
                <a:gd name="T10" fmla="*/ 8 w 130"/>
                <a:gd name="T11" fmla="*/ 50 h 129"/>
                <a:gd name="T12" fmla="*/ 8 w 130"/>
                <a:gd name="T13" fmla="*/ 79 h 129"/>
                <a:gd name="T14" fmla="*/ 51 w 130"/>
                <a:gd name="T15" fmla="*/ 122 h 129"/>
                <a:gd name="T16" fmla="*/ 79 w 130"/>
                <a:gd name="T17" fmla="*/ 122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 h="129">
                  <a:moveTo>
                    <a:pt x="79" y="122"/>
                  </a:moveTo>
                  <a:cubicBezTo>
                    <a:pt x="122" y="79"/>
                    <a:pt x="122" y="79"/>
                    <a:pt x="122" y="79"/>
                  </a:cubicBezTo>
                  <a:cubicBezTo>
                    <a:pt x="130" y="71"/>
                    <a:pt x="130" y="58"/>
                    <a:pt x="122" y="50"/>
                  </a:cubicBezTo>
                  <a:cubicBezTo>
                    <a:pt x="79" y="8"/>
                    <a:pt x="79" y="8"/>
                    <a:pt x="79" y="8"/>
                  </a:cubicBezTo>
                  <a:cubicBezTo>
                    <a:pt x="71" y="0"/>
                    <a:pt x="59" y="0"/>
                    <a:pt x="51" y="8"/>
                  </a:cubicBezTo>
                  <a:cubicBezTo>
                    <a:pt x="8" y="50"/>
                    <a:pt x="8" y="50"/>
                    <a:pt x="8" y="50"/>
                  </a:cubicBezTo>
                  <a:cubicBezTo>
                    <a:pt x="0" y="58"/>
                    <a:pt x="0" y="71"/>
                    <a:pt x="8" y="79"/>
                  </a:cubicBezTo>
                  <a:cubicBezTo>
                    <a:pt x="51" y="122"/>
                    <a:pt x="51" y="122"/>
                    <a:pt x="51" y="122"/>
                  </a:cubicBezTo>
                  <a:cubicBezTo>
                    <a:pt x="59" y="129"/>
                    <a:pt x="71" y="129"/>
                    <a:pt x="79" y="12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1" tIns="34280" rIns="68561" bIns="34280" numCol="1" anchor="t" anchorCtr="0" compatLnSpc="1">
              <a:prstTxWarp prst="textNoShape">
                <a:avLst/>
              </a:prstTxWarp>
            </a:bodyPr>
            <a:lstStyle/>
            <a:p>
              <a:pPr defTabSz="685537">
                <a:defRPr/>
              </a:pPr>
              <a:endParaRPr lang="en-US" sz="1350" kern="0">
                <a:solidFill>
                  <a:srgbClr val="30E5D0"/>
                </a:solidFill>
                <a:latin typeface="Segoe UI"/>
              </a:endParaRPr>
            </a:p>
          </p:txBody>
        </p:sp>
        <p:sp>
          <p:nvSpPr>
            <p:cNvPr id="149" name="Freeform 9">
              <a:extLst>
                <a:ext uri="{FF2B5EF4-FFF2-40B4-BE49-F238E27FC236}">
                  <a16:creationId xmlns:a16="http://schemas.microsoft.com/office/drawing/2014/main" id="{AB857DD4-D8D7-46DC-A3B3-CEDC84CAD966}"/>
                </a:ext>
              </a:extLst>
            </p:cNvPr>
            <p:cNvSpPr>
              <a:spLocks/>
            </p:cNvSpPr>
            <p:nvPr/>
          </p:nvSpPr>
          <p:spPr bwMode="auto">
            <a:xfrm>
              <a:off x="2880" y="2176"/>
              <a:ext cx="256" cy="170"/>
            </a:xfrm>
            <a:custGeom>
              <a:avLst/>
              <a:gdLst>
                <a:gd name="T0" fmla="*/ 562 w 638"/>
                <a:gd name="T1" fmla="*/ 413 h 413"/>
                <a:gd name="T2" fmla="*/ 549 w 638"/>
                <a:gd name="T3" fmla="*/ 413 h 413"/>
                <a:gd name="T4" fmla="*/ 549 w 638"/>
                <a:gd name="T5" fmla="*/ 388 h 413"/>
                <a:gd name="T6" fmla="*/ 562 w 638"/>
                <a:gd name="T7" fmla="*/ 388 h 413"/>
                <a:gd name="T8" fmla="*/ 612 w 638"/>
                <a:gd name="T9" fmla="*/ 338 h 413"/>
                <a:gd name="T10" fmla="*/ 612 w 638"/>
                <a:gd name="T11" fmla="*/ 75 h 413"/>
                <a:gd name="T12" fmla="*/ 562 w 638"/>
                <a:gd name="T13" fmla="*/ 26 h 413"/>
                <a:gd name="T14" fmla="*/ 75 w 638"/>
                <a:gd name="T15" fmla="*/ 26 h 413"/>
                <a:gd name="T16" fmla="*/ 25 w 638"/>
                <a:gd name="T17" fmla="*/ 75 h 413"/>
                <a:gd name="T18" fmla="*/ 25 w 638"/>
                <a:gd name="T19" fmla="*/ 338 h 413"/>
                <a:gd name="T20" fmla="*/ 75 w 638"/>
                <a:gd name="T21" fmla="*/ 388 h 413"/>
                <a:gd name="T22" fmla="*/ 88 w 638"/>
                <a:gd name="T23" fmla="*/ 388 h 413"/>
                <a:gd name="T24" fmla="*/ 88 w 638"/>
                <a:gd name="T25" fmla="*/ 413 h 413"/>
                <a:gd name="T26" fmla="*/ 75 w 638"/>
                <a:gd name="T27" fmla="*/ 413 h 413"/>
                <a:gd name="T28" fmla="*/ 0 w 638"/>
                <a:gd name="T29" fmla="*/ 338 h 413"/>
                <a:gd name="T30" fmla="*/ 0 w 638"/>
                <a:gd name="T31" fmla="*/ 75 h 413"/>
                <a:gd name="T32" fmla="*/ 75 w 638"/>
                <a:gd name="T33" fmla="*/ 0 h 413"/>
                <a:gd name="T34" fmla="*/ 562 w 638"/>
                <a:gd name="T35" fmla="*/ 0 h 413"/>
                <a:gd name="T36" fmla="*/ 638 w 638"/>
                <a:gd name="T37" fmla="*/ 75 h 413"/>
                <a:gd name="T38" fmla="*/ 638 w 638"/>
                <a:gd name="T39" fmla="*/ 338 h 413"/>
                <a:gd name="T40" fmla="*/ 562 w 638"/>
                <a:gd name="T41" fmla="*/ 413 h 4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38" h="413">
                  <a:moveTo>
                    <a:pt x="562" y="413"/>
                  </a:moveTo>
                  <a:cubicBezTo>
                    <a:pt x="549" y="413"/>
                    <a:pt x="549" y="413"/>
                    <a:pt x="549" y="413"/>
                  </a:cubicBezTo>
                  <a:cubicBezTo>
                    <a:pt x="549" y="388"/>
                    <a:pt x="549" y="388"/>
                    <a:pt x="549" y="388"/>
                  </a:cubicBezTo>
                  <a:cubicBezTo>
                    <a:pt x="562" y="388"/>
                    <a:pt x="562" y="388"/>
                    <a:pt x="562" y="388"/>
                  </a:cubicBezTo>
                  <a:cubicBezTo>
                    <a:pt x="590" y="388"/>
                    <a:pt x="612" y="365"/>
                    <a:pt x="612" y="338"/>
                  </a:cubicBezTo>
                  <a:cubicBezTo>
                    <a:pt x="612" y="75"/>
                    <a:pt x="612" y="75"/>
                    <a:pt x="612" y="75"/>
                  </a:cubicBezTo>
                  <a:cubicBezTo>
                    <a:pt x="612" y="48"/>
                    <a:pt x="590" y="26"/>
                    <a:pt x="562" y="26"/>
                  </a:cubicBezTo>
                  <a:cubicBezTo>
                    <a:pt x="75" y="26"/>
                    <a:pt x="75" y="26"/>
                    <a:pt x="75" y="26"/>
                  </a:cubicBezTo>
                  <a:cubicBezTo>
                    <a:pt x="47" y="26"/>
                    <a:pt x="25" y="48"/>
                    <a:pt x="25" y="75"/>
                  </a:cubicBezTo>
                  <a:cubicBezTo>
                    <a:pt x="25" y="338"/>
                    <a:pt x="25" y="338"/>
                    <a:pt x="25" y="338"/>
                  </a:cubicBezTo>
                  <a:cubicBezTo>
                    <a:pt x="25" y="365"/>
                    <a:pt x="47" y="388"/>
                    <a:pt x="75" y="388"/>
                  </a:cubicBezTo>
                  <a:cubicBezTo>
                    <a:pt x="88" y="388"/>
                    <a:pt x="88" y="388"/>
                    <a:pt x="88" y="388"/>
                  </a:cubicBezTo>
                  <a:cubicBezTo>
                    <a:pt x="88" y="413"/>
                    <a:pt x="88" y="413"/>
                    <a:pt x="88" y="413"/>
                  </a:cubicBezTo>
                  <a:cubicBezTo>
                    <a:pt x="75" y="413"/>
                    <a:pt x="75" y="413"/>
                    <a:pt x="75" y="413"/>
                  </a:cubicBezTo>
                  <a:cubicBezTo>
                    <a:pt x="33" y="413"/>
                    <a:pt x="0" y="380"/>
                    <a:pt x="0" y="338"/>
                  </a:cubicBezTo>
                  <a:cubicBezTo>
                    <a:pt x="0" y="75"/>
                    <a:pt x="0" y="75"/>
                    <a:pt x="0" y="75"/>
                  </a:cubicBezTo>
                  <a:cubicBezTo>
                    <a:pt x="0" y="34"/>
                    <a:pt x="33" y="0"/>
                    <a:pt x="75" y="0"/>
                  </a:cubicBezTo>
                  <a:cubicBezTo>
                    <a:pt x="562" y="0"/>
                    <a:pt x="562" y="0"/>
                    <a:pt x="562" y="0"/>
                  </a:cubicBezTo>
                  <a:cubicBezTo>
                    <a:pt x="604" y="0"/>
                    <a:pt x="638" y="34"/>
                    <a:pt x="638" y="75"/>
                  </a:cubicBezTo>
                  <a:cubicBezTo>
                    <a:pt x="638" y="338"/>
                    <a:pt x="638" y="338"/>
                    <a:pt x="638" y="338"/>
                  </a:cubicBezTo>
                  <a:cubicBezTo>
                    <a:pt x="638" y="380"/>
                    <a:pt x="604" y="413"/>
                    <a:pt x="562" y="41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1" tIns="34280" rIns="68561" bIns="34280" numCol="1" anchor="t" anchorCtr="0" compatLnSpc="1">
              <a:prstTxWarp prst="textNoShape">
                <a:avLst/>
              </a:prstTxWarp>
            </a:bodyPr>
            <a:lstStyle/>
            <a:p>
              <a:pPr defTabSz="685537">
                <a:defRPr/>
              </a:pPr>
              <a:endParaRPr lang="en-US" sz="1350" kern="0">
                <a:solidFill>
                  <a:srgbClr val="30E5D0"/>
                </a:solidFill>
                <a:latin typeface="Segoe UI"/>
              </a:endParaRPr>
            </a:p>
          </p:txBody>
        </p:sp>
      </p:grpSp>
      <p:grpSp>
        <p:nvGrpSpPr>
          <p:cNvPr id="150" name="Group 12">
            <a:extLst>
              <a:ext uri="{FF2B5EF4-FFF2-40B4-BE49-F238E27FC236}">
                <a16:creationId xmlns:a16="http://schemas.microsoft.com/office/drawing/2014/main" id="{A97C4A63-6A51-4CAA-9B86-CCB95EC9DADA}"/>
              </a:ext>
            </a:extLst>
          </p:cNvPr>
          <p:cNvGrpSpPr>
            <a:grpSpLocks noChangeAspect="1"/>
          </p:cNvGrpSpPr>
          <p:nvPr/>
        </p:nvGrpSpPr>
        <p:grpSpPr bwMode="auto">
          <a:xfrm>
            <a:off x="3270345" y="4457181"/>
            <a:ext cx="259987" cy="197509"/>
            <a:chOff x="4543" y="2188"/>
            <a:chExt cx="258" cy="196"/>
          </a:xfrm>
          <a:solidFill>
            <a:srgbClr val="FFB900"/>
          </a:solidFill>
        </p:grpSpPr>
        <p:sp>
          <p:nvSpPr>
            <p:cNvPr id="151" name="Freeform 13">
              <a:extLst>
                <a:ext uri="{FF2B5EF4-FFF2-40B4-BE49-F238E27FC236}">
                  <a16:creationId xmlns:a16="http://schemas.microsoft.com/office/drawing/2014/main" id="{2FB047BF-7FA5-4B39-A720-14F758D1AA07}"/>
                </a:ext>
              </a:extLst>
            </p:cNvPr>
            <p:cNvSpPr>
              <a:spLocks/>
            </p:cNvSpPr>
            <p:nvPr/>
          </p:nvSpPr>
          <p:spPr bwMode="auto">
            <a:xfrm>
              <a:off x="4543" y="2188"/>
              <a:ext cx="258" cy="170"/>
            </a:xfrm>
            <a:custGeom>
              <a:avLst/>
              <a:gdLst>
                <a:gd name="T0" fmla="*/ 635 w 720"/>
                <a:gd name="T1" fmla="*/ 467 h 467"/>
                <a:gd name="T2" fmla="*/ 620 w 720"/>
                <a:gd name="T3" fmla="*/ 467 h 467"/>
                <a:gd name="T4" fmla="*/ 620 w 720"/>
                <a:gd name="T5" fmla="*/ 438 h 467"/>
                <a:gd name="T6" fmla="*/ 635 w 720"/>
                <a:gd name="T7" fmla="*/ 438 h 467"/>
                <a:gd name="T8" fmla="*/ 691 w 720"/>
                <a:gd name="T9" fmla="*/ 382 h 467"/>
                <a:gd name="T10" fmla="*/ 691 w 720"/>
                <a:gd name="T11" fmla="*/ 85 h 467"/>
                <a:gd name="T12" fmla="*/ 635 w 720"/>
                <a:gd name="T13" fmla="*/ 29 h 467"/>
                <a:gd name="T14" fmla="*/ 85 w 720"/>
                <a:gd name="T15" fmla="*/ 29 h 467"/>
                <a:gd name="T16" fmla="*/ 29 w 720"/>
                <a:gd name="T17" fmla="*/ 85 h 467"/>
                <a:gd name="T18" fmla="*/ 29 w 720"/>
                <a:gd name="T19" fmla="*/ 382 h 467"/>
                <a:gd name="T20" fmla="*/ 85 w 720"/>
                <a:gd name="T21" fmla="*/ 438 h 467"/>
                <a:gd name="T22" fmla="*/ 99 w 720"/>
                <a:gd name="T23" fmla="*/ 438 h 467"/>
                <a:gd name="T24" fmla="*/ 99 w 720"/>
                <a:gd name="T25" fmla="*/ 467 h 467"/>
                <a:gd name="T26" fmla="*/ 85 w 720"/>
                <a:gd name="T27" fmla="*/ 467 h 467"/>
                <a:gd name="T28" fmla="*/ 0 w 720"/>
                <a:gd name="T29" fmla="*/ 382 h 467"/>
                <a:gd name="T30" fmla="*/ 0 w 720"/>
                <a:gd name="T31" fmla="*/ 85 h 467"/>
                <a:gd name="T32" fmla="*/ 85 w 720"/>
                <a:gd name="T33" fmla="*/ 0 h 467"/>
                <a:gd name="T34" fmla="*/ 635 w 720"/>
                <a:gd name="T35" fmla="*/ 0 h 467"/>
                <a:gd name="T36" fmla="*/ 720 w 720"/>
                <a:gd name="T37" fmla="*/ 85 h 467"/>
                <a:gd name="T38" fmla="*/ 720 w 720"/>
                <a:gd name="T39" fmla="*/ 382 h 467"/>
                <a:gd name="T40" fmla="*/ 635 w 720"/>
                <a:gd name="T41" fmla="*/ 467 h 4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20" h="467">
                  <a:moveTo>
                    <a:pt x="635" y="467"/>
                  </a:moveTo>
                  <a:cubicBezTo>
                    <a:pt x="620" y="467"/>
                    <a:pt x="620" y="467"/>
                    <a:pt x="620" y="467"/>
                  </a:cubicBezTo>
                  <a:cubicBezTo>
                    <a:pt x="620" y="438"/>
                    <a:pt x="620" y="438"/>
                    <a:pt x="620" y="438"/>
                  </a:cubicBezTo>
                  <a:cubicBezTo>
                    <a:pt x="635" y="438"/>
                    <a:pt x="635" y="438"/>
                    <a:pt x="635" y="438"/>
                  </a:cubicBezTo>
                  <a:cubicBezTo>
                    <a:pt x="666" y="438"/>
                    <a:pt x="691" y="413"/>
                    <a:pt x="691" y="382"/>
                  </a:cubicBezTo>
                  <a:cubicBezTo>
                    <a:pt x="691" y="85"/>
                    <a:pt x="691" y="85"/>
                    <a:pt x="691" y="85"/>
                  </a:cubicBezTo>
                  <a:cubicBezTo>
                    <a:pt x="691" y="54"/>
                    <a:pt x="666" y="29"/>
                    <a:pt x="635" y="29"/>
                  </a:cubicBezTo>
                  <a:cubicBezTo>
                    <a:pt x="85" y="29"/>
                    <a:pt x="85" y="29"/>
                    <a:pt x="85" y="29"/>
                  </a:cubicBezTo>
                  <a:cubicBezTo>
                    <a:pt x="54" y="29"/>
                    <a:pt x="29" y="54"/>
                    <a:pt x="29" y="85"/>
                  </a:cubicBezTo>
                  <a:cubicBezTo>
                    <a:pt x="29" y="382"/>
                    <a:pt x="29" y="382"/>
                    <a:pt x="29" y="382"/>
                  </a:cubicBezTo>
                  <a:cubicBezTo>
                    <a:pt x="29" y="413"/>
                    <a:pt x="54" y="438"/>
                    <a:pt x="85" y="438"/>
                  </a:cubicBezTo>
                  <a:cubicBezTo>
                    <a:pt x="99" y="438"/>
                    <a:pt x="99" y="438"/>
                    <a:pt x="99" y="438"/>
                  </a:cubicBezTo>
                  <a:cubicBezTo>
                    <a:pt x="99" y="467"/>
                    <a:pt x="99" y="467"/>
                    <a:pt x="99" y="467"/>
                  </a:cubicBezTo>
                  <a:cubicBezTo>
                    <a:pt x="85" y="467"/>
                    <a:pt x="85" y="467"/>
                    <a:pt x="85" y="467"/>
                  </a:cubicBezTo>
                  <a:cubicBezTo>
                    <a:pt x="38" y="467"/>
                    <a:pt x="0" y="429"/>
                    <a:pt x="0" y="382"/>
                  </a:cubicBezTo>
                  <a:cubicBezTo>
                    <a:pt x="0" y="85"/>
                    <a:pt x="0" y="85"/>
                    <a:pt x="0" y="85"/>
                  </a:cubicBezTo>
                  <a:cubicBezTo>
                    <a:pt x="0" y="38"/>
                    <a:pt x="38" y="0"/>
                    <a:pt x="85" y="0"/>
                  </a:cubicBezTo>
                  <a:cubicBezTo>
                    <a:pt x="635" y="0"/>
                    <a:pt x="635" y="0"/>
                    <a:pt x="635" y="0"/>
                  </a:cubicBezTo>
                  <a:cubicBezTo>
                    <a:pt x="682" y="0"/>
                    <a:pt x="720" y="38"/>
                    <a:pt x="720" y="85"/>
                  </a:cubicBezTo>
                  <a:cubicBezTo>
                    <a:pt x="720" y="382"/>
                    <a:pt x="720" y="382"/>
                    <a:pt x="720" y="382"/>
                  </a:cubicBezTo>
                  <a:cubicBezTo>
                    <a:pt x="720" y="429"/>
                    <a:pt x="682" y="467"/>
                    <a:pt x="635" y="46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1" tIns="34280" rIns="68561" bIns="34280" numCol="1" anchor="t" anchorCtr="0" compatLnSpc="1">
              <a:prstTxWarp prst="textNoShape">
                <a:avLst/>
              </a:prstTxWarp>
            </a:bodyPr>
            <a:lstStyle/>
            <a:p>
              <a:pPr defTabSz="685537">
                <a:defRPr/>
              </a:pPr>
              <a:endParaRPr lang="en-US" sz="1350" kern="0">
                <a:solidFill>
                  <a:srgbClr val="1A1A1A"/>
                </a:solidFill>
                <a:latin typeface="Segoe UI Semilight"/>
              </a:endParaRPr>
            </a:p>
          </p:txBody>
        </p:sp>
        <p:sp>
          <p:nvSpPr>
            <p:cNvPr id="152" name="Freeform 14">
              <a:extLst>
                <a:ext uri="{FF2B5EF4-FFF2-40B4-BE49-F238E27FC236}">
                  <a16:creationId xmlns:a16="http://schemas.microsoft.com/office/drawing/2014/main" id="{579D5B63-9079-4051-BDA0-6B6DB34C1508}"/>
                </a:ext>
              </a:extLst>
            </p:cNvPr>
            <p:cNvSpPr>
              <a:spLocks/>
            </p:cNvSpPr>
            <p:nvPr/>
          </p:nvSpPr>
          <p:spPr bwMode="auto">
            <a:xfrm>
              <a:off x="4591" y="2323"/>
              <a:ext cx="28" cy="61"/>
            </a:xfrm>
            <a:custGeom>
              <a:avLst/>
              <a:gdLst>
                <a:gd name="T0" fmla="*/ 40 w 79"/>
                <a:gd name="T1" fmla="*/ 169 h 169"/>
                <a:gd name="T2" fmla="*/ 0 w 79"/>
                <a:gd name="T3" fmla="*/ 130 h 169"/>
                <a:gd name="T4" fmla="*/ 0 w 79"/>
                <a:gd name="T5" fmla="*/ 39 h 169"/>
                <a:gd name="T6" fmla="*/ 40 w 79"/>
                <a:gd name="T7" fmla="*/ 0 h 169"/>
                <a:gd name="T8" fmla="*/ 40 w 79"/>
                <a:gd name="T9" fmla="*/ 0 h 169"/>
                <a:gd name="T10" fmla="*/ 79 w 79"/>
                <a:gd name="T11" fmla="*/ 39 h 169"/>
                <a:gd name="T12" fmla="*/ 79 w 79"/>
                <a:gd name="T13" fmla="*/ 130 h 169"/>
                <a:gd name="T14" fmla="*/ 40 w 79"/>
                <a:gd name="T15" fmla="*/ 169 h 16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 h="169">
                  <a:moveTo>
                    <a:pt x="40" y="169"/>
                  </a:moveTo>
                  <a:cubicBezTo>
                    <a:pt x="18" y="169"/>
                    <a:pt x="0" y="152"/>
                    <a:pt x="0" y="130"/>
                  </a:cubicBezTo>
                  <a:cubicBezTo>
                    <a:pt x="0" y="39"/>
                    <a:pt x="0" y="39"/>
                    <a:pt x="0" y="39"/>
                  </a:cubicBezTo>
                  <a:cubicBezTo>
                    <a:pt x="0" y="17"/>
                    <a:pt x="18" y="0"/>
                    <a:pt x="40" y="0"/>
                  </a:cubicBezTo>
                  <a:cubicBezTo>
                    <a:pt x="40" y="0"/>
                    <a:pt x="40" y="0"/>
                    <a:pt x="40" y="0"/>
                  </a:cubicBezTo>
                  <a:cubicBezTo>
                    <a:pt x="62" y="0"/>
                    <a:pt x="79" y="17"/>
                    <a:pt x="79" y="39"/>
                  </a:cubicBezTo>
                  <a:cubicBezTo>
                    <a:pt x="79" y="130"/>
                    <a:pt x="79" y="130"/>
                    <a:pt x="79" y="130"/>
                  </a:cubicBezTo>
                  <a:cubicBezTo>
                    <a:pt x="79" y="152"/>
                    <a:pt x="62" y="169"/>
                    <a:pt x="40" y="1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1" tIns="34280" rIns="68561" bIns="34280" numCol="1" anchor="t" anchorCtr="0" compatLnSpc="1">
              <a:prstTxWarp prst="textNoShape">
                <a:avLst/>
              </a:prstTxWarp>
            </a:bodyPr>
            <a:lstStyle/>
            <a:p>
              <a:pPr defTabSz="685537">
                <a:defRPr/>
              </a:pPr>
              <a:endParaRPr lang="en-US" sz="1350" kern="0">
                <a:solidFill>
                  <a:srgbClr val="1A1A1A"/>
                </a:solidFill>
                <a:latin typeface="Segoe UI Semilight"/>
              </a:endParaRPr>
            </a:p>
          </p:txBody>
        </p:sp>
        <p:sp>
          <p:nvSpPr>
            <p:cNvPr id="153" name="Freeform 15">
              <a:extLst>
                <a:ext uri="{FF2B5EF4-FFF2-40B4-BE49-F238E27FC236}">
                  <a16:creationId xmlns:a16="http://schemas.microsoft.com/office/drawing/2014/main" id="{19F32373-F4D2-4497-A449-5F5D2561F1BD}"/>
                </a:ext>
              </a:extLst>
            </p:cNvPr>
            <p:cNvSpPr>
              <a:spLocks/>
            </p:cNvSpPr>
            <p:nvPr/>
          </p:nvSpPr>
          <p:spPr bwMode="auto">
            <a:xfrm>
              <a:off x="4635" y="2271"/>
              <a:ext cx="29" cy="113"/>
            </a:xfrm>
            <a:custGeom>
              <a:avLst/>
              <a:gdLst>
                <a:gd name="T0" fmla="*/ 40 w 79"/>
                <a:gd name="T1" fmla="*/ 312 h 312"/>
                <a:gd name="T2" fmla="*/ 0 w 79"/>
                <a:gd name="T3" fmla="*/ 273 h 312"/>
                <a:gd name="T4" fmla="*/ 0 w 79"/>
                <a:gd name="T5" fmla="*/ 40 h 312"/>
                <a:gd name="T6" fmla="*/ 40 w 79"/>
                <a:gd name="T7" fmla="*/ 0 h 312"/>
                <a:gd name="T8" fmla="*/ 79 w 79"/>
                <a:gd name="T9" fmla="*/ 40 h 312"/>
                <a:gd name="T10" fmla="*/ 79 w 79"/>
                <a:gd name="T11" fmla="*/ 273 h 312"/>
                <a:gd name="T12" fmla="*/ 40 w 79"/>
                <a:gd name="T13" fmla="*/ 312 h 312"/>
              </a:gdLst>
              <a:ahLst/>
              <a:cxnLst>
                <a:cxn ang="0">
                  <a:pos x="T0" y="T1"/>
                </a:cxn>
                <a:cxn ang="0">
                  <a:pos x="T2" y="T3"/>
                </a:cxn>
                <a:cxn ang="0">
                  <a:pos x="T4" y="T5"/>
                </a:cxn>
                <a:cxn ang="0">
                  <a:pos x="T6" y="T7"/>
                </a:cxn>
                <a:cxn ang="0">
                  <a:pos x="T8" y="T9"/>
                </a:cxn>
                <a:cxn ang="0">
                  <a:pos x="T10" y="T11"/>
                </a:cxn>
                <a:cxn ang="0">
                  <a:pos x="T12" y="T13"/>
                </a:cxn>
              </a:cxnLst>
              <a:rect l="0" t="0" r="r" b="b"/>
              <a:pathLst>
                <a:path w="79" h="312">
                  <a:moveTo>
                    <a:pt x="40" y="312"/>
                  </a:moveTo>
                  <a:cubicBezTo>
                    <a:pt x="18" y="312"/>
                    <a:pt x="0" y="295"/>
                    <a:pt x="0" y="273"/>
                  </a:cubicBezTo>
                  <a:cubicBezTo>
                    <a:pt x="0" y="40"/>
                    <a:pt x="0" y="40"/>
                    <a:pt x="0" y="40"/>
                  </a:cubicBezTo>
                  <a:cubicBezTo>
                    <a:pt x="0" y="18"/>
                    <a:pt x="18" y="0"/>
                    <a:pt x="40" y="0"/>
                  </a:cubicBezTo>
                  <a:cubicBezTo>
                    <a:pt x="62" y="0"/>
                    <a:pt x="79" y="18"/>
                    <a:pt x="79" y="40"/>
                  </a:cubicBezTo>
                  <a:cubicBezTo>
                    <a:pt x="79" y="273"/>
                    <a:pt x="79" y="273"/>
                    <a:pt x="79" y="273"/>
                  </a:cubicBezTo>
                  <a:cubicBezTo>
                    <a:pt x="79" y="295"/>
                    <a:pt x="62" y="312"/>
                    <a:pt x="40" y="31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1" tIns="34280" rIns="68561" bIns="34280" numCol="1" anchor="t" anchorCtr="0" compatLnSpc="1">
              <a:prstTxWarp prst="textNoShape">
                <a:avLst/>
              </a:prstTxWarp>
            </a:bodyPr>
            <a:lstStyle/>
            <a:p>
              <a:pPr defTabSz="685537">
                <a:defRPr/>
              </a:pPr>
              <a:endParaRPr lang="en-US" sz="1350" kern="0">
                <a:solidFill>
                  <a:srgbClr val="1A1A1A"/>
                </a:solidFill>
                <a:latin typeface="Segoe UI Semilight"/>
              </a:endParaRPr>
            </a:p>
          </p:txBody>
        </p:sp>
        <p:sp>
          <p:nvSpPr>
            <p:cNvPr id="154" name="Freeform 16">
              <a:extLst>
                <a:ext uri="{FF2B5EF4-FFF2-40B4-BE49-F238E27FC236}">
                  <a16:creationId xmlns:a16="http://schemas.microsoft.com/office/drawing/2014/main" id="{4D780D40-2AE5-4DC0-BB08-504399D4C4AA}"/>
                </a:ext>
              </a:extLst>
            </p:cNvPr>
            <p:cNvSpPr>
              <a:spLocks/>
            </p:cNvSpPr>
            <p:nvPr/>
          </p:nvSpPr>
          <p:spPr bwMode="auto">
            <a:xfrm>
              <a:off x="4724" y="2235"/>
              <a:ext cx="29" cy="149"/>
            </a:xfrm>
            <a:custGeom>
              <a:avLst/>
              <a:gdLst>
                <a:gd name="T0" fmla="*/ 40 w 79"/>
                <a:gd name="T1" fmla="*/ 409 h 409"/>
                <a:gd name="T2" fmla="*/ 0 w 79"/>
                <a:gd name="T3" fmla="*/ 370 h 409"/>
                <a:gd name="T4" fmla="*/ 0 w 79"/>
                <a:gd name="T5" fmla="*/ 39 h 409"/>
                <a:gd name="T6" fmla="*/ 40 w 79"/>
                <a:gd name="T7" fmla="*/ 0 h 409"/>
                <a:gd name="T8" fmla="*/ 79 w 79"/>
                <a:gd name="T9" fmla="*/ 39 h 409"/>
                <a:gd name="T10" fmla="*/ 79 w 79"/>
                <a:gd name="T11" fmla="*/ 370 h 409"/>
                <a:gd name="T12" fmla="*/ 40 w 79"/>
                <a:gd name="T13" fmla="*/ 409 h 409"/>
              </a:gdLst>
              <a:ahLst/>
              <a:cxnLst>
                <a:cxn ang="0">
                  <a:pos x="T0" y="T1"/>
                </a:cxn>
                <a:cxn ang="0">
                  <a:pos x="T2" y="T3"/>
                </a:cxn>
                <a:cxn ang="0">
                  <a:pos x="T4" y="T5"/>
                </a:cxn>
                <a:cxn ang="0">
                  <a:pos x="T6" y="T7"/>
                </a:cxn>
                <a:cxn ang="0">
                  <a:pos x="T8" y="T9"/>
                </a:cxn>
                <a:cxn ang="0">
                  <a:pos x="T10" y="T11"/>
                </a:cxn>
                <a:cxn ang="0">
                  <a:pos x="T12" y="T13"/>
                </a:cxn>
              </a:cxnLst>
              <a:rect l="0" t="0" r="r" b="b"/>
              <a:pathLst>
                <a:path w="79" h="409">
                  <a:moveTo>
                    <a:pt x="40" y="409"/>
                  </a:moveTo>
                  <a:cubicBezTo>
                    <a:pt x="18" y="409"/>
                    <a:pt x="0" y="392"/>
                    <a:pt x="0" y="370"/>
                  </a:cubicBezTo>
                  <a:cubicBezTo>
                    <a:pt x="0" y="39"/>
                    <a:pt x="0" y="39"/>
                    <a:pt x="0" y="39"/>
                  </a:cubicBezTo>
                  <a:cubicBezTo>
                    <a:pt x="0" y="18"/>
                    <a:pt x="18" y="0"/>
                    <a:pt x="40" y="0"/>
                  </a:cubicBezTo>
                  <a:cubicBezTo>
                    <a:pt x="61" y="0"/>
                    <a:pt x="79" y="18"/>
                    <a:pt x="79" y="39"/>
                  </a:cubicBezTo>
                  <a:cubicBezTo>
                    <a:pt x="79" y="370"/>
                    <a:pt x="79" y="370"/>
                    <a:pt x="79" y="370"/>
                  </a:cubicBezTo>
                  <a:cubicBezTo>
                    <a:pt x="79" y="392"/>
                    <a:pt x="61" y="409"/>
                    <a:pt x="40" y="40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1" tIns="34280" rIns="68561" bIns="34280" numCol="1" anchor="t" anchorCtr="0" compatLnSpc="1">
              <a:prstTxWarp prst="textNoShape">
                <a:avLst/>
              </a:prstTxWarp>
            </a:bodyPr>
            <a:lstStyle/>
            <a:p>
              <a:pPr defTabSz="685537">
                <a:defRPr/>
              </a:pPr>
              <a:endParaRPr lang="en-US" sz="1350" kern="0">
                <a:solidFill>
                  <a:srgbClr val="1A1A1A"/>
                </a:solidFill>
                <a:latin typeface="Segoe UI Semilight"/>
              </a:endParaRPr>
            </a:p>
          </p:txBody>
        </p:sp>
        <p:sp>
          <p:nvSpPr>
            <p:cNvPr id="155" name="Freeform 17">
              <a:extLst>
                <a:ext uri="{FF2B5EF4-FFF2-40B4-BE49-F238E27FC236}">
                  <a16:creationId xmlns:a16="http://schemas.microsoft.com/office/drawing/2014/main" id="{C0697B4D-2393-4721-B2D2-CCF9FE234105}"/>
                </a:ext>
              </a:extLst>
            </p:cNvPr>
            <p:cNvSpPr>
              <a:spLocks/>
            </p:cNvSpPr>
            <p:nvPr/>
          </p:nvSpPr>
          <p:spPr bwMode="auto">
            <a:xfrm>
              <a:off x="4680" y="2292"/>
              <a:ext cx="28" cy="92"/>
            </a:xfrm>
            <a:custGeom>
              <a:avLst/>
              <a:gdLst>
                <a:gd name="T0" fmla="*/ 40 w 79"/>
                <a:gd name="T1" fmla="*/ 252 h 252"/>
                <a:gd name="T2" fmla="*/ 0 w 79"/>
                <a:gd name="T3" fmla="*/ 213 h 252"/>
                <a:gd name="T4" fmla="*/ 0 w 79"/>
                <a:gd name="T5" fmla="*/ 40 h 252"/>
                <a:gd name="T6" fmla="*/ 40 w 79"/>
                <a:gd name="T7" fmla="*/ 0 h 252"/>
                <a:gd name="T8" fmla="*/ 79 w 79"/>
                <a:gd name="T9" fmla="*/ 40 h 252"/>
                <a:gd name="T10" fmla="*/ 79 w 79"/>
                <a:gd name="T11" fmla="*/ 213 h 252"/>
                <a:gd name="T12" fmla="*/ 40 w 79"/>
                <a:gd name="T13" fmla="*/ 252 h 252"/>
              </a:gdLst>
              <a:ahLst/>
              <a:cxnLst>
                <a:cxn ang="0">
                  <a:pos x="T0" y="T1"/>
                </a:cxn>
                <a:cxn ang="0">
                  <a:pos x="T2" y="T3"/>
                </a:cxn>
                <a:cxn ang="0">
                  <a:pos x="T4" y="T5"/>
                </a:cxn>
                <a:cxn ang="0">
                  <a:pos x="T6" y="T7"/>
                </a:cxn>
                <a:cxn ang="0">
                  <a:pos x="T8" y="T9"/>
                </a:cxn>
                <a:cxn ang="0">
                  <a:pos x="T10" y="T11"/>
                </a:cxn>
                <a:cxn ang="0">
                  <a:pos x="T12" y="T13"/>
                </a:cxn>
              </a:cxnLst>
              <a:rect l="0" t="0" r="r" b="b"/>
              <a:pathLst>
                <a:path w="79" h="252">
                  <a:moveTo>
                    <a:pt x="40" y="252"/>
                  </a:moveTo>
                  <a:cubicBezTo>
                    <a:pt x="18" y="252"/>
                    <a:pt x="0" y="235"/>
                    <a:pt x="0" y="213"/>
                  </a:cubicBezTo>
                  <a:cubicBezTo>
                    <a:pt x="0" y="40"/>
                    <a:pt x="0" y="40"/>
                    <a:pt x="0" y="40"/>
                  </a:cubicBezTo>
                  <a:cubicBezTo>
                    <a:pt x="0" y="18"/>
                    <a:pt x="18" y="0"/>
                    <a:pt x="40" y="0"/>
                  </a:cubicBezTo>
                  <a:cubicBezTo>
                    <a:pt x="61" y="0"/>
                    <a:pt x="79" y="18"/>
                    <a:pt x="79" y="40"/>
                  </a:cubicBezTo>
                  <a:cubicBezTo>
                    <a:pt x="79" y="213"/>
                    <a:pt x="79" y="213"/>
                    <a:pt x="79" y="213"/>
                  </a:cubicBezTo>
                  <a:cubicBezTo>
                    <a:pt x="79" y="235"/>
                    <a:pt x="62" y="252"/>
                    <a:pt x="40" y="25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1" tIns="34280" rIns="68561" bIns="34280" numCol="1" anchor="t" anchorCtr="0" compatLnSpc="1">
              <a:prstTxWarp prst="textNoShape">
                <a:avLst/>
              </a:prstTxWarp>
            </a:bodyPr>
            <a:lstStyle/>
            <a:p>
              <a:pPr defTabSz="685537">
                <a:defRPr/>
              </a:pPr>
              <a:endParaRPr lang="en-US" sz="1350" kern="0">
                <a:solidFill>
                  <a:srgbClr val="1A1A1A"/>
                </a:solidFill>
                <a:latin typeface="Segoe UI Semilight"/>
              </a:endParaRPr>
            </a:p>
          </p:txBody>
        </p:sp>
      </p:grpSp>
      <p:grpSp>
        <p:nvGrpSpPr>
          <p:cNvPr id="156" name="Group 155">
            <a:extLst>
              <a:ext uri="{FF2B5EF4-FFF2-40B4-BE49-F238E27FC236}">
                <a16:creationId xmlns:a16="http://schemas.microsoft.com/office/drawing/2014/main" id="{17A1B718-F379-4233-ACB0-76DCF682FF8B}"/>
              </a:ext>
            </a:extLst>
          </p:cNvPr>
          <p:cNvGrpSpPr/>
          <p:nvPr/>
        </p:nvGrpSpPr>
        <p:grpSpPr>
          <a:xfrm>
            <a:off x="4130601" y="4445608"/>
            <a:ext cx="274513" cy="208559"/>
            <a:chOff x="-1146792" y="777239"/>
            <a:chExt cx="1017587" cy="773113"/>
          </a:xfrm>
          <a:solidFill>
            <a:srgbClr val="0078D4"/>
          </a:solidFill>
        </p:grpSpPr>
        <p:sp>
          <p:nvSpPr>
            <p:cNvPr id="157" name="Freeform 5">
              <a:extLst>
                <a:ext uri="{FF2B5EF4-FFF2-40B4-BE49-F238E27FC236}">
                  <a16:creationId xmlns:a16="http://schemas.microsoft.com/office/drawing/2014/main" id="{58C0756B-A6D8-48E7-BB4C-84E15DA9CF1E}"/>
                </a:ext>
              </a:extLst>
            </p:cNvPr>
            <p:cNvSpPr>
              <a:spLocks/>
            </p:cNvSpPr>
            <p:nvPr/>
          </p:nvSpPr>
          <p:spPr bwMode="auto">
            <a:xfrm>
              <a:off x="-1146792" y="777239"/>
              <a:ext cx="1017587" cy="669923"/>
            </a:xfrm>
            <a:custGeom>
              <a:avLst/>
              <a:gdLst>
                <a:gd name="T0" fmla="*/ 30 w 737"/>
                <a:gd name="T1" fmla="*/ 326 h 478"/>
                <a:gd name="T2" fmla="*/ 30 w 737"/>
                <a:gd name="T3" fmla="*/ 87 h 478"/>
                <a:gd name="T4" fmla="*/ 87 w 737"/>
                <a:gd name="T5" fmla="*/ 30 h 478"/>
                <a:gd name="T6" fmla="*/ 650 w 737"/>
                <a:gd name="T7" fmla="*/ 30 h 478"/>
                <a:gd name="T8" fmla="*/ 707 w 737"/>
                <a:gd name="T9" fmla="*/ 87 h 478"/>
                <a:gd name="T10" fmla="*/ 707 w 737"/>
                <a:gd name="T11" fmla="*/ 391 h 478"/>
                <a:gd name="T12" fmla="*/ 650 w 737"/>
                <a:gd name="T13" fmla="*/ 448 h 478"/>
                <a:gd name="T14" fmla="*/ 390 w 737"/>
                <a:gd name="T15" fmla="*/ 448 h 478"/>
                <a:gd name="T16" fmla="*/ 390 w 737"/>
                <a:gd name="T17" fmla="*/ 478 h 478"/>
                <a:gd name="T18" fmla="*/ 650 w 737"/>
                <a:gd name="T19" fmla="*/ 478 h 478"/>
                <a:gd name="T20" fmla="*/ 737 w 737"/>
                <a:gd name="T21" fmla="*/ 391 h 478"/>
                <a:gd name="T22" fmla="*/ 737 w 737"/>
                <a:gd name="T23" fmla="*/ 87 h 478"/>
                <a:gd name="T24" fmla="*/ 650 w 737"/>
                <a:gd name="T25" fmla="*/ 0 h 478"/>
                <a:gd name="T26" fmla="*/ 87 w 737"/>
                <a:gd name="T27" fmla="*/ 0 h 478"/>
                <a:gd name="T28" fmla="*/ 0 w 737"/>
                <a:gd name="T29" fmla="*/ 87 h 478"/>
                <a:gd name="T30" fmla="*/ 0 w 737"/>
                <a:gd name="T31" fmla="*/ 326 h 478"/>
                <a:gd name="T32" fmla="*/ 30 w 737"/>
                <a:gd name="T33" fmla="*/ 326 h 4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37" h="478">
                  <a:moveTo>
                    <a:pt x="30" y="326"/>
                  </a:moveTo>
                  <a:cubicBezTo>
                    <a:pt x="30" y="87"/>
                    <a:pt x="30" y="87"/>
                    <a:pt x="30" y="87"/>
                  </a:cubicBezTo>
                  <a:cubicBezTo>
                    <a:pt x="30" y="56"/>
                    <a:pt x="55" y="30"/>
                    <a:pt x="87" y="30"/>
                  </a:cubicBezTo>
                  <a:cubicBezTo>
                    <a:pt x="650" y="30"/>
                    <a:pt x="650" y="30"/>
                    <a:pt x="650" y="30"/>
                  </a:cubicBezTo>
                  <a:cubicBezTo>
                    <a:pt x="682" y="30"/>
                    <a:pt x="707" y="56"/>
                    <a:pt x="707" y="87"/>
                  </a:cubicBezTo>
                  <a:cubicBezTo>
                    <a:pt x="707" y="391"/>
                    <a:pt x="707" y="391"/>
                    <a:pt x="707" y="391"/>
                  </a:cubicBezTo>
                  <a:cubicBezTo>
                    <a:pt x="707" y="423"/>
                    <a:pt x="682" y="448"/>
                    <a:pt x="650" y="448"/>
                  </a:cubicBezTo>
                  <a:cubicBezTo>
                    <a:pt x="390" y="448"/>
                    <a:pt x="390" y="448"/>
                    <a:pt x="390" y="448"/>
                  </a:cubicBezTo>
                  <a:cubicBezTo>
                    <a:pt x="390" y="478"/>
                    <a:pt x="390" y="478"/>
                    <a:pt x="390" y="478"/>
                  </a:cubicBezTo>
                  <a:cubicBezTo>
                    <a:pt x="650" y="478"/>
                    <a:pt x="650" y="478"/>
                    <a:pt x="650" y="478"/>
                  </a:cubicBezTo>
                  <a:cubicBezTo>
                    <a:pt x="698" y="478"/>
                    <a:pt x="737" y="439"/>
                    <a:pt x="737" y="391"/>
                  </a:cubicBezTo>
                  <a:cubicBezTo>
                    <a:pt x="737" y="87"/>
                    <a:pt x="737" y="87"/>
                    <a:pt x="737" y="87"/>
                  </a:cubicBezTo>
                  <a:cubicBezTo>
                    <a:pt x="737" y="39"/>
                    <a:pt x="698" y="0"/>
                    <a:pt x="650" y="0"/>
                  </a:cubicBezTo>
                  <a:cubicBezTo>
                    <a:pt x="87" y="0"/>
                    <a:pt x="87" y="0"/>
                    <a:pt x="87" y="0"/>
                  </a:cubicBezTo>
                  <a:cubicBezTo>
                    <a:pt x="39" y="0"/>
                    <a:pt x="0" y="39"/>
                    <a:pt x="0" y="87"/>
                  </a:cubicBezTo>
                  <a:cubicBezTo>
                    <a:pt x="0" y="326"/>
                    <a:pt x="0" y="326"/>
                    <a:pt x="0" y="326"/>
                  </a:cubicBezTo>
                  <a:lnTo>
                    <a:pt x="30" y="3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891" tIns="32946" rIns="65891" bIns="3294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58793">
                <a:defRPr/>
              </a:pPr>
              <a:endParaRPr lang="en-US" sz="1440">
                <a:solidFill>
                  <a:srgbClr val="1A1A1A"/>
                </a:solidFill>
                <a:latin typeface="Segoe UI"/>
              </a:endParaRPr>
            </a:p>
          </p:txBody>
        </p:sp>
        <p:sp>
          <p:nvSpPr>
            <p:cNvPr id="158" name="Freeform 6">
              <a:extLst>
                <a:ext uri="{FF2B5EF4-FFF2-40B4-BE49-F238E27FC236}">
                  <a16:creationId xmlns:a16="http://schemas.microsoft.com/office/drawing/2014/main" id="{DC7506F2-E7BF-4774-A1D6-717D679E561D}"/>
                </a:ext>
              </a:extLst>
            </p:cNvPr>
            <p:cNvSpPr>
              <a:spLocks noEditPoints="1"/>
            </p:cNvSpPr>
            <p:nvPr/>
          </p:nvSpPr>
          <p:spPr bwMode="auto">
            <a:xfrm>
              <a:off x="-1146792" y="943926"/>
              <a:ext cx="777873" cy="606426"/>
            </a:xfrm>
            <a:custGeom>
              <a:avLst/>
              <a:gdLst>
                <a:gd name="T0" fmla="*/ 391 w 564"/>
                <a:gd name="T1" fmla="*/ 147 h 433"/>
                <a:gd name="T2" fmla="*/ 417 w 564"/>
                <a:gd name="T3" fmla="*/ 173 h 433"/>
                <a:gd name="T4" fmla="*/ 538 w 564"/>
                <a:gd name="T5" fmla="*/ 173 h 433"/>
                <a:gd name="T6" fmla="*/ 564 w 564"/>
                <a:gd name="T7" fmla="*/ 147 h 433"/>
                <a:gd name="T8" fmla="*/ 564 w 564"/>
                <a:gd name="T9" fmla="*/ 26 h 433"/>
                <a:gd name="T10" fmla="*/ 538 w 564"/>
                <a:gd name="T11" fmla="*/ 0 h 433"/>
                <a:gd name="T12" fmla="*/ 417 w 564"/>
                <a:gd name="T13" fmla="*/ 0 h 433"/>
                <a:gd name="T14" fmla="*/ 391 w 564"/>
                <a:gd name="T15" fmla="*/ 26 h 433"/>
                <a:gd name="T16" fmla="*/ 391 w 564"/>
                <a:gd name="T17" fmla="*/ 65 h 433"/>
                <a:gd name="T18" fmla="*/ 342 w 564"/>
                <a:gd name="T19" fmla="*/ 65 h 433"/>
                <a:gd name="T20" fmla="*/ 297 w 564"/>
                <a:gd name="T21" fmla="*/ 97 h 433"/>
                <a:gd name="T22" fmla="*/ 223 w 564"/>
                <a:gd name="T23" fmla="*/ 322 h 433"/>
                <a:gd name="T24" fmla="*/ 219 w 564"/>
                <a:gd name="T25" fmla="*/ 325 h 433"/>
                <a:gd name="T26" fmla="*/ 173 w 564"/>
                <a:gd name="T27" fmla="*/ 325 h 433"/>
                <a:gd name="T28" fmla="*/ 173 w 564"/>
                <a:gd name="T29" fmla="*/ 286 h 433"/>
                <a:gd name="T30" fmla="*/ 147 w 564"/>
                <a:gd name="T31" fmla="*/ 260 h 433"/>
                <a:gd name="T32" fmla="*/ 26 w 564"/>
                <a:gd name="T33" fmla="*/ 260 h 433"/>
                <a:gd name="T34" fmla="*/ 0 w 564"/>
                <a:gd name="T35" fmla="*/ 286 h 433"/>
                <a:gd name="T36" fmla="*/ 0 w 564"/>
                <a:gd name="T37" fmla="*/ 407 h 433"/>
                <a:gd name="T38" fmla="*/ 26 w 564"/>
                <a:gd name="T39" fmla="*/ 433 h 433"/>
                <a:gd name="T40" fmla="*/ 147 w 564"/>
                <a:gd name="T41" fmla="*/ 433 h 433"/>
                <a:gd name="T42" fmla="*/ 173 w 564"/>
                <a:gd name="T43" fmla="*/ 407 h 433"/>
                <a:gd name="T44" fmla="*/ 173 w 564"/>
                <a:gd name="T45" fmla="*/ 368 h 433"/>
                <a:gd name="T46" fmla="*/ 219 w 564"/>
                <a:gd name="T47" fmla="*/ 368 h 433"/>
                <a:gd name="T48" fmla="*/ 264 w 564"/>
                <a:gd name="T49" fmla="*/ 336 h 433"/>
                <a:gd name="T50" fmla="*/ 338 w 564"/>
                <a:gd name="T51" fmla="*/ 111 h 433"/>
                <a:gd name="T52" fmla="*/ 342 w 564"/>
                <a:gd name="T53" fmla="*/ 108 h 433"/>
                <a:gd name="T54" fmla="*/ 391 w 564"/>
                <a:gd name="T55" fmla="*/ 108 h 433"/>
                <a:gd name="T56" fmla="*/ 391 w 564"/>
                <a:gd name="T57" fmla="*/ 147 h 433"/>
                <a:gd name="T58" fmla="*/ 129 w 564"/>
                <a:gd name="T59" fmla="*/ 390 h 433"/>
                <a:gd name="T60" fmla="*/ 43 w 564"/>
                <a:gd name="T61" fmla="*/ 390 h 433"/>
                <a:gd name="T62" fmla="*/ 43 w 564"/>
                <a:gd name="T63" fmla="*/ 303 h 433"/>
                <a:gd name="T64" fmla="*/ 129 w 564"/>
                <a:gd name="T65" fmla="*/ 303 h 433"/>
                <a:gd name="T66" fmla="*/ 129 w 564"/>
                <a:gd name="T67" fmla="*/ 390 h 4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64" h="433">
                  <a:moveTo>
                    <a:pt x="391" y="147"/>
                  </a:moveTo>
                  <a:cubicBezTo>
                    <a:pt x="391" y="162"/>
                    <a:pt x="403" y="173"/>
                    <a:pt x="417" y="173"/>
                  </a:cubicBezTo>
                  <a:cubicBezTo>
                    <a:pt x="538" y="173"/>
                    <a:pt x="538" y="173"/>
                    <a:pt x="538" y="173"/>
                  </a:cubicBezTo>
                  <a:cubicBezTo>
                    <a:pt x="552" y="173"/>
                    <a:pt x="564" y="162"/>
                    <a:pt x="564" y="147"/>
                  </a:cubicBezTo>
                  <a:cubicBezTo>
                    <a:pt x="564" y="26"/>
                    <a:pt x="564" y="26"/>
                    <a:pt x="564" y="26"/>
                  </a:cubicBezTo>
                  <a:cubicBezTo>
                    <a:pt x="564" y="11"/>
                    <a:pt x="552" y="0"/>
                    <a:pt x="538" y="0"/>
                  </a:cubicBezTo>
                  <a:cubicBezTo>
                    <a:pt x="417" y="0"/>
                    <a:pt x="417" y="0"/>
                    <a:pt x="417" y="0"/>
                  </a:cubicBezTo>
                  <a:cubicBezTo>
                    <a:pt x="403" y="0"/>
                    <a:pt x="391" y="11"/>
                    <a:pt x="391" y="26"/>
                  </a:cubicBezTo>
                  <a:cubicBezTo>
                    <a:pt x="391" y="65"/>
                    <a:pt x="391" y="65"/>
                    <a:pt x="391" y="65"/>
                  </a:cubicBezTo>
                  <a:cubicBezTo>
                    <a:pt x="342" y="65"/>
                    <a:pt x="342" y="65"/>
                    <a:pt x="342" y="65"/>
                  </a:cubicBezTo>
                  <a:cubicBezTo>
                    <a:pt x="322" y="65"/>
                    <a:pt x="304" y="78"/>
                    <a:pt x="297" y="97"/>
                  </a:cubicBezTo>
                  <a:cubicBezTo>
                    <a:pt x="223" y="322"/>
                    <a:pt x="223" y="322"/>
                    <a:pt x="223" y="322"/>
                  </a:cubicBezTo>
                  <a:cubicBezTo>
                    <a:pt x="222" y="324"/>
                    <a:pt x="221" y="325"/>
                    <a:pt x="219" y="325"/>
                  </a:cubicBezTo>
                  <a:cubicBezTo>
                    <a:pt x="173" y="325"/>
                    <a:pt x="173" y="325"/>
                    <a:pt x="173" y="325"/>
                  </a:cubicBezTo>
                  <a:cubicBezTo>
                    <a:pt x="173" y="286"/>
                    <a:pt x="173" y="286"/>
                    <a:pt x="173" y="286"/>
                  </a:cubicBezTo>
                  <a:cubicBezTo>
                    <a:pt x="173" y="272"/>
                    <a:pt x="161" y="260"/>
                    <a:pt x="147" y="260"/>
                  </a:cubicBezTo>
                  <a:cubicBezTo>
                    <a:pt x="26" y="260"/>
                    <a:pt x="26" y="260"/>
                    <a:pt x="26" y="260"/>
                  </a:cubicBezTo>
                  <a:cubicBezTo>
                    <a:pt x="11" y="260"/>
                    <a:pt x="0" y="272"/>
                    <a:pt x="0" y="286"/>
                  </a:cubicBezTo>
                  <a:cubicBezTo>
                    <a:pt x="0" y="407"/>
                    <a:pt x="0" y="407"/>
                    <a:pt x="0" y="407"/>
                  </a:cubicBezTo>
                  <a:cubicBezTo>
                    <a:pt x="0" y="422"/>
                    <a:pt x="11" y="433"/>
                    <a:pt x="26" y="433"/>
                  </a:cubicBezTo>
                  <a:cubicBezTo>
                    <a:pt x="147" y="433"/>
                    <a:pt x="147" y="433"/>
                    <a:pt x="147" y="433"/>
                  </a:cubicBezTo>
                  <a:cubicBezTo>
                    <a:pt x="161" y="433"/>
                    <a:pt x="173" y="422"/>
                    <a:pt x="173" y="407"/>
                  </a:cubicBezTo>
                  <a:cubicBezTo>
                    <a:pt x="173" y="368"/>
                    <a:pt x="173" y="368"/>
                    <a:pt x="173" y="368"/>
                  </a:cubicBezTo>
                  <a:cubicBezTo>
                    <a:pt x="219" y="368"/>
                    <a:pt x="219" y="368"/>
                    <a:pt x="219" y="368"/>
                  </a:cubicBezTo>
                  <a:cubicBezTo>
                    <a:pt x="239" y="368"/>
                    <a:pt x="257" y="355"/>
                    <a:pt x="264" y="336"/>
                  </a:cubicBezTo>
                  <a:cubicBezTo>
                    <a:pt x="338" y="111"/>
                    <a:pt x="338" y="111"/>
                    <a:pt x="338" y="111"/>
                  </a:cubicBezTo>
                  <a:cubicBezTo>
                    <a:pt x="339" y="109"/>
                    <a:pt x="340" y="108"/>
                    <a:pt x="342" y="108"/>
                  </a:cubicBezTo>
                  <a:cubicBezTo>
                    <a:pt x="391" y="108"/>
                    <a:pt x="391" y="108"/>
                    <a:pt x="391" y="108"/>
                  </a:cubicBezTo>
                  <a:lnTo>
                    <a:pt x="391" y="147"/>
                  </a:lnTo>
                  <a:close/>
                  <a:moveTo>
                    <a:pt x="129" y="390"/>
                  </a:moveTo>
                  <a:cubicBezTo>
                    <a:pt x="43" y="390"/>
                    <a:pt x="43" y="390"/>
                    <a:pt x="43" y="390"/>
                  </a:cubicBezTo>
                  <a:cubicBezTo>
                    <a:pt x="43" y="303"/>
                    <a:pt x="43" y="303"/>
                    <a:pt x="43" y="303"/>
                  </a:cubicBezTo>
                  <a:cubicBezTo>
                    <a:pt x="129" y="303"/>
                    <a:pt x="129" y="303"/>
                    <a:pt x="129" y="303"/>
                  </a:cubicBezTo>
                  <a:lnTo>
                    <a:pt x="129" y="39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891" tIns="32946" rIns="65891" bIns="3294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58793">
                <a:defRPr/>
              </a:pPr>
              <a:endParaRPr lang="en-US" sz="1440">
                <a:solidFill>
                  <a:srgbClr val="1A1A1A"/>
                </a:solidFill>
                <a:latin typeface="Segoe UI"/>
              </a:endParaRPr>
            </a:p>
          </p:txBody>
        </p:sp>
      </p:grpSp>
      <p:sp>
        <p:nvSpPr>
          <p:cNvPr id="165" name="Oval 164">
            <a:extLst>
              <a:ext uri="{FF2B5EF4-FFF2-40B4-BE49-F238E27FC236}">
                <a16:creationId xmlns:a16="http://schemas.microsoft.com/office/drawing/2014/main" id="{4B300ACE-01DA-40AB-A890-FF355515BEED}"/>
              </a:ext>
            </a:extLst>
          </p:cNvPr>
          <p:cNvSpPr/>
          <p:nvPr/>
        </p:nvSpPr>
        <p:spPr bwMode="auto">
          <a:xfrm>
            <a:off x="4841171" y="4356156"/>
            <a:ext cx="393390" cy="393390"/>
          </a:xfrm>
          <a:prstGeom prst="ellipse">
            <a:avLst/>
          </a:prstGeom>
          <a:solidFill>
            <a:srgbClr val="FFFFFF"/>
          </a:solidFill>
          <a:ln w="9525" cap="flat" cmpd="sng" algn="ctr">
            <a:noFill/>
            <a:prstDash val="solid"/>
          </a:ln>
          <a:effectLst>
            <a:outerShdw blurRad="190500" dist="50800" dir="2700000" sx="101000" sy="101000" algn="tl" rotWithShape="0">
              <a:prstClr val="black">
                <a:alpha val="30000"/>
              </a:prstClr>
            </a:outerShdw>
          </a:effectLst>
        </p:spPr>
        <p:txBody>
          <a:bodyPr rot="0" spcFirstLastPara="0" vert="horz" wrap="square" lIns="134444" tIns="107556" rIns="134444" bIns="107556" numCol="1" spcCol="0" rtlCol="0" fromWordArt="0" anchor="ctr" anchorCtr="0" forceAA="0" compatLnSpc="1">
            <a:prstTxWarp prst="textNoShape">
              <a:avLst/>
            </a:prstTxWarp>
            <a:noAutofit/>
          </a:bodyPr>
          <a:lstStyle/>
          <a:p>
            <a:pPr defTabSz="685445" fontAlgn="base">
              <a:spcBef>
                <a:spcPct val="0"/>
              </a:spcBef>
              <a:spcAft>
                <a:spcPct val="0"/>
              </a:spcAft>
              <a:defRPr/>
            </a:pPr>
            <a:endParaRPr lang="en-US" sz="1471" kern="0">
              <a:gradFill>
                <a:gsLst>
                  <a:gs pos="0">
                    <a:srgbClr val="FFFFFF"/>
                  </a:gs>
                  <a:gs pos="100000">
                    <a:srgbClr val="FFFFFF"/>
                  </a:gs>
                </a:gsLst>
                <a:lin ang="5400000" scaled="0"/>
              </a:gradFill>
              <a:latin typeface="Segoe UI"/>
              <a:cs typeface="Segoe UI" pitchFamily="34" charset="0"/>
            </a:endParaRPr>
          </a:p>
        </p:txBody>
      </p:sp>
      <p:sp>
        <p:nvSpPr>
          <p:cNvPr id="166" name="Flow">
            <a:extLst>
              <a:ext uri="{FF2B5EF4-FFF2-40B4-BE49-F238E27FC236}">
                <a16:creationId xmlns:a16="http://schemas.microsoft.com/office/drawing/2014/main" id="{8213B95B-3603-4C7C-A294-6FF6AFA1441D}"/>
              </a:ext>
            </a:extLst>
          </p:cNvPr>
          <p:cNvSpPr txBox="1"/>
          <p:nvPr/>
        </p:nvSpPr>
        <p:spPr>
          <a:xfrm>
            <a:off x="4686202" y="4830551"/>
            <a:ext cx="732968" cy="226216"/>
          </a:xfrm>
          <a:prstGeom prst="rect">
            <a:avLst/>
          </a:prstGeom>
          <a:noFill/>
        </p:spPr>
        <p:txBody>
          <a:bodyPr wrap="square" lIns="0" tIns="0" rIns="0" bIns="0" rtlCol="0">
            <a:spAutoFit/>
          </a:bodyPr>
          <a:lstStyle>
            <a:defPPr>
              <a:defRPr lang="en-US"/>
            </a:defPPr>
            <a:lvl1pPr marR="0" lvl="0" indent="0" algn="ctr" fontAlgn="auto">
              <a:lnSpc>
                <a:spcPct val="100000"/>
              </a:lnSpc>
              <a:spcBef>
                <a:spcPts val="0"/>
              </a:spcBef>
              <a:spcAft>
                <a:spcPts val="0"/>
              </a:spcAft>
              <a:buClrTx/>
              <a:buSzTx/>
              <a:buFontTx/>
              <a:buNone/>
              <a:tabLst/>
              <a:defRPr kumimoji="0" sz="1000" b="0" i="0" u="none" strike="noStrike" kern="0" cap="none" spc="0" normalizeH="0" baseline="0">
                <a:ln>
                  <a:noFill/>
                </a:ln>
                <a:effectLst/>
                <a:uLnTx/>
                <a:uFillTx/>
                <a:latin typeface="Segoe UI Semibold"/>
                <a:cs typeface="Segoe UI Light" panose="020B0502040204020203" pitchFamily="34" charset="0"/>
              </a:defRPr>
            </a:lvl1pPr>
          </a:lstStyle>
          <a:p>
            <a:pPr defTabSz="672161">
              <a:defRPr/>
            </a:pPr>
            <a:r>
              <a:rPr lang="en-US" sz="735">
                <a:solidFill>
                  <a:srgbClr val="1A1A1A"/>
                </a:solidFill>
              </a:rPr>
              <a:t>Power </a:t>
            </a:r>
            <a:br>
              <a:rPr lang="en-US" sz="735">
                <a:solidFill>
                  <a:srgbClr val="1A1A1A"/>
                </a:solidFill>
              </a:rPr>
            </a:br>
            <a:r>
              <a:rPr lang="en-US" sz="735">
                <a:solidFill>
                  <a:srgbClr val="1A1A1A"/>
                </a:solidFill>
              </a:rPr>
              <a:t>Virtual Agents</a:t>
            </a:r>
          </a:p>
        </p:txBody>
      </p:sp>
      <p:pic>
        <p:nvPicPr>
          <p:cNvPr id="167" name="Picture 166" descr="A picture containing drawing&#10;&#10;Description automatically generated">
            <a:extLst>
              <a:ext uri="{FF2B5EF4-FFF2-40B4-BE49-F238E27FC236}">
                <a16:creationId xmlns:a16="http://schemas.microsoft.com/office/drawing/2014/main" id="{A00A905B-0E09-42CF-A0E2-61D683EE5846}"/>
              </a:ext>
            </a:extLst>
          </p:cNvPr>
          <p:cNvPicPr>
            <a:picLocks noChangeAspect="1"/>
          </p:cNvPicPr>
          <p:nvPr/>
        </p:nvPicPr>
        <p:blipFill>
          <a:blip r:embed="rId14" cstate="print">
            <a:duotone>
              <a:prstClr val="black"/>
              <a:schemeClr val="accent2">
                <a:lumMod val="75000"/>
                <a:tint val="45000"/>
                <a:satMod val="400000"/>
              </a:schemeClr>
            </a:duotone>
            <a:extLst>
              <a:ext uri="{BEBA8EAE-BF5A-486C-A8C5-ECC9F3942E4B}">
                <a14:imgProps xmlns:a14="http://schemas.microsoft.com/office/drawing/2010/main">
                  <a14:imgLayer r:embed="rId15">
                    <a14:imgEffect>
                      <a14:brightnessContrast bright="-40000" contrast="20000"/>
                    </a14:imgEffect>
                  </a14:imgLayer>
                </a14:imgProps>
              </a:ext>
              <a:ext uri="{28A0092B-C50C-407E-A947-70E740481C1C}">
                <a14:useLocalDpi xmlns:a14="http://schemas.microsoft.com/office/drawing/2010/main" val="0"/>
              </a:ext>
            </a:extLst>
          </a:blip>
          <a:stretch>
            <a:fillRect/>
          </a:stretch>
        </p:blipFill>
        <p:spPr>
          <a:xfrm>
            <a:off x="4900067" y="4416394"/>
            <a:ext cx="281684" cy="281684"/>
          </a:xfrm>
          <a:prstGeom prst="rect">
            <a:avLst/>
          </a:prstGeom>
        </p:spPr>
      </p:pic>
      <p:pic>
        <p:nvPicPr>
          <p:cNvPr id="168" name="Linkedin">
            <a:extLst>
              <a:ext uri="{FF2B5EF4-FFF2-40B4-BE49-F238E27FC236}">
                <a16:creationId xmlns:a16="http://schemas.microsoft.com/office/drawing/2014/main" id="{BC859A39-9AB3-4F83-8D08-E03B23D192AD}"/>
              </a:ext>
            </a:extLst>
          </p:cNvPr>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5203388" y="1937293"/>
            <a:ext cx="438110" cy="108275"/>
          </a:xfrm>
          <a:prstGeom prst="rect">
            <a:avLst/>
          </a:prstGeom>
        </p:spPr>
      </p:pic>
    </p:spTree>
    <p:extLst>
      <p:ext uri="{BB962C8B-B14F-4D97-AF65-F5344CB8AC3E}">
        <p14:creationId xmlns:p14="http://schemas.microsoft.com/office/powerpoint/2010/main" val="102599470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97"/>
                                        </p:tgtEl>
                                        <p:attrNameLst>
                                          <p:attrName>style.visibility</p:attrName>
                                        </p:attrNameLst>
                                      </p:cBhvr>
                                      <p:to>
                                        <p:strVal val="visible"/>
                                      </p:to>
                                    </p:set>
                                    <p:animEffect transition="in" filter="fade">
                                      <p:cBhvr>
                                        <p:cTn id="7" dur="150"/>
                                        <p:tgtEl>
                                          <p:spTgt spid="97"/>
                                        </p:tgtEl>
                                      </p:cBhvr>
                                    </p:animEffect>
                                  </p:childTnLst>
                                </p:cTn>
                              </p:par>
                            </p:childTnLst>
                          </p:cTn>
                        </p:par>
                        <p:par>
                          <p:cTn id="8" fill="hold">
                            <p:stCondLst>
                              <p:cond delay="150"/>
                            </p:stCondLst>
                            <p:childTnLst>
                              <p:par>
                                <p:cTn id="9" presetID="10" presetClass="entr" presetSubtype="0" fill="hold" grpId="0" nodeType="afterEffect">
                                  <p:stCondLst>
                                    <p:cond delay="0"/>
                                  </p:stCondLst>
                                  <p:childTnLst>
                                    <p:set>
                                      <p:cBhvr>
                                        <p:cTn id="10" dur="1" fill="hold">
                                          <p:stCondLst>
                                            <p:cond delay="0"/>
                                          </p:stCondLst>
                                        </p:cTn>
                                        <p:tgtEl>
                                          <p:spTgt spid="96"/>
                                        </p:tgtEl>
                                        <p:attrNameLst>
                                          <p:attrName>style.visibility</p:attrName>
                                        </p:attrNameLst>
                                      </p:cBhvr>
                                      <p:to>
                                        <p:strVal val="visible"/>
                                      </p:to>
                                    </p:set>
                                    <p:animEffect transition="in" filter="fade">
                                      <p:cBhvr>
                                        <p:cTn id="11" dur="150"/>
                                        <p:tgtEl>
                                          <p:spTgt spid="96"/>
                                        </p:tgtEl>
                                      </p:cBhvr>
                                    </p:animEffect>
                                  </p:childTnLst>
                                </p:cTn>
                              </p:par>
                            </p:childTnLst>
                          </p:cTn>
                        </p:par>
                        <p:par>
                          <p:cTn id="12" fill="hold">
                            <p:stCondLst>
                              <p:cond delay="300"/>
                            </p:stCondLst>
                            <p:childTnLst>
                              <p:par>
                                <p:cTn id="13" presetID="10" presetClass="entr" presetSubtype="0" fill="hold" grpId="0" nodeType="afterEffect">
                                  <p:stCondLst>
                                    <p:cond delay="0"/>
                                  </p:stCondLst>
                                  <p:childTnLst>
                                    <p:set>
                                      <p:cBhvr>
                                        <p:cTn id="14" dur="1" fill="hold">
                                          <p:stCondLst>
                                            <p:cond delay="0"/>
                                          </p:stCondLst>
                                        </p:cTn>
                                        <p:tgtEl>
                                          <p:spTgt spid="90"/>
                                        </p:tgtEl>
                                        <p:attrNameLst>
                                          <p:attrName>style.visibility</p:attrName>
                                        </p:attrNameLst>
                                      </p:cBhvr>
                                      <p:to>
                                        <p:strVal val="visible"/>
                                      </p:to>
                                    </p:set>
                                    <p:animEffect transition="in" filter="fade">
                                      <p:cBhvr>
                                        <p:cTn id="15" dur="150"/>
                                        <p:tgtEl>
                                          <p:spTgt spid="90"/>
                                        </p:tgtEl>
                                      </p:cBhvr>
                                    </p:animEffect>
                                  </p:childTnLst>
                                </p:cTn>
                              </p:par>
                            </p:childTnLst>
                          </p:cTn>
                        </p:par>
                        <p:par>
                          <p:cTn id="16" fill="hold">
                            <p:stCondLst>
                              <p:cond delay="450"/>
                            </p:stCondLst>
                            <p:childTnLst>
                              <p:par>
                                <p:cTn id="17" presetID="10" presetClass="entr" presetSubtype="0" fill="hold" grpId="0" nodeType="afterEffect">
                                  <p:stCondLst>
                                    <p:cond delay="0"/>
                                  </p:stCondLst>
                                  <p:childTnLst>
                                    <p:set>
                                      <p:cBhvr>
                                        <p:cTn id="18" dur="1" fill="hold">
                                          <p:stCondLst>
                                            <p:cond delay="0"/>
                                          </p:stCondLst>
                                        </p:cTn>
                                        <p:tgtEl>
                                          <p:spTgt spid="143"/>
                                        </p:tgtEl>
                                        <p:attrNameLst>
                                          <p:attrName>style.visibility</p:attrName>
                                        </p:attrNameLst>
                                      </p:cBhvr>
                                      <p:to>
                                        <p:strVal val="visible"/>
                                      </p:to>
                                    </p:set>
                                    <p:animEffect transition="in" filter="fade">
                                      <p:cBhvr>
                                        <p:cTn id="19" dur="150"/>
                                        <p:tgtEl>
                                          <p:spTgt spid="143"/>
                                        </p:tgtEl>
                                      </p:cBhvr>
                                    </p:animEffect>
                                  </p:childTnLst>
                                </p:cTn>
                              </p:par>
                            </p:childTnLst>
                          </p:cTn>
                        </p:par>
                        <p:par>
                          <p:cTn id="20" fill="hold">
                            <p:stCondLst>
                              <p:cond delay="600"/>
                            </p:stCondLst>
                            <p:childTnLst>
                              <p:par>
                                <p:cTn id="21" presetID="10" presetClass="entr" presetSubtype="0" fill="hold" grpId="0" nodeType="afterEffect">
                                  <p:stCondLst>
                                    <p:cond delay="0"/>
                                  </p:stCondLst>
                                  <p:childTnLst>
                                    <p:set>
                                      <p:cBhvr>
                                        <p:cTn id="22" dur="1" fill="hold">
                                          <p:stCondLst>
                                            <p:cond delay="0"/>
                                          </p:stCondLst>
                                        </p:cTn>
                                        <p:tgtEl>
                                          <p:spTgt spid="100"/>
                                        </p:tgtEl>
                                        <p:attrNameLst>
                                          <p:attrName>style.visibility</p:attrName>
                                        </p:attrNameLst>
                                      </p:cBhvr>
                                      <p:to>
                                        <p:strVal val="visible"/>
                                      </p:to>
                                    </p:set>
                                    <p:animEffect transition="in" filter="fade">
                                      <p:cBhvr>
                                        <p:cTn id="23" dur="150"/>
                                        <p:tgtEl>
                                          <p:spTgt spid="100"/>
                                        </p:tgtEl>
                                      </p:cBhvr>
                                    </p:animEffect>
                                  </p:childTnLst>
                                </p:cTn>
                              </p:par>
                            </p:childTnLst>
                          </p:cTn>
                        </p:par>
                        <p:par>
                          <p:cTn id="24" fill="hold">
                            <p:stCondLst>
                              <p:cond delay="750"/>
                            </p:stCondLst>
                            <p:childTnLst>
                              <p:par>
                                <p:cTn id="25" presetID="10" presetClass="entr" presetSubtype="0" fill="hold" grpId="0" nodeType="afterEffect">
                                  <p:stCondLst>
                                    <p:cond delay="0"/>
                                  </p:stCondLst>
                                  <p:childTnLst>
                                    <p:set>
                                      <p:cBhvr>
                                        <p:cTn id="26" dur="1" fill="hold">
                                          <p:stCondLst>
                                            <p:cond delay="0"/>
                                          </p:stCondLst>
                                        </p:cTn>
                                        <p:tgtEl>
                                          <p:spTgt spid="103"/>
                                        </p:tgtEl>
                                        <p:attrNameLst>
                                          <p:attrName>style.visibility</p:attrName>
                                        </p:attrNameLst>
                                      </p:cBhvr>
                                      <p:to>
                                        <p:strVal val="visible"/>
                                      </p:to>
                                    </p:set>
                                    <p:animEffect transition="in" filter="fade">
                                      <p:cBhvr>
                                        <p:cTn id="27" dur="150"/>
                                        <p:tgtEl>
                                          <p:spTgt spid="103"/>
                                        </p:tgtEl>
                                      </p:cBhvr>
                                    </p:animEffect>
                                  </p:childTnLst>
                                </p:cTn>
                              </p:par>
                            </p:childTnLst>
                          </p:cTn>
                        </p:par>
                        <p:par>
                          <p:cTn id="28" fill="hold">
                            <p:stCondLst>
                              <p:cond delay="900"/>
                            </p:stCondLst>
                            <p:childTnLst>
                              <p:par>
                                <p:cTn id="29" presetID="10" presetClass="entr" presetSubtype="0" fill="hold" grpId="0" nodeType="afterEffect">
                                  <p:stCondLst>
                                    <p:cond delay="0"/>
                                  </p:stCondLst>
                                  <p:childTnLst>
                                    <p:set>
                                      <p:cBhvr>
                                        <p:cTn id="30" dur="1" fill="hold">
                                          <p:stCondLst>
                                            <p:cond delay="0"/>
                                          </p:stCondLst>
                                        </p:cTn>
                                        <p:tgtEl>
                                          <p:spTgt spid="101"/>
                                        </p:tgtEl>
                                        <p:attrNameLst>
                                          <p:attrName>style.visibility</p:attrName>
                                        </p:attrNameLst>
                                      </p:cBhvr>
                                      <p:to>
                                        <p:strVal val="visible"/>
                                      </p:to>
                                    </p:set>
                                    <p:animEffect transition="in" filter="fade">
                                      <p:cBhvr>
                                        <p:cTn id="31" dur="150"/>
                                        <p:tgtEl>
                                          <p:spTgt spid="101"/>
                                        </p:tgtEl>
                                      </p:cBhvr>
                                    </p:animEffect>
                                  </p:childTnLst>
                                </p:cTn>
                              </p:par>
                            </p:childTnLst>
                          </p:cTn>
                        </p:par>
                        <p:par>
                          <p:cTn id="32" fill="hold">
                            <p:stCondLst>
                              <p:cond delay="1050"/>
                            </p:stCondLst>
                            <p:childTnLst>
                              <p:par>
                                <p:cTn id="33" presetID="10" presetClass="entr" presetSubtype="0" fill="hold" grpId="0" nodeType="afterEffect">
                                  <p:stCondLst>
                                    <p:cond delay="0"/>
                                  </p:stCondLst>
                                  <p:childTnLst>
                                    <p:set>
                                      <p:cBhvr>
                                        <p:cTn id="34" dur="1" fill="hold">
                                          <p:stCondLst>
                                            <p:cond delay="0"/>
                                          </p:stCondLst>
                                        </p:cTn>
                                        <p:tgtEl>
                                          <p:spTgt spid="105"/>
                                        </p:tgtEl>
                                        <p:attrNameLst>
                                          <p:attrName>style.visibility</p:attrName>
                                        </p:attrNameLst>
                                      </p:cBhvr>
                                      <p:to>
                                        <p:strVal val="visible"/>
                                      </p:to>
                                    </p:set>
                                    <p:animEffect transition="in" filter="fade">
                                      <p:cBhvr>
                                        <p:cTn id="35" dur="150"/>
                                        <p:tgtEl>
                                          <p:spTgt spid="105"/>
                                        </p:tgtEl>
                                      </p:cBhvr>
                                    </p:animEffect>
                                  </p:childTnLst>
                                </p:cTn>
                              </p:par>
                            </p:childTnLst>
                          </p:cTn>
                        </p:par>
                        <p:par>
                          <p:cTn id="36" fill="hold">
                            <p:stCondLst>
                              <p:cond delay="1200"/>
                            </p:stCondLst>
                            <p:childTnLst>
                              <p:par>
                                <p:cTn id="37" presetID="2" presetClass="entr" presetSubtype="4" fill="hold" nodeType="afterEffect">
                                  <p:stCondLst>
                                    <p:cond delay="0"/>
                                  </p:stCondLst>
                                  <p:childTnLst>
                                    <p:set>
                                      <p:cBhvr>
                                        <p:cTn id="38" dur="1" fill="hold">
                                          <p:stCondLst>
                                            <p:cond delay="0"/>
                                          </p:stCondLst>
                                        </p:cTn>
                                        <p:tgtEl>
                                          <p:spTgt spid="75"/>
                                        </p:tgtEl>
                                        <p:attrNameLst>
                                          <p:attrName>style.visibility</p:attrName>
                                        </p:attrNameLst>
                                      </p:cBhvr>
                                      <p:to>
                                        <p:strVal val="visible"/>
                                      </p:to>
                                    </p:set>
                                    <p:anim calcmode="lin" valueType="num">
                                      <p:cBhvr additive="base">
                                        <p:cTn id="39" dur="500" fill="hold"/>
                                        <p:tgtEl>
                                          <p:spTgt spid="75"/>
                                        </p:tgtEl>
                                        <p:attrNameLst>
                                          <p:attrName>ppt_x</p:attrName>
                                        </p:attrNameLst>
                                      </p:cBhvr>
                                      <p:tavLst>
                                        <p:tav tm="0">
                                          <p:val>
                                            <p:strVal val="#ppt_x"/>
                                          </p:val>
                                        </p:tav>
                                        <p:tav tm="100000">
                                          <p:val>
                                            <p:strVal val="#ppt_x"/>
                                          </p:val>
                                        </p:tav>
                                      </p:tavLst>
                                    </p:anim>
                                    <p:anim calcmode="lin" valueType="num">
                                      <p:cBhvr additive="base">
                                        <p:cTn id="40" dur="500" fill="hold"/>
                                        <p:tgtEl>
                                          <p:spTgt spid="75"/>
                                        </p:tgtEl>
                                        <p:attrNameLst>
                                          <p:attrName>ppt_y</p:attrName>
                                        </p:attrNameLst>
                                      </p:cBhvr>
                                      <p:tavLst>
                                        <p:tav tm="0">
                                          <p:val>
                                            <p:strVal val="1+#ppt_h/2"/>
                                          </p:val>
                                        </p:tav>
                                        <p:tav tm="100000">
                                          <p:val>
                                            <p:strVal val="#ppt_y"/>
                                          </p:val>
                                        </p:tav>
                                      </p:tavLst>
                                    </p:anim>
                                  </p:childTnLst>
                                </p:cTn>
                              </p:par>
                              <p:par>
                                <p:cTn id="41" presetID="2" presetClass="entr" presetSubtype="4" fill="hold" grpId="0" nodeType="withEffect">
                                  <p:stCondLst>
                                    <p:cond delay="0"/>
                                  </p:stCondLst>
                                  <p:childTnLst>
                                    <p:set>
                                      <p:cBhvr>
                                        <p:cTn id="42" dur="1" fill="hold">
                                          <p:stCondLst>
                                            <p:cond delay="0"/>
                                          </p:stCondLst>
                                        </p:cTn>
                                        <p:tgtEl>
                                          <p:spTgt spid="86"/>
                                        </p:tgtEl>
                                        <p:attrNameLst>
                                          <p:attrName>style.visibility</p:attrName>
                                        </p:attrNameLst>
                                      </p:cBhvr>
                                      <p:to>
                                        <p:strVal val="visible"/>
                                      </p:to>
                                    </p:set>
                                    <p:anim calcmode="lin" valueType="num">
                                      <p:cBhvr additive="base">
                                        <p:cTn id="43" dur="500" fill="hold"/>
                                        <p:tgtEl>
                                          <p:spTgt spid="86"/>
                                        </p:tgtEl>
                                        <p:attrNameLst>
                                          <p:attrName>ppt_x</p:attrName>
                                        </p:attrNameLst>
                                      </p:cBhvr>
                                      <p:tavLst>
                                        <p:tav tm="0">
                                          <p:val>
                                            <p:strVal val="#ppt_x"/>
                                          </p:val>
                                        </p:tav>
                                        <p:tav tm="100000">
                                          <p:val>
                                            <p:strVal val="#ppt_x"/>
                                          </p:val>
                                        </p:tav>
                                      </p:tavLst>
                                    </p:anim>
                                    <p:anim calcmode="lin" valueType="num">
                                      <p:cBhvr additive="base">
                                        <p:cTn id="44" dur="500" fill="hold"/>
                                        <p:tgtEl>
                                          <p:spTgt spid="86"/>
                                        </p:tgtEl>
                                        <p:attrNameLst>
                                          <p:attrName>ppt_y</p:attrName>
                                        </p:attrNameLst>
                                      </p:cBhvr>
                                      <p:tavLst>
                                        <p:tav tm="0">
                                          <p:val>
                                            <p:strVal val="1+#ppt_h/2"/>
                                          </p:val>
                                        </p:tav>
                                        <p:tav tm="100000">
                                          <p:val>
                                            <p:strVal val="#ppt_y"/>
                                          </p:val>
                                        </p:tav>
                                      </p:tavLst>
                                    </p:anim>
                                  </p:childTnLst>
                                </p:cTn>
                              </p:par>
                              <p:par>
                                <p:cTn id="45" presetID="10" presetClass="entr" presetSubtype="0" fill="hold" grpId="0" nodeType="withEffect">
                                  <p:stCondLst>
                                    <p:cond delay="0"/>
                                  </p:stCondLst>
                                  <p:childTnLst>
                                    <p:set>
                                      <p:cBhvr>
                                        <p:cTn id="46" dur="1" fill="hold">
                                          <p:stCondLst>
                                            <p:cond delay="0"/>
                                          </p:stCondLst>
                                        </p:cTn>
                                        <p:tgtEl>
                                          <p:spTgt spid="87"/>
                                        </p:tgtEl>
                                        <p:attrNameLst>
                                          <p:attrName>style.visibility</p:attrName>
                                        </p:attrNameLst>
                                      </p:cBhvr>
                                      <p:to>
                                        <p:strVal val="visible"/>
                                      </p:to>
                                    </p:set>
                                    <p:animEffect transition="in" filter="fade">
                                      <p:cBhvr>
                                        <p:cTn id="47" dur="500"/>
                                        <p:tgtEl>
                                          <p:spTgt spid="87"/>
                                        </p:tgtEl>
                                      </p:cBhvr>
                                    </p:animEffect>
                                  </p:childTnLst>
                                </p:cTn>
                              </p:par>
                              <p:par>
                                <p:cTn id="48" presetID="10" presetClass="entr" presetSubtype="0" fill="hold" grpId="0" nodeType="withEffect">
                                  <p:stCondLst>
                                    <p:cond delay="0"/>
                                  </p:stCondLst>
                                  <p:childTnLst>
                                    <p:set>
                                      <p:cBhvr>
                                        <p:cTn id="49" dur="1" fill="hold">
                                          <p:stCondLst>
                                            <p:cond delay="0"/>
                                          </p:stCondLst>
                                        </p:cTn>
                                        <p:tgtEl>
                                          <p:spTgt spid="88"/>
                                        </p:tgtEl>
                                        <p:attrNameLst>
                                          <p:attrName>style.visibility</p:attrName>
                                        </p:attrNameLst>
                                      </p:cBhvr>
                                      <p:to>
                                        <p:strVal val="visible"/>
                                      </p:to>
                                    </p:set>
                                    <p:animEffect transition="in" filter="fade">
                                      <p:cBhvr>
                                        <p:cTn id="50" dur="500"/>
                                        <p:tgtEl>
                                          <p:spTgt spid="88"/>
                                        </p:tgtEl>
                                      </p:cBhvr>
                                    </p:animEffect>
                                  </p:childTnLst>
                                </p:cTn>
                              </p:par>
                              <p:par>
                                <p:cTn id="51" presetID="10" presetClass="entr" presetSubtype="0" fill="hold" grpId="0" nodeType="withEffect">
                                  <p:stCondLst>
                                    <p:cond delay="0"/>
                                  </p:stCondLst>
                                  <p:childTnLst>
                                    <p:set>
                                      <p:cBhvr>
                                        <p:cTn id="52" dur="1" fill="hold">
                                          <p:stCondLst>
                                            <p:cond delay="0"/>
                                          </p:stCondLst>
                                        </p:cTn>
                                        <p:tgtEl>
                                          <p:spTgt spid="89"/>
                                        </p:tgtEl>
                                        <p:attrNameLst>
                                          <p:attrName>style.visibility</p:attrName>
                                        </p:attrNameLst>
                                      </p:cBhvr>
                                      <p:to>
                                        <p:strVal val="visible"/>
                                      </p:to>
                                    </p:set>
                                    <p:animEffect transition="in" filter="fade">
                                      <p:cBhvr>
                                        <p:cTn id="53" dur="500"/>
                                        <p:tgtEl>
                                          <p:spTgt spid="89"/>
                                        </p:tgtEl>
                                      </p:cBhvr>
                                    </p:animEffect>
                                  </p:childTnLst>
                                </p:cTn>
                              </p:par>
                            </p:childTnLst>
                          </p:cTn>
                        </p:par>
                      </p:childTnLst>
                    </p:cTn>
                  </p:par>
                  <p:par>
                    <p:cTn id="54" fill="hold">
                      <p:stCondLst>
                        <p:cond delay="indefinite"/>
                      </p:stCondLst>
                      <p:childTnLst>
                        <p:par>
                          <p:cTn id="55" fill="hold">
                            <p:stCondLst>
                              <p:cond delay="0"/>
                            </p:stCondLst>
                            <p:childTnLst>
                              <p:par>
                                <p:cTn id="56" presetID="22" presetClass="entr" presetSubtype="8" fill="hold" nodeType="clickEffect">
                                  <p:stCondLst>
                                    <p:cond delay="0"/>
                                  </p:stCondLst>
                                  <p:childTnLst>
                                    <p:set>
                                      <p:cBhvr>
                                        <p:cTn id="57" dur="1" fill="hold">
                                          <p:stCondLst>
                                            <p:cond delay="0"/>
                                          </p:stCondLst>
                                        </p:cTn>
                                        <p:tgtEl>
                                          <p:spTgt spid="61"/>
                                        </p:tgtEl>
                                        <p:attrNameLst>
                                          <p:attrName>style.visibility</p:attrName>
                                        </p:attrNameLst>
                                      </p:cBhvr>
                                      <p:to>
                                        <p:strVal val="visible"/>
                                      </p:to>
                                    </p:set>
                                    <p:animEffect transition="in" filter="wipe(left)">
                                      <p:cBhvr>
                                        <p:cTn id="58" dur="500"/>
                                        <p:tgtEl>
                                          <p:spTgt spid="61"/>
                                        </p:tgtEl>
                                      </p:cBhvr>
                                    </p:animEffect>
                                  </p:childTnLst>
                                </p:cTn>
                              </p:par>
                            </p:childTnLst>
                          </p:cTn>
                        </p:par>
                        <p:par>
                          <p:cTn id="59" fill="hold">
                            <p:stCondLst>
                              <p:cond delay="500"/>
                            </p:stCondLst>
                            <p:childTnLst>
                              <p:par>
                                <p:cTn id="60" presetID="10" presetClass="entr" presetSubtype="0" fill="hold" grpId="0" nodeType="afterEffect">
                                  <p:stCondLst>
                                    <p:cond delay="0"/>
                                  </p:stCondLst>
                                  <p:childTnLst>
                                    <p:set>
                                      <p:cBhvr>
                                        <p:cTn id="61" dur="1" fill="hold">
                                          <p:stCondLst>
                                            <p:cond delay="0"/>
                                          </p:stCondLst>
                                        </p:cTn>
                                        <p:tgtEl>
                                          <p:spTgt spid="70"/>
                                        </p:tgtEl>
                                        <p:attrNameLst>
                                          <p:attrName>style.visibility</p:attrName>
                                        </p:attrNameLst>
                                      </p:cBhvr>
                                      <p:to>
                                        <p:strVal val="visible"/>
                                      </p:to>
                                    </p:set>
                                    <p:animEffect transition="in" filter="fade">
                                      <p:cBhvr>
                                        <p:cTn id="62" dur="500"/>
                                        <p:tgtEl>
                                          <p:spTgt spid="70"/>
                                        </p:tgtEl>
                                      </p:cBhvr>
                                    </p:animEffect>
                                  </p:childTnLst>
                                </p:cTn>
                              </p:par>
                            </p:childTnLst>
                          </p:cTn>
                        </p:par>
                        <p:par>
                          <p:cTn id="63" fill="hold">
                            <p:stCondLst>
                              <p:cond delay="1000"/>
                            </p:stCondLst>
                            <p:childTnLst>
                              <p:par>
                                <p:cTn id="64" presetID="10" presetClass="entr" presetSubtype="0" fill="hold" grpId="0" nodeType="afterEffect">
                                  <p:stCondLst>
                                    <p:cond delay="0"/>
                                  </p:stCondLst>
                                  <p:childTnLst>
                                    <p:set>
                                      <p:cBhvr>
                                        <p:cTn id="65" dur="1" fill="hold">
                                          <p:stCondLst>
                                            <p:cond delay="0"/>
                                          </p:stCondLst>
                                        </p:cTn>
                                        <p:tgtEl>
                                          <p:spTgt spid="71"/>
                                        </p:tgtEl>
                                        <p:attrNameLst>
                                          <p:attrName>style.visibility</p:attrName>
                                        </p:attrNameLst>
                                      </p:cBhvr>
                                      <p:to>
                                        <p:strVal val="visible"/>
                                      </p:to>
                                    </p:set>
                                    <p:animEffect transition="in" filter="fade">
                                      <p:cBhvr>
                                        <p:cTn id="66" dur="500"/>
                                        <p:tgtEl>
                                          <p:spTgt spid="71"/>
                                        </p:tgtEl>
                                      </p:cBhvr>
                                    </p:animEffect>
                                  </p:childTnLst>
                                </p:cTn>
                              </p:par>
                            </p:childTnLst>
                          </p:cTn>
                        </p:par>
                        <p:par>
                          <p:cTn id="67" fill="hold">
                            <p:stCondLst>
                              <p:cond delay="1500"/>
                            </p:stCondLst>
                            <p:childTnLst>
                              <p:par>
                                <p:cTn id="68" presetID="10" presetClass="entr" presetSubtype="0" fill="hold" grpId="0" nodeType="afterEffect">
                                  <p:stCondLst>
                                    <p:cond delay="0"/>
                                  </p:stCondLst>
                                  <p:childTnLst>
                                    <p:set>
                                      <p:cBhvr>
                                        <p:cTn id="69" dur="1" fill="hold">
                                          <p:stCondLst>
                                            <p:cond delay="0"/>
                                          </p:stCondLst>
                                        </p:cTn>
                                        <p:tgtEl>
                                          <p:spTgt spid="72"/>
                                        </p:tgtEl>
                                        <p:attrNameLst>
                                          <p:attrName>style.visibility</p:attrName>
                                        </p:attrNameLst>
                                      </p:cBhvr>
                                      <p:to>
                                        <p:strVal val="visible"/>
                                      </p:to>
                                    </p:set>
                                    <p:animEffect transition="in" filter="fade">
                                      <p:cBhvr>
                                        <p:cTn id="70" dur="500"/>
                                        <p:tgtEl>
                                          <p:spTgt spid="72"/>
                                        </p:tgtEl>
                                      </p:cBhvr>
                                    </p:animEffect>
                                  </p:childTnLst>
                                </p:cTn>
                              </p:par>
                            </p:childTnLst>
                          </p:cTn>
                        </p:par>
                        <p:par>
                          <p:cTn id="71" fill="hold">
                            <p:stCondLst>
                              <p:cond delay="2000"/>
                            </p:stCondLst>
                            <p:childTnLst>
                              <p:par>
                                <p:cTn id="72" presetID="10" presetClass="entr" presetSubtype="0" fill="hold" grpId="0" nodeType="afterEffect">
                                  <p:stCondLst>
                                    <p:cond delay="0"/>
                                  </p:stCondLst>
                                  <p:childTnLst>
                                    <p:set>
                                      <p:cBhvr>
                                        <p:cTn id="73" dur="1" fill="hold">
                                          <p:stCondLst>
                                            <p:cond delay="0"/>
                                          </p:stCondLst>
                                        </p:cTn>
                                        <p:tgtEl>
                                          <p:spTgt spid="73"/>
                                        </p:tgtEl>
                                        <p:attrNameLst>
                                          <p:attrName>style.visibility</p:attrName>
                                        </p:attrNameLst>
                                      </p:cBhvr>
                                      <p:to>
                                        <p:strVal val="visible"/>
                                      </p:to>
                                    </p:set>
                                    <p:animEffect transition="in" filter="fade">
                                      <p:cBhvr>
                                        <p:cTn id="74" dur="500"/>
                                        <p:tgtEl>
                                          <p:spTgt spid="73"/>
                                        </p:tgtEl>
                                      </p:cBhvr>
                                    </p:animEffect>
                                  </p:childTnLst>
                                </p:cTn>
                              </p:par>
                              <p:par>
                                <p:cTn id="75" presetID="10" presetClass="entr" presetSubtype="0" fill="hold" grpId="0" nodeType="withEffect">
                                  <p:stCondLst>
                                    <p:cond delay="0"/>
                                  </p:stCondLst>
                                  <p:childTnLst>
                                    <p:set>
                                      <p:cBhvr>
                                        <p:cTn id="76" dur="1" fill="hold">
                                          <p:stCondLst>
                                            <p:cond delay="0"/>
                                          </p:stCondLst>
                                        </p:cTn>
                                        <p:tgtEl>
                                          <p:spTgt spid="166"/>
                                        </p:tgtEl>
                                        <p:attrNameLst>
                                          <p:attrName>style.visibility</p:attrName>
                                        </p:attrNameLst>
                                      </p:cBhvr>
                                      <p:to>
                                        <p:strVal val="visible"/>
                                      </p:to>
                                    </p:set>
                                    <p:animEffect transition="in" filter="fade">
                                      <p:cBhvr>
                                        <p:cTn id="77" dur="500"/>
                                        <p:tgtEl>
                                          <p:spTgt spid="16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0" grpId="0" animBg="1"/>
      <p:bldP spid="71" grpId="0" animBg="1"/>
      <p:bldP spid="72" grpId="0" animBg="1"/>
      <p:bldP spid="73" grpId="0" animBg="1"/>
      <p:bldP spid="86" grpId="0"/>
      <p:bldP spid="87" grpId="0"/>
      <p:bldP spid="88" grpId="0"/>
      <p:bldP spid="89" grpId="0"/>
      <p:bldP spid="90" grpId="0"/>
      <p:bldP spid="100" grpId="0"/>
      <p:bldP spid="101" grpId="0"/>
      <p:bldP spid="103" grpId="0"/>
      <p:bldP spid="96" grpId="0"/>
      <p:bldP spid="97" grpId="0"/>
      <p:bldP spid="105" grpId="0"/>
      <p:bldP spid="143" grpId="0"/>
      <p:bldP spid="166" grpId="0"/>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5" name="Freeform 5">
            <a:extLst>
              <a:ext uri="{FF2B5EF4-FFF2-40B4-BE49-F238E27FC236}">
                <a16:creationId xmlns:a16="http://schemas.microsoft.com/office/drawing/2014/main" id="{5A2F1178-3941-49F3-9132-704D8A9E0D71}"/>
              </a:ext>
            </a:extLst>
          </p:cNvPr>
          <p:cNvSpPr>
            <a:spLocks noEditPoints="1"/>
          </p:cNvSpPr>
          <p:nvPr/>
        </p:nvSpPr>
        <p:spPr bwMode="auto">
          <a:xfrm>
            <a:off x="7108144" y="714479"/>
            <a:ext cx="1429274" cy="1426895"/>
          </a:xfrm>
          <a:custGeom>
            <a:avLst/>
            <a:gdLst>
              <a:gd name="T0" fmla="*/ 885 w 885"/>
              <a:gd name="T1" fmla="*/ 521 h 885"/>
              <a:gd name="T2" fmla="*/ 885 w 885"/>
              <a:gd name="T3" fmla="*/ 374 h 885"/>
              <a:gd name="T4" fmla="*/ 761 w 885"/>
              <a:gd name="T5" fmla="*/ 358 h 885"/>
              <a:gd name="T6" fmla="*/ 733 w 885"/>
              <a:gd name="T7" fmla="*/ 287 h 885"/>
              <a:gd name="T8" fmla="*/ 810 w 885"/>
              <a:gd name="T9" fmla="*/ 187 h 885"/>
              <a:gd name="T10" fmla="*/ 706 w 885"/>
              <a:gd name="T11" fmla="*/ 83 h 885"/>
              <a:gd name="T12" fmla="*/ 609 w 885"/>
              <a:gd name="T13" fmla="*/ 157 h 885"/>
              <a:gd name="T14" fmla="*/ 531 w 885"/>
              <a:gd name="T15" fmla="*/ 124 h 885"/>
              <a:gd name="T16" fmla="*/ 515 w 885"/>
              <a:gd name="T17" fmla="*/ 0 h 885"/>
              <a:gd name="T18" fmla="*/ 368 w 885"/>
              <a:gd name="T19" fmla="*/ 0 h 885"/>
              <a:gd name="T20" fmla="*/ 351 w 885"/>
              <a:gd name="T21" fmla="*/ 124 h 885"/>
              <a:gd name="T22" fmla="*/ 277 w 885"/>
              <a:gd name="T23" fmla="*/ 155 h 885"/>
              <a:gd name="T24" fmla="*/ 180 w 885"/>
              <a:gd name="T25" fmla="*/ 80 h 885"/>
              <a:gd name="T26" fmla="*/ 76 w 885"/>
              <a:gd name="T27" fmla="*/ 184 h 885"/>
              <a:gd name="T28" fmla="*/ 151 w 885"/>
              <a:gd name="T29" fmla="*/ 283 h 885"/>
              <a:gd name="T30" fmla="*/ 121 w 885"/>
              <a:gd name="T31" fmla="*/ 358 h 885"/>
              <a:gd name="T32" fmla="*/ 0 w 885"/>
              <a:gd name="T33" fmla="*/ 374 h 885"/>
              <a:gd name="T34" fmla="*/ 0 w 885"/>
              <a:gd name="T35" fmla="*/ 521 h 885"/>
              <a:gd name="T36" fmla="*/ 124 w 885"/>
              <a:gd name="T37" fmla="*/ 538 h 885"/>
              <a:gd name="T38" fmla="*/ 156 w 885"/>
              <a:gd name="T39" fmla="*/ 610 h 885"/>
              <a:gd name="T40" fmla="*/ 80 w 885"/>
              <a:gd name="T41" fmla="*/ 709 h 885"/>
              <a:gd name="T42" fmla="*/ 184 w 885"/>
              <a:gd name="T43" fmla="*/ 813 h 885"/>
              <a:gd name="T44" fmla="*/ 286 w 885"/>
              <a:gd name="T45" fmla="*/ 735 h 885"/>
              <a:gd name="T46" fmla="*/ 351 w 885"/>
              <a:gd name="T47" fmla="*/ 761 h 885"/>
              <a:gd name="T48" fmla="*/ 368 w 885"/>
              <a:gd name="T49" fmla="*/ 885 h 885"/>
              <a:gd name="T50" fmla="*/ 515 w 885"/>
              <a:gd name="T51" fmla="*/ 885 h 885"/>
              <a:gd name="T52" fmla="*/ 531 w 885"/>
              <a:gd name="T53" fmla="*/ 761 h 885"/>
              <a:gd name="T54" fmla="*/ 600 w 885"/>
              <a:gd name="T55" fmla="*/ 733 h 885"/>
              <a:gd name="T56" fmla="*/ 702 w 885"/>
              <a:gd name="T57" fmla="*/ 810 h 885"/>
              <a:gd name="T58" fmla="*/ 806 w 885"/>
              <a:gd name="T59" fmla="*/ 706 h 885"/>
              <a:gd name="T60" fmla="*/ 729 w 885"/>
              <a:gd name="T61" fmla="*/ 606 h 885"/>
              <a:gd name="T62" fmla="*/ 758 w 885"/>
              <a:gd name="T63" fmla="*/ 538 h 885"/>
              <a:gd name="T64" fmla="*/ 885 w 885"/>
              <a:gd name="T65" fmla="*/ 521 h 885"/>
              <a:gd name="T66" fmla="*/ 441 w 885"/>
              <a:gd name="T67" fmla="*/ 674 h 885"/>
              <a:gd name="T68" fmla="*/ 210 w 885"/>
              <a:gd name="T69" fmla="*/ 443 h 885"/>
              <a:gd name="T70" fmla="*/ 441 w 885"/>
              <a:gd name="T71" fmla="*/ 211 h 885"/>
              <a:gd name="T72" fmla="*/ 673 w 885"/>
              <a:gd name="T73" fmla="*/ 443 h 885"/>
              <a:gd name="T74" fmla="*/ 441 w 885"/>
              <a:gd name="T75" fmla="*/ 674 h 8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85" h="885">
                <a:moveTo>
                  <a:pt x="885" y="521"/>
                </a:moveTo>
                <a:cubicBezTo>
                  <a:pt x="885" y="374"/>
                  <a:pt x="885" y="374"/>
                  <a:pt x="885" y="374"/>
                </a:cubicBezTo>
                <a:cubicBezTo>
                  <a:pt x="761" y="358"/>
                  <a:pt x="761" y="358"/>
                  <a:pt x="761" y="358"/>
                </a:cubicBezTo>
                <a:cubicBezTo>
                  <a:pt x="755" y="333"/>
                  <a:pt x="745" y="309"/>
                  <a:pt x="733" y="287"/>
                </a:cubicBezTo>
                <a:cubicBezTo>
                  <a:pt x="810" y="187"/>
                  <a:pt x="810" y="187"/>
                  <a:pt x="810" y="187"/>
                </a:cubicBezTo>
                <a:cubicBezTo>
                  <a:pt x="706" y="83"/>
                  <a:pt x="706" y="83"/>
                  <a:pt x="706" y="83"/>
                </a:cubicBezTo>
                <a:cubicBezTo>
                  <a:pt x="609" y="157"/>
                  <a:pt x="609" y="157"/>
                  <a:pt x="609" y="157"/>
                </a:cubicBezTo>
                <a:cubicBezTo>
                  <a:pt x="585" y="143"/>
                  <a:pt x="559" y="132"/>
                  <a:pt x="531" y="124"/>
                </a:cubicBezTo>
                <a:cubicBezTo>
                  <a:pt x="515" y="0"/>
                  <a:pt x="515" y="0"/>
                  <a:pt x="515" y="0"/>
                </a:cubicBezTo>
                <a:cubicBezTo>
                  <a:pt x="368" y="0"/>
                  <a:pt x="368" y="0"/>
                  <a:pt x="368" y="0"/>
                </a:cubicBezTo>
                <a:cubicBezTo>
                  <a:pt x="351" y="124"/>
                  <a:pt x="351" y="124"/>
                  <a:pt x="351" y="124"/>
                </a:cubicBezTo>
                <a:cubicBezTo>
                  <a:pt x="325" y="131"/>
                  <a:pt x="300" y="142"/>
                  <a:pt x="277" y="155"/>
                </a:cubicBezTo>
                <a:cubicBezTo>
                  <a:pt x="180" y="80"/>
                  <a:pt x="180" y="80"/>
                  <a:pt x="180" y="80"/>
                </a:cubicBezTo>
                <a:cubicBezTo>
                  <a:pt x="76" y="184"/>
                  <a:pt x="76" y="184"/>
                  <a:pt x="76" y="184"/>
                </a:cubicBezTo>
                <a:cubicBezTo>
                  <a:pt x="151" y="283"/>
                  <a:pt x="151" y="283"/>
                  <a:pt x="151" y="283"/>
                </a:cubicBezTo>
                <a:cubicBezTo>
                  <a:pt x="138" y="306"/>
                  <a:pt x="128" y="332"/>
                  <a:pt x="121" y="358"/>
                </a:cubicBezTo>
                <a:cubicBezTo>
                  <a:pt x="0" y="374"/>
                  <a:pt x="0" y="374"/>
                  <a:pt x="0" y="374"/>
                </a:cubicBezTo>
                <a:cubicBezTo>
                  <a:pt x="0" y="521"/>
                  <a:pt x="0" y="521"/>
                  <a:pt x="0" y="521"/>
                </a:cubicBezTo>
                <a:cubicBezTo>
                  <a:pt x="124" y="538"/>
                  <a:pt x="124" y="538"/>
                  <a:pt x="124" y="538"/>
                </a:cubicBezTo>
                <a:cubicBezTo>
                  <a:pt x="132" y="563"/>
                  <a:pt x="143" y="588"/>
                  <a:pt x="156" y="610"/>
                </a:cubicBezTo>
                <a:cubicBezTo>
                  <a:pt x="80" y="709"/>
                  <a:pt x="80" y="709"/>
                  <a:pt x="80" y="709"/>
                </a:cubicBezTo>
                <a:cubicBezTo>
                  <a:pt x="184" y="813"/>
                  <a:pt x="184" y="813"/>
                  <a:pt x="184" y="813"/>
                </a:cubicBezTo>
                <a:cubicBezTo>
                  <a:pt x="286" y="735"/>
                  <a:pt x="286" y="735"/>
                  <a:pt x="286" y="735"/>
                </a:cubicBezTo>
                <a:cubicBezTo>
                  <a:pt x="307" y="746"/>
                  <a:pt x="329" y="755"/>
                  <a:pt x="351" y="761"/>
                </a:cubicBezTo>
                <a:cubicBezTo>
                  <a:pt x="368" y="885"/>
                  <a:pt x="368" y="885"/>
                  <a:pt x="368" y="885"/>
                </a:cubicBezTo>
                <a:cubicBezTo>
                  <a:pt x="515" y="885"/>
                  <a:pt x="515" y="885"/>
                  <a:pt x="515" y="885"/>
                </a:cubicBezTo>
                <a:cubicBezTo>
                  <a:pt x="531" y="761"/>
                  <a:pt x="531" y="761"/>
                  <a:pt x="531" y="761"/>
                </a:cubicBezTo>
                <a:cubicBezTo>
                  <a:pt x="556" y="754"/>
                  <a:pt x="579" y="745"/>
                  <a:pt x="600" y="733"/>
                </a:cubicBezTo>
                <a:cubicBezTo>
                  <a:pt x="702" y="810"/>
                  <a:pt x="702" y="810"/>
                  <a:pt x="702" y="810"/>
                </a:cubicBezTo>
                <a:cubicBezTo>
                  <a:pt x="806" y="706"/>
                  <a:pt x="806" y="706"/>
                  <a:pt x="806" y="706"/>
                </a:cubicBezTo>
                <a:cubicBezTo>
                  <a:pt x="729" y="606"/>
                  <a:pt x="729" y="606"/>
                  <a:pt x="729" y="606"/>
                </a:cubicBezTo>
                <a:cubicBezTo>
                  <a:pt x="741" y="585"/>
                  <a:pt x="751" y="562"/>
                  <a:pt x="758" y="538"/>
                </a:cubicBezTo>
                <a:lnTo>
                  <a:pt x="885" y="521"/>
                </a:lnTo>
                <a:close/>
                <a:moveTo>
                  <a:pt x="441" y="674"/>
                </a:moveTo>
                <a:cubicBezTo>
                  <a:pt x="313" y="674"/>
                  <a:pt x="210" y="570"/>
                  <a:pt x="210" y="443"/>
                </a:cubicBezTo>
                <a:cubicBezTo>
                  <a:pt x="210" y="315"/>
                  <a:pt x="313" y="211"/>
                  <a:pt x="441" y="211"/>
                </a:cubicBezTo>
                <a:cubicBezTo>
                  <a:pt x="569" y="211"/>
                  <a:pt x="673" y="315"/>
                  <a:pt x="673" y="443"/>
                </a:cubicBezTo>
                <a:cubicBezTo>
                  <a:pt x="673" y="570"/>
                  <a:pt x="569" y="674"/>
                  <a:pt x="441" y="674"/>
                </a:cubicBezTo>
                <a:close/>
              </a:path>
            </a:pathLst>
          </a:custGeom>
          <a:noFill/>
          <a:ln w="15875" cap="flat">
            <a:solidFill>
              <a:schemeClr val="bg1">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8570" tIns="34285" rIns="68570" bIns="34285" numCol="1" anchor="t" anchorCtr="0" compatLnSpc="1">
            <a:prstTxWarp prst="textNoShape">
              <a:avLst/>
            </a:prstTxWarp>
          </a:bodyPr>
          <a:lstStyle/>
          <a:p>
            <a:pPr defTabSz="685669">
              <a:defRPr/>
            </a:pPr>
            <a:endParaRPr lang="en-IN" sz="1350">
              <a:solidFill>
                <a:srgbClr val="3C3C41"/>
              </a:solidFill>
              <a:latin typeface="Segoe UI"/>
            </a:endParaRPr>
          </a:p>
        </p:txBody>
      </p:sp>
      <p:sp>
        <p:nvSpPr>
          <p:cNvPr id="276" name="TextBox 275">
            <a:extLst>
              <a:ext uri="{FF2B5EF4-FFF2-40B4-BE49-F238E27FC236}">
                <a16:creationId xmlns:a16="http://schemas.microsoft.com/office/drawing/2014/main" id="{ECEEB870-159C-4937-B550-026C3EDF0029}"/>
              </a:ext>
            </a:extLst>
          </p:cNvPr>
          <p:cNvSpPr txBox="1"/>
          <p:nvPr/>
        </p:nvSpPr>
        <p:spPr>
          <a:xfrm rot="16200000">
            <a:off x="-419733" y="1568035"/>
            <a:ext cx="3269696" cy="1990046"/>
          </a:xfrm>
          <a:custGeom>
            <a:avLst/>
            <a:gdLst>
              <a:gd name="connsiteX0" fmla="*/ 0 w 4183140"/>
              <a:gd name="connsiteY0" fmla="*/ 0 h 2237212"/>
              <a:gd name="connsiteX1" fmla="*/ 4183140 w 4183140"/>
              <a:gd name="connsiteY1" fmla="*/ 0 h 2237212"/>
              <a:gd name="connsiteX2" fmla="*/ 4183140 w 4183140"/>
              <a:gd name="connsiteY2" fmla="*/ 2237212 h 2237212"/>
              <a:gd name="connsiteX3" fmla="*/ 0 w 4183140"/>
              <a:gd name="connsiteY3" fmla="*/ 2237212 h 2237212"/>
              <a:gd name="connsiteX4" fmla="*/ 0 w 4183140"/>
              <a:gd name="connsiteY4" fmla="*/ 0 h 2237212"/>
              <a:gd name="connsiteX0" fmla="*/ 0 w 4183140"/>
              <a:gd name="connsiteY0" fmla="*/ 0 h 2237212"/>
              <a:gd name="connsiteX1" fmla="*/ 4183140 w 4183140"/>
              <a:gd name="connsiteY1" fmla="*/ 0 h 2237212"/>
              <a:gd name="connsiteX2" fmla="*/ 4183140 w 4183140"/>
              <a:gd name="connsiteY2" fmla="*/ 2237212 h 2237212"/>
              <a:gd name="connsiteX3" fmla="*/ 2183714 w 4183140"/>
              <a:gd name="connsiteY3" fmla="*/ 2233754 h 2237212"/>
              <a:gd name="connsiteX4" fmla="*/ 0 w 4183140"/>
              <a:gd name="connsiteY4" fmla="*/ 2237212 h 2237212"/>
              <a:gd name="connsiteX5" fmla="*/ 0 w 4183140"/>
              <a:gd name="connsiteY5" fmla="*/ 0 h 2237212"/>
              <a:gd name="connsiteX0" fmla="*/ 0 w 4183140"/>
              <a:gd name="connsiteY0" fmla="*/ 0 h 2808789"/>
              <a:gd name="connsiteX1" fmla="*/ 4183140 w 4183140"/>
              <a:gd name="connsiteY1" fmla="*/ 0 h 2808789"/>
              <a:gd name="connsiteX2" fmla="*/ 4183140 w 4183140"/>
              <a:gd name="connsiteY2" fmla="*/ 2237212 h 2808789"/>
              <a:gd name="connsiteX3" fmla="*/ 2136580 w 4183140"/>
              <a:gd name="connsiteY3" fmla="*/ 2808789 h 2808789"/>
              <a:gd name="connsiteX4" fmla="*/ 0 w 4183140"/>
              <a:gd name="connsiteY4" fmla="*/ 2237212 h 2808789"/>
              <a:gd name="connsiteX5" fmla="*/ 0 w 4183140"/>
              <a:gd name="connsiteY5" fmla="*/ 0 h 28087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83140" h="2808789">
                <a:moveTo>
                  <a:pt x="0" y="0"/>
                </a:moveTo>
                <a:lnTo>
                  <a:pt x="4183140" y="0"/>
                </a:lnTo>
                <a:lnTo>
                  <a:pt x="4183140" y="2237212"/>
                </a:lnTo>
                <a:lnTo>
                  <a:pt x="2136580" y="2808789"/>
                </a:lnTo>
                <a:lnTo>
                  <a:pt x="0" y="2237212"/>
                </a:lnTo>
                <a:lnTo>
                  <a:pt x="0" y="0"/>
                </a:lnTo>
                <a:close/>
              </a:path>
            </a:pathLst>
          </a:custGeom>
          <a:noFill/>
          <a:ln>
            <a:solidFill>
              <a:schemeClr val="bg1">
                <a:lumMod val="75000"/>
              </a:schemeClr>
            </a:solidFill>
          </a:ln>
        </p:spPr>
        <p:txBody>
          <a:bodyPr wrap="none" lIns="20571" tIns="68570" rIns="20571" bIns="20571" rtlCol="0" anchor="t">
            <a:noAutofit/>
          </a:bodyPr>
          <a:lstStyle/>
          <a:p>
            <a:pPr algn="ctr" defTabSz="685175">
              <a:lnSpc>
                <a:spcPct val="90000"/>
              </a:lnSpc>
              <a:spcBef>
                <a:spcPct val="0"/>
              </a:spcBef>
              <a:spcAft>
                <a:spcPts val="441"/>
              </a:spcAft>
              <a:defRPr/>
            </a:pPr>
            <a:endParaRPr lang="en-US" sz="1350" kern="0" spc="225">
              <a:solidFill>
                <a:srgbClr val="3C3C41"/>
              </a:solidFill>
              <a:latin typeface="Segoe UI" panose="020B0502040204020203" pitchFamily="34" charset="0"/>
              <a:cs typeface="Segoe UI" panose="020B0502040204020203" pitchFamily="34" charset="0"/>
            </a:endParaRPr>
          </a:p>
        </p:txBody>
      </p:sp>
      <p:grpSp>
        <p:nvGrpSpPr>
          <p:cNvPr id="17" name="Group 16">
            <a:extLst>
              <a:ext uri="{FF2B5EF4-FFF2-40B4-BE49-F238E27FC236}">
                <a16:creationId xmlns:a16="http://schemas.microsoft.com/office/drawing/2014/main" id="{691884BA-E8BC-4026-B2E9-009D083E0A6A}"/>
              </a:ext>
            </a:extLst>
          </p:cNvPr>
          <p:cNvGrpSpPr/>
          <p:nvPr/>
        </p:nvGrpSpPr>
        <p:grpSpPr>
          <a:xfrm>
            <a:off x="5743929" y="1895841"/>
            <a:ext cx="506614" cy="667394"/>
            <a:chOff x="7987680" y="1982881"/>
            <a:chExt cx="629890" cy="889984"/>
          </a:xfrm>
        </p:grpSpPr>
        <p:grpSp>
          <p:nvGrpSpPr>
            <p:cNvPr id="18" name="Analytics">
              <a:extLst>
                <a:ext uri="{FF2B5EF4-FFF2-40B4-BE49-F238E27FC236}">
                  <a16:creationId xmlns:a16="http://schemas.microsoft.com/office/drawing/2014/main" id="{745FCD94-51C0-45D7-8AC8-DF2CFA4C1D6E}"/>
                </a:ext>
              </a:extLst>
            </p:cNvPr>
            <p:cNvGrpSpPr/>
            <p:nvPr/>
          </p:nvGrpSpPr>
          <p:grpSpPr>
            <a:xfrm>
              <a:off x="7987680" y="2239652"/>
              <a:ext cx="629890" cy="633213"/>
              <a:chOff x="5451031" y="1624151"/>
              <a:chExt cx="541457" cy="504298"/>
            </a:xfrm>
          </p:grpSpPr>
          <p:sp>
            <p:nvSpPr>
              <p:cNvPr id="20" name="Freeform 966">
                <a:extLst>
                  <a:ext uri="{FF2B5EF4-FFF2-40B4-BE49-F238E27FC236}">
                    <a16:creationId xmlns:a16="http://schemas.microsoft.com/office/drawing/2014/main" id="{560FE9CB-EBBF-4A84-A460-850779ECA29F}"/>
                  </a:ext>
                </a:extLst>
              </p:cNvPr>
              <p:cNvSpPr>
                <a:spLocks/>
              </p:cNvSpPr>
              <p:nvPr/>
            </p:nvSpPr>
            <p:spPr bwMode="auto">
              <a:xfrm>
                <a:off x="5589049" y="1756862"/>
                <a:ext cx="355663" cy="238878"/>
              </a:xfrm>
              <a:custGeom>
                <a:avLst/>
                <a:gdLst>
                  <a:gd name="T0" fmla="*/ 44 w 84"/>
                  <a:gd name="T1" fmla="*/ 50 h 56"/>
                  <a:gd name="T2" fmla="*/ 74 w 84"/>
                  <a:gd name="T3" fmla="*/ 20 h 56"/>
                  <a:gd name="T4" fmla="*/ 84 w 84"/>
                  <a:gd name="T5" fmla="*/ 22 h 56"/>
                  <a:gd name="T6" fmla="*/ 84 w 84"/>
                  <a:gd name="T7" fmla="*/ 0 h 56"/>
                  <a:gd name="T8" fmla="*/ 0 w 84"/>
                  <a:gd name="T9" fmla="*/ 0 h 56"/>
                  <a:gd name="T10" fmla="*/ 0 w 84"/>
                  <a:gd name="T11" fmla="*/ 56 h 56"/>
                  <a:gd name="T12" fmla="*/ 45 w 84"/>
                  <a:gd name="T13" fmla="*/ 56 h 56"/>
                  <a:gd name="T14" fmla="*/ 44 w 84"/>
                  <a:gd name="T15" fmla="*/ 50 h 5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4" h="56">
                    <a:moveTo>
                      <a:pt x="44" y="50"/>
                    </a:moveTo>
                    <a:cubicBezTo>
                      <a:pt x="44" y="34"/>
                      <a:pt x="57" y="20"/>
                      <a:pt x="74" y="20"/>
                    </a:cubicBezTo>
                    <a:cubicBezTo>
                      <a:pt x="78" y="20"/>
                      <a:pt x="81" y="21"/>
                      <a:pt x="84" y="22"/>
                    </a:cubicBezTo>
                    <a:cubicBezTo>
                      <a:pt x="84" y="0"/>
                      <a:pt x="84" y="0"/>
                      <a:pt x="84" y="0"/>
                    </a:cubicBezTo>
                    <a:cubicBezTo>
                      <a:pt x="0" y="0"/>
                      <a:pt x="0" y="0"/>
                      <a:pt x="0" y="0"/>
                    </a:cubicBezTo>
                    <a:cubicBezTo>
                      <a:pt x="0" y="56"/>
                      <a:pt x="0" y="56"/>
                      <a:pt x="0" y="56"/>
                    </a:cubicBezTo>
                    <a:cubicBezTo>
                      <a:pt x="45" y="56"/>
                      <a:pt x="45" y="56"/>
                      <a:pt x="45" y="56"/>
                    </a:cubicBezTo>
                    <a:cubicBezTo>
                      <a:pt x="44" y="54"/>
                      <a:pt x="44" y="52"/>
                      <a:pt x="44" y="50"/>
                    </a:cubicBezTo>
                    <a:close/>
                  </a:path>
                </a:pathLst>
              </a:custGeom>
              <a:solidFill>
                <a:srgbClr val="3C3C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85669">
                  <a:defRPr/>
                </a:pPr>
                <a:endParaRPr lang="en-US" sz="1350">
                  <a:solidFill>
                    <a:srgbClr val="3C3C41"/>
                  </a:solidFill>
                  <a:latin typeface="Segoe UI Semibold"/>
                </a:endParaRPr>
              </a:p>
            </p:txBody>
          </p:sp>
          <p:sp>
            <p:nvSpPr>
              <p:cNvPr id="21" name="Freeform 1006">
                <a:extLst>
                  <a:ext uri="{FF2B5EF4-FFF2-40B4-BE49-F238E27FC236}">
                    <a16:creationId xmlns:a16="http://schemas.microsoft.com/office/drawing/2014/main" id="{C7E1CB3C-9FD5-4835-AFD8-2CD1A3D4CF15}"/>
                  </a:ext>
                </a:extLst>
              </p:cNvPr>
              <p:cNvSpPr>
                <a:spLocks/>
              </p:cNvSpPr>
              <p:nvPr/>
            </p:nvSpPr>
            <p:spPr bwMode="auto">
              <a:xfrm>
                <a:off x="5451031" y="1624151"/>
                <a:ext cx="323813" cy="201718"/>
              </a:xfrm>
              <a:custGeom>
                <a:avLst/>
                <a:gdLst>
                  <a:gd name="T0" fmla="*/ 20 w 61"/>
                  <a:gd name="T1" fmla="*/ 19 h 38"/>
                  <a:gd name="T2" fmla="*/ 20 w 61"/>
                  <a:gd name="T3" fmla="*/ 19 h 38"/>
                  <a:gd name="T4" fmla="*/ 26 w 61"/>
                  <a:gd name="T5" fmla="*/ 19 h 38"/>
                  <a:gd name="T6" fmla="*/ 61 w 61"/>
                  <a:gd name="T7" fmla="*/ 19 h 38"/>
                  <a:gd name="T8" fmla="*/ 61 w 61"/>
                  <a:gd name="T9" fmla="*/ 0 h 38"/>
                  <a:gd name="T10" fmla="*/ 0 w 61"/>
                  <a:gd name="T11" fmla="*/ 0 h 38"/>
                  <a:gd name="T12" fmla="*/ 0 w 61"/>
                  <a:gd name="T13" fmla="*/ 38 h 38"/>
                  <a:gd name="T14" fmla="*/ 20 w 61"/>
                  <a:gd name="T15" fmla="*/ 38 h 38"/>
                  <a:gd name="T16" fmla="*/ 20 w 61"/>
                  <a:gd name="T17" fmla="*/ 19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38">
                    <a:moveTo>
                      <a:pt x="20" y="19"/>
                    </a:moveTo>
                    <a:lnTo>
                      <a:pt x="20" y="19"/>
                    </a:lnTo>
                    <a:lnTo>
                      <a:pt x="26" y="19"/>
                    </a:lnTo>
                    <a:lnTo>
                      <a:pt x="61" y="19"/>
                    </a:lnTo>
                    <a:lnTo>
                      <a:pt x="61" y="0"/>
                    </a:lnTo>
                    <a:lnTo>
                      <a:pt x="0" y="0"/>
                    </a:lnTo>
                    <a:lnTo>
                      <a:pt x="0" y="38"/>
                    </a:lnTo>
                    <a:lnTo>
                      <a:pt x="20" y="38"/>
                    </a:lnTo>
                    <a:lnTo>
                      <a:pt x="20" y="19"/>
                    </a:lnTo>
                    <a:close/>
                  </a:path>
                </a:pathLst>
              </a:custGeom>
              <a:solidFill>
                <a:srgbClr val="7575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85669">
                  <a:defRPr/>
                </a:pPr>
                <a:endParaRPr lang="en-US" sz="1350">
                  <a:solidFill>
                    <a:srgbClr val="3C3C41"/>
                  </a:solidFill>
                  <a:latin typeface="Segoe UI Semibold"/>
                </a:endParaRPr>
              </a:p>
            </p:txBody>
          </p:sp>
          <p:sp>
            <p:nvSpPr>
              <p:cNvPr id="22" name="Rectangle 1007">
                <a:extLst>
                  <a:ext uri="{FF2B5EF4-FFF2-40B4-BE49-F238E27FC236}">
                    <a16:creationId xmlns:a16="http://schemas.microsoft.com/office/drawing/2014/main" id="{87944589-D6A2-4EB1-8E8B-1E945A8D4A57}"/>
                  </a:ext>
                </a:extLst>
              </p:cNvPr>
              <p:cNvSpPr>
                <a:spLocks noChangeArrowheads="1"/>
              </p:cNvSpPr>
              <p:nvPr/>
            </p:nvSpPr>
            <p:spPr bwMode="auto">
              <a:xfrm>
                <a:off x="5658059" y="1889570"/>
                <a:ext cx="31850" cy="69011"/>
              </a:xfrm>
              <a:prstGeom prst="rect">
                <a:avLst/>
              </a:prstGeom>
              <a:solidFill>
                <a:srgbClr val="30E3C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0" tIns="34285" rIns="68570" bIns="34285" numCol="1" anchor="t" anchorCtr="0" compatLnSpc="1">
                <a:prstTxWarp prst="textNoShape">
                  <a:avLst/>
                </a:prstTxWarp>
              </a:bodyPr>
              <a:lstStyle/>
              <a:p>
                <a:pPr defTabSz="685669">
                  <a:defRPr/>
                </a:pPr>
                <a:endParaRPr lang="en-US" sz="1350">
                  <a:solidFill>
                    <a:srgbClr val="3C3C41"/>
                  </a:solidFill>
                  <a:latin typeface="Segoe UI Semibold"/>
                </a:endParaRPr>
              </a:p>
            </p:txBody>
          </p:sp>
          <p:sp>
            <p:nvSpPr>
              <p:cNvPr id="23" name="Rectangle 1008">
                <a:extLst>
                  <a:ext uri="{FF2B5EF4-FFF2-40B4-BE49-F238E27FC236}">
                    <a16:creationId xmlns:a16="http://schemas.microsoft.com/office/drawing/2014/main" id="{8E86249A-7493-4F9C-881D-556B56992CBD}"/>
                  </a:ext>
                </a:extLst>
              </p:cNvPr>
              <p:cNvSpPr>
                <a:spLocks noChangeArrowheads="1"/>
              </p:cNvSpPr>
              <p:nvPr/>
            </p:nvSpPr>
            <p:spPr bwMode="auto">
              <a:xfrm>
                <a:off x="5721760" y="1788713"/>
                <a:ext cx="37160" cy="169868"/>
              </a:xfrm>
              <a:prstGeom prst="rect">
                <a:avLst/>
              </a:prstGeom>
              <a:solidFill>
                <a:srgbClr val="30E3C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0" tIns="34285" rIns="68570" bIns="34285" numCol="1" anchor="t" anchorCtr="0" compatLnSpc="1">
                <a:prstTxWarp prst="textNoShape">
                  <a:avLst/>
                </a:prstTxWarp>
              </a:bodyPr>
              <a:lstStyle/>
              <a:p>
                <a:pPr defTabSz="685669">
                  <a:defRPr/>
                </a:pPr>
                <a:endParaRPr lang="en-US" sz="1350">
                  <a:solidFill>
                    <a:srgbClr val="3C3C41"/>
                  </a:solidFill>
                  <a:latin typeface="Segoe UI Semibold"/>
                </a:endParaRPr>
              </a:p>
            </p:txBody>
          </p:sp>
          <p:sp>
            <p:nvSpPr>
              <p:cNvPr id="24" name="Freeform 1061">
                <a:extLst>
                  <a:ext uri="{FF2B5EF4-FFF2-40B4-BE49-F238E27FC236}">
                    <a16:creationId xmlns:a16="http://schemas.microsoft.com/office/drawing/2014/main" id="{9D9AD6A5-C295-4853-B850-EF1F493FF040}"/>
                  </a:ext>
                </a:extLst>
              </p:cNvPr>
              <p:cNvSpPr>
                <a:spLocks noEditPoints="1"/>
              </p:cNvSpPr>
              <p:nvPr/>
            </p:nvSpPr>
            <p:spPr bwMode="auto">
              <a:xfrm>
                <a:off x="5742993" y="1873647"/>
                <a:ext cx="249495" cy="254802"/>
              </a:xfrm>
              <a:custGeom>
                <a:avLst/>
                <a:gdLst>
                  <a:gd name="T0" fmla="*/ 38 w 60"/>
                  <a:gd name="T1" fmla="*/ 0 h 60"/>
                  <a:gd name="T2" fmla="*/ 16 w 60"/>
                  <a:gd name="T3" fmla="*/ 22 h 60"/>
                  <a:gd name="T4" fmla="*/ 20 w 60"/>
                  <a:gd name="T5" fmla="*/ 35 h 60"/>
                  <a:gd name="T6" fmla="*/ 0 w 60"/>
                  <a:gd name="T7" fmla="*/ 54 h 60"/>
                  <a:gd name="T8" fmla="*/ 6 w 60"/>
                  <a:gd name="T9" fmla="*/ 60 h 60"/>
                  <a:gd name="T10" fmla="*/ 26 w 60"/>
                  <a:gd name="T11" fmla="*/ 40 h 60"/>
                  <a:gd name="T12" fmla="*/ 38 w 60"/>
                  <a:gd name="T13" fmla="*/ 44 h 60"/>
                  <a:gd name="T14" fmla="*/ 60 w 60"/>
                  <a:gd name="T15" fmla="*/ 22 h 60"/>
                  <a:gd name="T16" fmla="*/ 38 w 60"/>
                  <a:gd name="T17" fmla="*/ 0 h 60"/>
                  <a:gd name="T18" fmla="*/ 38 w 60"/>
                  <a:gd name="T19" fmla="*/ 36 h 60"/>
                  <a:gd name="T20" fmla="*/ 24 w 60"/>
                  <a:gd name="T21" fmla="*/ 22 h 60"/>
                  <a:gd name="T22" fmla="*/ 38 w 60"/>
                  <a:gd name="T23" fmla="*/ 8 h 60"/>
                  <a:gd name="T24" fmla="*/ 52 w 60"/>
                  <a:gd name="T25" fmla="*/ 22 h 60"/>
                  <a:gd name="T26" fmla="*/ 38 w 60"/>
                  <a:gd name="T27" fmla="*/ 36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60">
                    <a:moveTo>
                      <a:pt x="38" y="0"/>
                    </a:moveTo>
                    <a:cubicBezTo>
                      <a:pt x="26" y="0"/>
                      <a:pt x="16" y="10"/>
                      <a:pt x="16" y="22"/>
                    </a:cubicBezTo>
                    <a:cubicBezTo>
                      <a:pt x="16" y="27"/>
                      <a:pt x="17" y="31"/>
                      <a:pt x="20" y="35"/>
                    </a:cubicBezTo>
                    <a:cubicBezTo>
                      <a:pt x="0" y="54"/>
                      <a:pt x="0" y="54"/>
                      <a:pt x="0" y="54"/>
                    </a:cubicBezTo>
                    <a:cubicBezTo>
                      <a:pt x="6" y="60"/>
                      <a:pt x="6" y="60"/>
                      <a:pt x="6" y="60"/>
                    </a:cubicBezTo>
                    <a:cubicBezTo>
                      <a:pt x="26" y="40"/>
                      <a:pt x="26" y="40"/>
                      <a:pt x="26" y="40"/>
                    </a:cubicBezTo>
                    <a:cubicBezTo>
                      <a:pt x="29" y="43"/>
                      <a:pt x="33" y="44"/>
                      <a:pt x="38" y="44"/>
                    </a:cubicBezTo>
                    <a:cubicBezTo>
                      <a:pt x="50" y="44"/>
                      <a:pt x="60" y="34"/>
                      <a:pt x="60" y="22"/>
                    </a:cubicBezTo>
                    <a:cubicBezTo>
                      <a:pt x="60" y="10"/>
                      <a:pt x="50" y="0"/>
                      <a:pt x="38" y="0"/>
                    </a:cubicBezTo>
                    <a:close/>
                    <a:moveTo>
                      <a:pt x="38" y="36"/>
                    </a:moveTo>
                    <a:cubicBezTo>
                      <a:pt x="30" y="36"/>
                      <a:pt x="24" y="30"/>
                      <a:pt x="24" y="22"/>
                    </a:cubicBezTo>
                    <a:cubicBezTo>
                      <a:pt x="24" y="14"/>
                      <a:pt x="30" y="8"/>
                      <a:pt x="38" y="8"/>
                    </a:cubicBezTo>
                    <a:cubicBezTo>
                      <a:pt x="46" y="8"/>
                      <a:pt x="52" y="14"/>
                      <a:pt x="52" y="22"/>
                    </a:cubicBezTo>
                    <a:cubicBezTo>
                      <a:pt x="52" y="30"/>
                      <a:pt x="46" y="36"/>
                      <a:pt x="38" y="36"/>
                    </a:cubicBezTo>
                    <a:close/>
                  </a:path>
                </a:pathLst>
              </a:custGeom>
              <a:solidFill>
                <a:srgbClr val="3C3C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85669">
                  <a:defRPr/>
                </a:pPr>
                <a:endParaRPr lang="en-US" sz="1350">
                  <a:solidFill>
                    <a:srgbClr val="3C3C41"/>
                  </a:solidFill>
                  <a:latin typeface="Segoe UI Semibold"/>
                </a:endParaRPr>
              </a:p>
            </p:txBody>
          </p:sp>
          <p:sp>
            <p:nvSpPr>
              <p:cNvPr id="25" name="Freeform 1091">
                <a:extLst>
                  <a:ext uri="{FF2B5EF4-FFF2-40B4-BE49-F238E27FC236}">
                    <a16:creationId xmlns:a16="http://schemas.microsoft.com/office/drawing/2014/main" id="{EEF6D63B-0917-4DB7-B90B-D5415554FF6E}"/>
                  </a:ext>
                </a:extLst>
              </p:cNvPr>
              <p:cNvSpPr>
                <a:spLocks/>
              </p:cNvSpPr>
              <p:nvPr/>
            </p:nvSpPr>
            <p:spPr bwMode="auto">
              <a:xfrm>
                <a:off x="5790767" y="1825870"/>
                <a:ext cx="31850" cy="79627"/>
              </a:xfrm>
              <a:custGeom>
                <a:avLst/>
                <a:gdLst>
                  <a:gd name="T0" fmla="*/ 0 w 8"/>
                  <a:gd name="T1" fmla="*/ 0 h 19"/>
                  <a:gd name="T2" fmla="*/ 0 w 8"/>
                  <a:gd name="T3" fmla="*/ 19 h 19"/>
                  <a:gd name="T4" fmla="*/ 8 w 8"/>
                  <a:gd name="T5" fmla="*/ 10 h 19"/>
                  <a:gd name="T6" fmla="*/ 8 w 8"/>
                  <a:gd name="T7" fmla="*/ 0 h 19"/>
                  <a:gd name="T8" fmla="*/ 0 w 8"/>
                  <a:gd name="T9" fmla="*/ 0 h 19"/>
                </a:gdLst>
                <a:ahLst/>
                <a:cxnLst>
                  <a:cxn ang="0">
                    <a:pos x="T0" y="T1"/>
                  </a:cxn>
                  <a:cxn ang="0">
                    <a:pos x="T2" y="T3"/>
                  </a:cxn>
                  <a:cxn ang="0">
                    <a:pos x="T4" y="T5"/>
                  </a:cxn>
                  <a:cxn ang="0">
                    <a:pos x="T6" y="T7"/>
                  </a:cxn>
                  <a:cxn ang="0">
                    <a:pos x="T8" y="T9"/>
                  </a:cxn>
                </a:cxnLst>
                <a:rect l="0" t="0" r="r" b="b"/>
                <a:pathLst>
                  <a:path w="8" h="19">
                    <a:moveTo>
                      <a:pt x="0" y="0"/>
                    </a:moveTo>
                    <a:cubicBezTo>
                      <a:pt x="0" y="19"/>
                      <a:pt x="0" y="19"/>
                      <a:pt x="0" y="19"/>
                    </a:cubicBezTo>
                    <a:cubicBezTo>
                      <a:pt x="2" y="16"/>
                      <a:pt x="5" y="13"/>
                      <a:pt x="8" y="10"/>
                    </a:cubicBezTo>
                    <a:cubicBezTo>
                      <a:pt x="8" y="0"/>
                      <a:pt x="8" y="0"/>
                      <a:pt x="8" y="0"/>
                    </a:cubicBezTo>
                    <a:lnTo>
                      <a:pt x="0" y="0"/>
                    </a:lnTo>
                    <a:close/>
                  </a:path>
                </a:pathLst>
              </a:custGeom>
              <a:solidFill>
                <a:srgbClr val="30E3C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85669">
                  <a:defRPr/>
                </a:pPr>
                <a:endParaRPr lang="en-US" sz="1350">
                  <a:solidFill>
                    <a:srgbClr val="3C3C41"/>
                  </a:solidFill>
                  <a:latin typeface="Segoe UI Semibold"/>
                </a:endParaRPr>
              </a:p>
            </p:txBody>
          </p:sp>
        </p:grpSp>
        <p:sp>
          <p:nvSpPr>
            <p:cNvPr id="19" name="Analytics">
              <a:extLst>
                <a:ext uri="{FF2B5EF4-FFF2-40B4-BE49-F238E27FC236}">
                  <a16:creationId xmlns:a16="http://schemas.microsoft.com/office/drawing/2014/main" id="{676A8013-741D-4D83-A8BE-485D253BB326}"/>
                </a:ext>
              </a:extLst>
            </p:cNvPr>
            <p:cNvSpPr txBox="1"/>
            <p:nvPr/>
          </p:nvSpPr>
          <p:spPr>
            <a:xfrm>
              <a:off x="8025428" y="1982881"/>
              <a:ext cx="554391" cy="166223"/>
            </a:xfrm>
            <a:prstGeom prst="rect">
              <a:avLst/>
            </a:prstGeom>
            <a:noFill/>
          </p:spPr>
          <p:txBody>
            <a:bodyPr wrap="none" lIns="0" tIns="0" rIns="0" bIns="0" rtlCol="0">
              <a:spAutoFit/>
            </a:bodyPr>
            <a:lstStyle/>
            <a:p>
              <a:pPr algn="ctr" defTabSz="685175">
                <a:lnSpc>
                  <a:spcPct val="90000"/>
                </a:lnSpc>
                <a:spcBef>
                  <a:spcPct val="0"/>
                </a:spcBef>
                <a:spcAft>
                  <a:spcPts val="441"/>
                </a:spcAft>
                <a:defRPr/>
              </a:pPr>
              <a:r>
                <a:rPr lang="en-US" sz="900" kern="0" spc="-22">
                  <a:solidFill>
                    <a:srgbClr val="3C3C41"/>
                  </a:solidFill>
                  <a:latin typeface="Segoe UI Semibold"/>
                  <a:cs typeface="Segoe UI" panose="020B0502040204020203" pitchFamily="34" charset="0"/>
                </a:rPr>
                <a:t>Analytics</a:t>
              </a:r>
            </a:p>
          </p:txBody>
        </p:sp>
      </p:grpSp>
      <p:grpSp>
        <p:nvGrpSpPr>
          <p:cNvPr id="509" name="Group 508">
            <a:extLst>
              <a:ext uri="{FF2B5EF4-FFF2-40B4-BE49-F238E27FC236}">
                <a16:creationId xmlns:a16="http://schemas.microsoft.com/office/drawing/2014/main" id="{F357A228-A839-4E19-9641-52AB4E38D53A}"/>
              </a:ext>
            </a:extLst>
          </p:cNvPr>
          <p:cNvGrpSpPr/>
          <p:nvPr/>
        </p:nvGrpSpPr>
        <p:grpSpPr>
          <a:xfrm>
            <a:off x="5725103" y="2680394"/>
            <a:ext cx="510012" cy="543261"/>
            <a:chOff x="7633684" y="3802515"/>
            <a:chExt cx="680112" cy="724449"/>
          </a:xfrm>
        </p:grpSpPr>
        <p:grpSp>
          <p:nvGrpSpPr>
            <p:cNvPr id="27" name="AI &amp; ML">
              <a:extLst>
                <a:ext uri="{FF2B5EF4-FFF2-40B4-BE49-F238E27FC236}">
                  <a16:creationId xmlns:a16="http://schemas.microsoft.com/office/drawing/2014/main" id="{0D05C4C6-5B15-4482-A2EB-506AB9DF8138}"/>
                </a:ext>
              </a:extLst>
            </p:cNvPr>
            <p:cNvGrpSpPr/>
            <p:nvPr/>
          </p:nvGrpSpPr>
          <p:grpSpPr>
            <a:xfrm>
              <a:off x="7725392" y="3802515"/>
              <a:ext cx="496694" cy="494624"/>
              <a:chOff x="2405503" y="-1520204"/>
              <a:chExt cx="1077739" cy="1013990"/>
            </a:xfrm>
          </p:grpSpPr>
          <p:grpSp>
            <p:nvGrpSpPr>
              <p:cNvPr id="29" name="Group 28">
                <a:extLst>
                  <a:ext uri="{FF2B5EF4-FFF2-40B4-BE49-F238E27FC236}">
                    <a16:creationId xmlns:a16="http://schemas.microsoft.com/office/drawing/2014/main" id="{1C077DA0-5A33-4CC4-B6C8-B6C56B56BF3B}"/>
                  </a:ext>
                </a:extLst>
              </p:cNvPr>
              <p:cNvGrpSpPr/>
              <p:nvPr/>
            </p:nvGrpSpPr>
            <p:grpSpPr>
              <a:xfrm>
                <a:off x="2579705" y="-1496055"/>
                <a:ext cx="573143" cy="777285"/>
                <a:chOff x="5896848" y="1680363"/>
                <a:chExt cx="573143" cy="777285"/>
              </a:xfrm>
              <a:solidFill>
                <a:srgbClr val="3C3C41"/>
              </a:solidFill>
            </p:grpSpPr>
            <p:sp>
              <p:nvSpPr>
                <p:cNvPr id="35" name="Rectangle 34">
                  <a:extLst>
                    <a:ext uri="{FF2B5EF4-FFF2-40B4-BE49-F238E27FC236}">
                      <a16:creationId xmlns:a16="http://schemas.microsoft.com/office/drawing/2014/main" id="{7B62F98D-4742-447A-A53D-0832C71B1E9D}"/>
                    </a:ext>
                  </a:extLst>
                </p:cNvPr>
                <p:cNvSpPr/>
                <p:nvPr/>
              </p:nvSpPr>
              <p:spPr bwMode="auto">
                <a:xfrm>
                  <a:off x="6059428" y="1770405"/>
                  <a:ext cx="18288" cy="687243"/>
                </a:xfrm>
                <a:prstGeom prst="rect">
                  <a:avLst/>
                </a:prstGeom>
                <a:grpFill/>
                <a:ln w="9525" cap="flat" cmpd="sng" algn="ctr">
                  <a:noFill/>
                  <a:prstDash val="solid"/>
                  <a:headEnd type="none" w="med" len="med"/>
                  <a:tailEnd type="none" w="med" len="med"/>
                </a:ln>
                <a:effectLst/>
              </p:spPr>
              <p:txBody>
                <a:bodyPr rot="0" spcFirstLastPara="0" vert="horz" wrap="square" lIns="137141" tIns="109713" rIns="137141" bIns="109713" numCol="1" spcCol="0" rtlCol="0" fromWordArt="0" anchor="t" anchorCtr="0" forceAA="0" compatLnSpc="1">
                  <a:prstTxWarp prst="textNoShape">
                    <a:avLst/>
                  </a:prstTxWarp>
                  <a:noAutofit/>
                </a:bodyPr>
                <a:lstStyle/>
                <a:p>
                  <a:pPr defTabSz="699220" fontAlgn="base">
                    <a:spcBef>
                      <a:spcPct val="0"/>
                    </a:spcBef>
                    <a:spcAft>
                      <a:spcPct val="0"/>
                    </a:spcAft>
                    <a:defRPr/>
                  </a:pPr>
                  <a:endParaRPr lang="en-US" sz="1500" kern="0">
                    <a:gradFill>
                      <a:gsLst>
                        <a:gs pos="0">
                          <a:srgbClr val="FFFFFF"/>
                        </a:gs>
                        <a:gs pos="100000">
                          <a:srgbClr val="FFFFFF"/>
                        </a:gs>
                      </a:gsLst>
                      <a:lin ang="5400000" scaled="0"/>
                    </a:gradFill>
                    <a:latin typeface="Segoe UI Semibold"/>
                    <a:ea typeface="Segoe UI" pitchFamily="34" charset="0"/>
                    <a:cs typeface="Segoe UI" pitchFamily="34" charset="0"/>
                  </a:endParaRPr>
                </a:p>
              </p:txBody>
            </p:sp>
            <p:sp>
              <p:nvSpPr>
                <p:cNvPr id="36" name="Rectangle 35">
                  <a:extLst>
                    <a:ext uri="{FF2B5EF4-FFF2-40B4-BE49-F238E27FC236}">
                      <a16:creationId xmlns:a16="http://schemas.microsoft.com/office/drawing/2014/main" id="{453FE46C-36CA-4178-A39E-67C29432618F}"/>
                    </a:ext>
                  </a:extLst>
                </p:cNvPr>
                <p:cNvSpPr/>
                <p:nvPr/>
              </p:nvSpPr>
              <p:spPr bwMode="auto">
                <a:xfrm rot="19284237">
                  <a:off x="6298549" y="1680363"/>
                  <a:ext cx="18288" cy="687243"/>
                </a:xfrm>
                <a:prstGeom prst="rect">
                  <a:avLst/>
                </a:prstGeom>
                <a:grpFill/>
                <a:ln w="9525" cap="flat" cmpd="sng" algn="ctr">
                  <a:noFill/>
                  <a:prstDash val="solid"/>
                  <a:headEnd type="none" w="med" len="med"/>
                  <a:tailEnd type="none" w="med" len="med"/>
                </a:ln>
                <a:effectLst/>
              </p:spPr>
              <p:txBody>
                <a:bodyPr rot="0" spcFirstLastPara="0" vert="horz" wrap="square" lIns="137141" tIns="109713" rIns="137141" bIns="109713" numCol="1" spcCol="0" rtlCol="0" fromWordArt="0" anchor="t" anchorCtr="0" forceAA="0" compatLnSpc="1">
                  <a:prstTxWarp prst="textNoShape">
                    <a:avLst/>
                  </a:prstTxWarp>
                  <a:noAutofit/>
                </a:bodyPr>
                <a:lstStyle/>
                <a:p>
                  <a:pPr defTabSz="699220" fontAlgn="base">
                    <a:spcBef>
                      <a:spcPct val="0"/>
                    </a:spcBef>
                    <a:spcAft>
                      <a:spcPct val="0"/>
                    </a:spcAft>
                    <a:defRPr/>
                  </a:pPr>
                  <a:endParaRPr lang="en-US" sz="1500" kern="0">
                    <a:gradFill>
                      <a:gsLst>
                        <a:gs pos="0">
                          <a:srgbClr val="FFFFFF"/>
                        </a:gs>
                        <a:gs pos="100000">
                          <a:srgbClr val="FFFFFF"/>
                        </a:gs>
                      </a:gsLst>
                      <a:lin ang="5400000" scaled="0"/>
                    </a:gradFill>
                    <a:latin typeface="Segoe UI Semibold"/>
                    <a:ea typeface="Segoe UI" pitchFamily="34" charset="0"/>
                    <a:cs typeface="Segoe UI" pitchFamily="34" charset="0"/>
                  </a:endParaRPr>
                </a:p>
              </p:txBody>
            </p:sp>
            <p:sp>
              <p:nvSpPr>
                <p:cNvPr id="37" name="Rectangle 36">
                  <a:extLst>
                    <a:ext uri="{FF2B5EF4-FFF2-40B4-BE49-F238E27FC236}">
                      <a16:creationId xmlns:a16="http://schemas.microsoft.com/office/drawing/2014/main" id="{972BD5CA-E611-4CAD-A3C2-95B8519BDF5E}"/>
                    </a:ext>
                  </a:extLst>
                </p:cNvPr>
                <p:cNvSpPr/>
                <p:nvPr/>
              </p:nvSpPr>
              <p:spPr bwMode="auto">
                <a:xfrm rot="1945842">
                  <a:off x="5958905" y="1759746"/>
                  <a:ext cx="18288" cy="274320"/>
                </a:xfrm>
                <a:prstGeom prst="rect">
                  <a:avLst/>
                </a:prstGeom>
                <a:grpFill/>
                <a:ln w="9525" cap="flat" cmpd="sng" algn="ctr">
                  <a:noFill/>
                  <a:prstDash val="solid"/>
                  <a:headEnd type="none" w="med" len="med"/>
                  <a:tailEnd type="none" w="med" len="med"/>
                </a:ln>
                <a:effectLst/>
              </p:spPr>
              <p:txBody>
                <a:bodyPr rot="0" spcFirstLastPara="0" vert="horz" wrap="square" lIns="137141" tIns="109713" rIns="137141" bIns="109713" numCol="1" spcCol="0" rtlCol="0" fromWordArt="0" anchor="t" anchorCtr="0" forceAA="0" compatLnSpc="1">
                  <a:prstTxWarp prst="textNoShape">
                    <a:avLst/>
                  </a:prstTxWarp>
                  <a:noAutofit/>
                </a:bodyPr>
                <a:lstStyle/>
                <a:p>
                  <a:pPr defTabSz="699220" fontAlgn="base">
                    <a:spcBef>
                      <a:spcPct val="0"/>
                    </a:spcBef>
                    <a:spcAft>
                      <a:spcPct val="0"/>
                    </a:spcAft>
                    <a:defRPr/>
                  </a:pPr>
                  <a:endParaRPr lang="en-US" sz="1500" kern="0">
                    <a:gradFill>
                      <a:gsLst>
                        <a:gs pos="0">
                          <a:srgbClr val="FFFFFF"/>
                        </a:gs>
                        <a:gs pos="100000">
                          <a:srgbClr val="FFFFFF"/>
                        </a:gs>
                      </a:gsLst>
                      <a:lin ang="5400000" scaled="0"/>
                    </a:gradFill>
                    <a:latin typeface="Segoe UI Semibold"/>
                    <a:ea typeface="Segoe UI" pitchFamily="34" charset="0"/>
                    <a:cs typeface="Segoe UI" pitchFamily="34" charset="0"/>
                  </a:endParaRPr>
                </a:p>
              </p:txBody>
            </p:sp>
            <p:sp>
              <p:nvSpPr>
                <p:cNvPr id="38" name="Rectangle 37">
                  <a:extLst>
                    <a:ext uri="{FF2B5EF4-FFF2-40B4-BE49-F238E27FC236}">
                      <a16:creationId xmlns:a16="http://schemas.microsoft.com/office/drawing/2014/main" id="{0841F3A9-D4EC-48CB-B183-2A7DF3379812}"/>
                    </a:ext>
                  </a:extLst>
                </p:cNvPr>
                <p:cNvSpPr/>
                <p:nvPr/>
              </p:nvSpPr>
              <p:spPr bwMode="auto">
                <a:xfrm rot="4308765">
                  <a:off x="6045182" y="1908374"/>
                  <a:ext cx="18288" cy="274320"/>
                </a:xfrm>
                <a:prstGeom prst="rect">
                  <a:avLst/>
                </a:prstGeom>
                <a:grpFill/>
                <a:ln w="9525" cap="flat" cmpd="sng" algn="ctr">
                  <a:noFill/>
                  <a:prstDash val="solid"/>
                  <a:headEnd type="none" w="med" len="med"/>
                  <a:tailEnd type="none" w="med" len="med"/>
                </a:ln>
                <a:effectLst/>
              </p:spPr>
              <p:txBody>
                <a:bodyPr rot="0" spcFirstLastPara="0" vert="horz" wrap="square" lIns="137141" tIns="109713" rIns="137141" bIns="109713" numCol="1" spcCol="0" rtlCol="0" fromWordArt="0" anchor="t" anchorCtr="0" forceAA="0" compatLnSpc="1">
                  <a:prstTxWarp prst="textNoShape">
                    <a:avLst/>
                  </a:prstTxWarp>
                  <a:noAutofit/>
                </a:bodyPr>
                <a:lstStyle/>
                <a:p>
                  <a:pPr defTabSz="699220" fontAlgn="base">
                    <a:spcBef>
                      <a:spcPct val="0"/>
                    </a:spcBef>
                    <a:spcAft>
                      <a:spcPct val="0"/>
                    </a:spcAft>
                    <a:defRPr/>
                  </a:pPr>
                  <a:endParaRPr lang="en-US" sz="1500" kern="0">
                    <a:gradFill>
                      <a:gsLst>
                        <a:gs pos="0">
                          <a:srgbClr val="FFFFFF"/>
                        </a:gs>
                        <a:gs pos="100000">
                          <a:srgbClr val="FFFFFF"/>
                        </a:gs>
                      </a:gsLst>
                      <a:lin ang="5400000" scaled="0"/>
                    </a:gradFill>
                    <a:latin typeface="Segoe UI Semibold"/>
                    <a:ea typeface="Segoe UI" pitchFamily="34" charset="0"/>
                    <a:cs typeface="Segoe UI" pitchFamily="34" charset="0"/>
                  </a:endParaRPr>
                </a:p>
              </p:txBody>
            </p:sp>
            <p:sp>
              <p:nvSpPr>
                <p:cNvPr id="39" name="Rectangle 38">
                  <a:extLst>
                    <a:ext uri="{FF2B5EF4-FFF2-40B4-BE49-F238E27FC236}">
                      <a16:creationId xmlns:a16="http://schemas.microsoft.com/office/drawing/2014/main" id="{01AF4DD0-D69C-4DBF-B094-2DA4ED696208}"/>
                    </a:ext>
                  </a:extLst>
                </p:cNvPr>
                <p:cNvSpPr/>
                <p:nvPr/>
              </p:nvSpPr>
              <p:spPr bwMode="auto">
                <a:xfrm rot="1391002">
                  <a:off x="6181424" y="2059706"/>
                  <a:ext cx="18288" cy="274320"/>
                </a:xfrm>
                <a:prstGeom prst="rect">
                  <a:avLst/>
                </a:prstGeom>
                <a:grpFill/>
                <a:ln w="9525" cap="flat" cmpd="sng" algn="ctr">
                  <a:noFill/>
                  <a:prstDash val="solid"/>
                  <a:headEnd type="none" w="med" len="med"/>
                  <a:tailEnd type="none" w="med" len="med"/>
                </a:ln>
                <a:effectLst/>
              </p:spPr>
              <p:txBody>
                <a:bodyPr rot="0" spcFirstLastPara="0" vert="horz" wrap="square" lIns="137141" tIns="109713" rIns="137141" bIns="109713" numCol="1" spcCol="0" rtlCol="0" fromWordArt="0" anchor="t" anchorCtr="0" forceAA="0" compatLnSpc="1">
                  <a:prstTxWarp prst="textNoShape">
                    <a:avLst/>
                  </a:prstTxWarp>
                  <a:noAutofit/>
                </a:bodyPr>
                <a:lstStyle/>
                <a:p>
                  <a:pPr defTabSz="699220" fontAlgn="base">
                    <a:spcBef>
                      <a:spcPct val="0"/>
                    </a:spcBef>
                    <a:spcAft>
                      <a:spcPct val="0"/>
                    </a:spcAft>
                    <a:defRPr/>
                  </a:pPr>
                  <a:endParaRPr lang="en-US" sz="1500" kern="0">
                    <a:gradFill>
                      <a:gsLst>
                        <a:gs pos="0">
                          <a:srgbClr val="FFFFFF"/>
                        </a:gs>
                        <a:gs pos="100000">
                          <a:srgbClr val="FFFFFF"/>
                        </a:gs>
                      </a:gsLst>
                      <a:lin ang="5400000" scaled="0"/>
                    </a:gradFill>
                    <a:latin typeface="Segoe UI Semibold"/>
                    <a:ea typeface="Segoe UI" pitchFamily="34" charset="0"/>
                    <a:cs typeface="Segoe UI" pitchFamily="34" charset="0"/>
                  </a:endParaRPr>
                </a:p>
              </p:txBody>
            </p:sp>
            <p:sp>
              <p:nvSpPr>
                <p:cNvPr id="40" name="Rectangle 39">
                  <a:extLst>
                    <a:ext uri="{FF2B5EF4-FFF2-40B4-BE49-F238E27FC236}">
                      <a16:creationId xmlns:a16="http://schemas.microsoft.com/office/drawing/2014/main" id="{81C61501-7F00-4111-99E6-8D24B3DAD3A1}"/>
                    </a:ext>
                  </a:extLst>
                </p:cNvPr>
                <p:cNvSpPr/>
                <p:nvPr/>
              </p:nvSpPr>
              <p:spPr bwMode="auto">
                <a:xfrm rot="19697823">
                  <a:off x="5942033" y="2134052"/>
                  <a:ext cx="18288" cy="274320"/>
                </a:xfrm>
                <a:prstGeom prst="rect">
                  <a:avLst/>
                </a:prstGeom>
                <a:grpFill/>
                <a:ln w="9525" cap="flat" cmpd="sng" algn="ctr">
                  <a:noFill/>
                  <a:prstDash val="solid"/>
                  <a:headEnd type="none" w="med" len="med"/>
                  <a:tailEnd type="none" w="med" len="med"/>
                </a:ln>
                <a:effectLst/>
              </p:spPr>
              <p:txBody>
                <a:bodyPr rot="0" spcFirstLastPara="0" vert="horz" wrap="square" lIns="137141" tIns="109713" rIns="137141" bIns="109713" numCol="1" spcCol="0" rtlCol="0" fromWordArt="0" anchor="t" anchorCtr="0" forceAA="0" compatLnSpc="1">
                  <a:prstTxWarp prst="textNoShape">
                    <a:avLst/>
                  </a:prstTxWarp>
                  <a:noAutofit/>
                </a:bodyPr>
                <a:lstStyle/>
                <a:p>
                  <a:pPr defTabSz="699220" fontAlgn="base">
                    <a:spcBef>
                      <a:spcPct val="0"/>
                    </a:spcBef>
                    <a:spcAft>
                      <a:spcPct val="0"/>
                    </a:spcAft>
                    <a:defRPr/>
                  </a:pPr>
                  <a:endParaRPr lang="en-US" sz="1500" kern="0">
                    <a:gradFill>
                      <a:gsLst>
                        <a:gs pos="0">
                          <a:srgbClr val="FFFFFF"/>
                        </a:gs>
                        <a:gs pos="100000">
                          <a:srgbClr val="FFFFFF"/>
                        </a:gs>
                      </a:gsLst>
                      <a:lin ang="5400000" scaled="0"/>
                    </a:gradFill>
                    <a:latin typeface="Segoe UI Semibold"/>
                    <a:ea typeface="Segoe UI" pitchFamily="34" charset="0"/>
                    <a:cs typeface="Segoe UI" pitchFamily="34" charset="0"/>
                  </a:endParaRPr>
                </a:p>
              </p:txBody>
            </p:sp>
            <p:sp>
              <p:nvSpPr>
                <p:cNvPr id="41" name="Rectangle 40">
                  <a:extLst>
                    <a:ext uri="{FF2B5EF4-FFF2-40B4-BE49-F238E27FC236}">
                      <a16:creationId xmlns:a16="http://schemas.microsoft.com/office/drawing/2014/main" id="{C8EAC301-C3F6-47F1-9E79-29838DDE2929}"/>
                    </a:ext>
                  </a:extLst>
                </p:cNvPr>
                <p:cNvSpPr/>
                <p:nvPr/>
              </p:nvSpPr>
              <p:spPr bwMode="auto">
                <a:xfrm rot="4500000">
                  <a:off x="6323687" y="2293949"/>
                  <a:ext cx="18288" cy="274320"/>
                </a:xfrm>
                <a:prstGeom prst="rect">
                  <a:avLst/>
                </a:prstGeom>
                <a:grpFill/>
                <a:ln w="9525" cap="flat" cmpd="sng" algn="ctr">
                  <a:noFill/>
                  <a:prstDash val="solid"/>
                  <a:headEnd type="none" w="med" len="med"/>
                  <a:tailEnd type="none" w="med" len="med"/>
                </a:ln>
                <a:effectLst/>
              </p:spPr>
              <p:txBody>
                <a:bodyPr rot="0" spcFirstLastPara="0" vert="horz" wrap="square" lIns="137141" tIns="109713" rIns="137141" bIns="109713" numCol="1" spcCol="0" rtlCol="0" fromWordArt="0" anchor="t" anchorCtr="0" forceAA="0" compatLnSpc="1">
                  <a:prstTxWarp prst="textNoShape">
                    <a:avLst/>
                  </a:prstTxWarp>
                  <a:noAutofit/>
                </a:bodyPr>
                <a:lstStyle/>
                <a:p>
                  <a:pPr defTabSz="699220" fontAlgn="base">
                    <a:spcBef>
                      <a:spcPct val="0"/>
                    </a:spcBef>
                    <a:spcAft>
                      <a:spcPct val="0"/>
                    </a:spcAft>
                    <a:defRPr/>
                  </a:pPr>
                  <a:endParaRPr lang="en-US" sz="1500" kern="0">
                    <a:gradFill>
                      <a:gsLst>
                        <a:gs pos="0">
                          <a:srgbClr val="FFFFFF"/>
                        </a:gs>
                        <a:gs pos="100000">
                          <a:srgbClr val="FFFFFF"/>
                        </a:gs>
                      </a:gsLst>
                      <a:lin ang="5400000" scaled="0"/>
                    </a:gradFill>
                    <a:latin typeface="Segoe UI Semibold"/>
                    <a:ea typeface="Segoe UI" pitchFamily="34" charset="0"/>
                    <a:cs typeface="Segoe UI" pitchFamily="34" charset="0"/>
                  </a:endParaRPr>
                </a:p>
              </p:txBody>
            </p:sp>
            <p:sp>
              <p:nvSpPr>
                <p:cNvPr id="42" name="Rectangle 41">
                  <a:extLst>
                    <a:ext uri="{FF2B5EF4-FFF2-40B4-BE49-F238E27FC236}">
                      <a16:creationId xmlns:a16="http://schemas.microsoft.com/office/drawing/2014/main" id="{2A03CD42-10A8-4A28-990C-72ED271D961D}"/>
                    </a:ext>
                  </a:extLst>
                </p:cNvPr>
                <p:cNvSpPr/>
                <p:nvPr/>
              </p:nvSpPr>
              <p:spPr bwMode="auto">
                <a:xfrm rot="17375620">
                  <a:off x="6162024" y="1941133"/>
                  <a:ext cx="18288" cy="548640"/>
                </a:xfrm>
                <a:prstGeom prst="rect">
                  <a:avLst/>
                </a:prstGeom>
                <a:grpFill/>
                <a:ln w="9525" cap="flat" cmpd="sng" algn="ctr">
                  <a:noFill/>
                  <a:prstDash val="solid"/>
                  <a:headEnd type="none" w="med" len="med"/>
                  <a:tailEnd type="none" w="med" len="med"/>
                </a:ln>
                <a:effectLst/>
              </p:spPr>
              <p:txBody>
                <a:bodyPr rot="0" spcFirstLastPara="0" vert="horz" wrap="square" lIns="137141" tIns="109713" rIns="137141" bIns="109713" numCol="1" spcCol="0" rtlCol="0" fromWordArt="0" anchor="t" anchorCtr="0" forceAA="0" compatLnSpc="1">
                  <a:prstTxWarp prst="textNoShape">
                    <a:avLst/>
                  </a:prstTxWarp>
                  <a:noAutofit/>
                </a:bodyPr>
                <a:lstStyle/>
                <a:p>
                  <a:pPr defTabSz="699220" fontAlgn="base">
                    <a:spcBef>
                      <a:spcPct val="0"/>
                    </a:spcBef>
                    <a:spcAft>
                      <a:spcPct val="0"/>
                    </a:spcAft>
                    <a:defRPr/>
                  </a:pPr>
                  <a:endParaRPr lang="en-US" sz="1500" kern="0">
                    <a:gradFill>
                      <a:gsLst>
                        <a:gs pos="0">
                          <a:srgbClr val="FFFFFF"/>
                        </a:gs>
                        <a:gs pos="100000">
                          <a:srgbClr val="FFFFFF"/>
                        </a:gs>
                      </a:gsLst>
                      <a:lin ang="5400000" scaled="0"/>
                    </a:gradFill>
                    <a:latin typeface="Segoe UI Semibold"/>
                    <a:ea typeface="Segoe UI" pitchFamily="34" charset="0"/>
                    <a:cs typeface="Segoe UI" pitchFamily="34" charset="0"/>
                  </a:endParaRPr>
                </a:p>
              </p:txBody>
            </p:sp>
          </p:grpSp>
          <p:sp>
            <p:nvSpPr>
              <p:cNvPr id="30" name="Oval 29">
                <a:extLst>
                  <a:ext uri="{FF2B5EF4-FFF2-40B4-BE49-F238E27FC236}">
                    <a16:creationId xmlns:a16="http://schemas.microsoft.com/office/drawing/2014/main" id="{601A2ED4-5EAC-45CE-A575-F09A4181A784}"/>
                  </a:ext>
                </a:extLst>
              </p:cNvPr>
              <p:cNvSpPr/>
              <p:nvPr/>
            </p:nvSpPr>
            <p:spPr bwMode="auto">
              <a:xfrm>
                <a:off x="2685501" y="-1520204"/>
                <a:ext cx="157806" cy="157806"/>
              </a:xfrm>
              <a:prstGeom prst="ellipse">
                <a:avLst/>
              </a:prstGeom>
              <a:solidFill>
                <a:srgbClr val="75757A">
                  <a:lumMod val="75000"/>
                </a:srgbClr>
              </a:solidFill>
              <a:ln w="9525" cap="flat" cmpd="sng" algn="ctr">
                <a:noFill/>
                <a:prstDash val="solid"/>
                <a:headEnd type="none" w="med" len="med"/>
                <a:tailEnd type="none" w="med" len="med"/>
              </a:ln>
              <a:effectLst/>
            </p:spPr>
            <p:txBody>
              <a:bodyPr rot="0" spcFirstLastPara="0" vert="horz" wrap="square" lIns="137141" tIns="109713" rIns="137141" bIns="109713" numCol="1" spcCol="0" rtlCol="0" fromWordArt="0" anchor="t" anchorCtr="0" forceAA="0" compatLnSpc="1">
                <a:prstTxWarp prst="textNoShape">
                  <a:avLst/>
                </a:prstTxWarp>
                <a:noAutofit/>
              </a:bodyPr>
              <a:lstStyle/>
              <a:p>
                <a:pPr defTabSz="699220" fontAlgn="base">
                  <a:spcBef>
                    <a:spcPct val="0"/>
                  </a:spcBef>
                  <a:spcAft>
                    <a:spcPct val="0"/>
                  </a:spcAft>
                  <a:defRPr/>
                </a:pPr>
                <a:endParaRPr lang="en-US" sz="1500" kern="0">
                  <a:gradFill>
                    <a:gsLst>
                      <a:gs pos="0">
                        <a:srgbClr val="FFFFFF"/>
                      </a:gs>
                      <a:gs pos="100000">
                        <a:srgbClr val="FFFFFF"/>
                      </a:gs>
                    </a:gsLst>
                    <a:lin ang="5400000" scaled="0"/>
                  </a:gradFill>
                  <a:latin typeface="Segoe UI Semibold"/>
                  <a:ea typeface="Segoe UI" pitchFamily="34" charset="0"/>
                  <a:cs typeface="Segoe UI" pitchFamily="34" charset="0"/>
                </a:endParaRPr>
              </a:p>
            </p:txBody>
          </p:sp>
          <p:sp>
            <p:nvSpPr>
              <p:cNvPr id="31" name="Oval 30">
                <a:extLst>
                  <a:ext uri="{FF2B5EF4-FFF2-40B4-BE49-F238E27FC236}">
                    <a16:creationId xmlns:a16="http://schemas.microsoft.com/office/drawing/2014/main" id="{5B068B6F-083B-4AB8-BABE-0F743BADFF79}"/>
                  </a:ext>
                </a:extLst>
              </p:cNvPr>
              <p:cNvSpPr/>
              <p:nvPr/>
            </p:nvSpPr>
            <p:spPr bwMode="auto">
              <a:xfrm>
                <a:off x="2405503" y="-1208392"/>
                <a:ext cx="230505" cy="230505"/>
              </a:xfrm>
              <a:prstGeom prst="ellipse">
                <a:avLst/>
              </a:prstGeom>
              <a:solidFill>
                <a:srgbClr val="75757A"/>
              </a:solidFill>
              <a:ln w="9525" cap="flat" cmpd="sng" algn="ctr">
                <a:noFill/>
                <a:prstDash val="solid"/>
                <a:headEnd type="none" w="med" len="med"/>
                <a:tailEnd type="none" w="med" len="med"/>
              </a:ln>
              <a:effectLst/>
            </p:spPr>
            <p:txBody>
              <a:bodyPr rot="0" spcFirstLastPara="0" vert="horz" wrap="square" lIns="137141" tIns="109713" rIns="137141" bIns="109713" numCol="1" spcCol="0" rtlCol="0" fromWordArt="0" anchor="t" anchorCtr="0" forceAA="0" compatLnSpc="1">
                <a:prstTxWarp prst="textNoShape">
                  <a:avLst/>
                </a:prstTxWarp>
                <a:noAutofit/>
              </a:bodyPr>
              <a:lstStyle/>
              <a:p>
                <a:pPr defTabSz="699220" fontAlgn="base">
                  <a:spcBef>
                    <a:spcPct val="0"/>
                  </a:spcBef>
                  <a:spcAft>
                    <a:spcPct val="0"/>
                  </a:spcAft>
                  <a:defRPr/>
                </a:pPr>
                <a:endParaRPr lang="en-US" sz="1500" kern="0">
                  <a:gradFill>
                    <a:gsLst>
                      <a:gs pos="0">
                        <a:srgbClr val="FFFFFF"/>
                      </a:gs>
                      <a:gs pos="100000">
                        <a:srgbClr val="FFFFFF"/>
                      </a:gs>
                    </a:gsLst>
                    <a:lin ang="5400000" scaled="0"/>
                  </a:gradFill>
                  <a:latin typeface="Segoe UI Semibold"/>
                  <a:ea typeface="Segoe UI" pitchFamily="34" charset="0"/>
                  <a:cs typeface="Segoe UI" pitchFamily="34" charset="0"/>
                </a:endParaRPr>
              </a:p>
            </p:txBody>
          </p:sp>
          <p:sp>
            <p:nvSpPr>
              <p:cNvPr id="32" name="Oval 31">
                <a:extLst>
                  <a:ext uri="{FF2B5EF4-FFF2-40B4-BE49-F238E27FC236}">
                    <a16:creationId xmlns:a16="http://schemas.microsoft.com/office/drawing/2014/main" id="{AEC4FA3A-BD08-40BD-9FFD-CBC5E6415054}"/>
                  </a:ext>
                </a:extLst>
              </p:cNvPr>
              <p:cNvSpPr/>
              <p:nvPr/>
            </p:nvSpPr>
            <p:spPr bwMode="auto">
              <a:xfrm>
                <a:off x="2816967" y="-1316432"/>
                <a:ext cx="254810" cy="254810"/>
              </a:xfrm>
              <a:prstGeom prst="ellipse">
                <a:avLst/>
              </a:prstGeom>
              <a:solidFill>
                <a:srgbClr val="FFFFFF">
                  <a:lumMod val="75000"/>
                </a:srgbClr>
              </a:solidFill>
              <a:ln w="9525" cap="flat" cmpd="sng" algn="ctr">
                <a:noFill/>
                <a:prstDash val="solid"/>
                <a:headEnd type="none" w="med" len="med"/>
                <a:tailEnd type="none" w="med" len="med"/>
              </a:ln>
              <a:effectLst/>
            </p:spPr>
            <p:txBody>
              <a:bodyPr rot="0" spcFirstLastPara="0" vert="horz" wrap="square" lIns="137141" tIns="109713" rIns="137141" bIns="109713" numCol="1" spcCol="0" rtlCol="0" fromWordArt="0" anchor="t" anchorCtr="0" forceAA="0" compatLnSpc="1">
                <a:prstTxWarp prst="textNoShape">
                  <a:avLst/>
                </a:prstTxWarp>
                <a:noAutofit/>
              </a:bodyPr>
              <a:lstStyle/>
              <a:p>
                <a:pPr defTabSz="699220" fontAlgn="base">
                  <a:spcBef>
                    <a:spcPct val="0"/>
                  </a:spcBef>
                  <a:spcAft>
                    <a:spcPct val="0"/>
                  </a:spcAft>
                  <a:defRPr/>
                </a:pPr>
                <a:endParaRPr lang="en-US" sz="1500" kern="0">
                  <a:gradFill>
                    <a:gsLst>
                      <a:gs pos="0">
                        <a:srgbClr val="FFFFFF"/>
                      </a:gs>
                      <a:gs pos="100000">
                        <a:srgbClr val="FFFFFF"/>
                      </a:gs>
                    </a:gsLst>
                    <a:lin ang="5400000" scaled="0"/>
                  </a:gradFill>
                  <a:latin typeface="Segoe UI Semibold"/>
                  <a:ea typeface="Segoe UI" pitchFamily="34" charset="0"/>
                  <a:cs typeface="Segoe UI" pitchFamily="34" charset="0"/>
                </a:endParaRPr>
              </a:p>
            </p:txBody>
          </p:sp>
          <p:sp>
            <p:nvSpPr>
              <p:cNvPr id="33" name="Oval 32">
                <a:extLst>
                  <a:ext uri="{FF2B5EF4-FFF2-40B4-BE49-F238E27FC236}">
                    <a16:creationId xmlns:a16="http://schemas.microsoft.com/office/drawing/2014/main" id="{C0D68263-BA18-4B07-8BF6-C01055ECA184}"/>
                  </a:ext>
                </a:extLst>
              </p:cNvPr>
              <p:cNvSpPr/>
              <p:nvPr/>
            </p:nvSpPr>
            <p:spPr bwMode="auto">
              <a:xfrm>
                <a:off x="2586395" y="-884572"/>
                <a:ext cx="378358" cy="378358"/>
              </a:xfrm>
              <a:prstGeom prst="ellipse">
                <a:avLst/>
              </a:prstGeom>
              <a:solidFill>
                <a:srgbClr val="FFFFFF">
                  <a:lumMod val="50000"/>
                </a:srgbClr>
              </a:solidFill>
              <a:ln w="9525" cap="flat" cmpd="sng" algn="ctr">
                <a:noFill/>
                <a:prstDash val="solid"/>
                <a:headEnd type="none" w="med" len="med"/>
                <a:tailEnd type="none" w="med" len="med"/>
              </a:ln>
              <a:effectLst/>
            </p:spPr>
            <p:txBody>
              <a:bodyPr rot="0" spcFirstLastPara="0" vert="horz" wrap="square" lIns="137141" tIns="109713" rIns="137141" bIns="109713" numCol="1" spcCol="0" rtlCol="0" fromWordArt="0" anchor="t" anchorCtr="0" forceAA="0" compatLnSpc="1">
                <a:prstTxWarp prst="textNoShape">
                  <a:avLst/>
                </a:prstTxWarp>
                <a:noAutofit/>
              </a:bodyPr>
              <a:lstStyle/>
              <a:p>
                <a:pPr defTabSz="699220" fontAlgn="base">
                  <a:spcBef>
                    <a:spcPct val="0"/>
                  </a:spcBef>
                  <a:spcAft>
                    <a:spcPct val="0"/>
                  </a:spcAft>
                  <a:defRPr/>
                </a:pPr>
                <a:endParaRPr lang="en-US" sz="1500" kern="0">
                  <a:gradFill>
                    <a:gsLst>
                      <a:gs pos="0">
                        <a:srgbClr val="FFFFFF"/>
                      </a:gs>
                      <a:gs pos="100000">
                        <a:srgbClr val="FFFFFF"/>
                      </a:gs>
                    </a:gsLst>
                    <a:lin ang="5400000" scaled="0"/>
                  </a:gradFill>
                  <a:latin typeface="Segoe UI Semibold"/>
                  <a:ea typeface="Segoe UI" pitchFamily="34" charset="0"/>
                  <a:cs typeface="Segoe UI" pitchFamily="34" charset="0"/>
                </a:endParaRPr>
              </a:p>
            </p:txBody>
          </p:sp>
          <p:sp>
            <p:nvSpPr>
              <p:cNvPr id="34" name="Oval 33">
                <a:extLst>
                  <a:ext uri="{FF2B5EF4-FFF2-40B4-BE49-F238E27FC236}">
                    <a16:creationId xmlns:a16="http://schemas.microsoft.com/office/drawing/2014/main" id="{AA9FC847-5871-4067-8452-17237C163CD3}"/>
                  </a:ext>
                </a:extLst>
              </p:cNvPr>
              <p:cNvSpPr/>
              <p:nvPr/>
            </p:nvSpPr>
            <p:spPr bwMode="auto">
              <a:xfrm>
                <a:off x="3104884" y="-984229"/>
                <a:ext cx="378358" cy="378358"/>
              </a:xfrm>
              <a:prstGeom prst="ellipse">
                <a:avLst/>
              </a:prstGeom>
              <a:solidFill>
                <a:srgbClr val="30E5D0"/>
              </a:solidFill>
              <a:ln w="9525" cap="flat" cmpd="sng" algn="ctr">
                <a:noFill/>
                <a:prstDash val="solid"/>
                <a:headEnd type="none" w="med" len="med"/>
                <a:tailEnd type="none" w="med" len="med"/>
              </a:ln>
              <a:effectLst/>
            </p:spPr>
            <p:txBody>
              <a:bodyPr rot="0" spcFirstLastPara="0" vert="horz" wrap="square" lIns="137141" tIns="109713" rIns="137141" bIns="109713" numCol="1" spcCol="0" rtlCol="0" fromWordArt="0" anchor="t" anchorCtr="0" forceAA="0" compatLnSpc="1">
                <a:prstTxWarp prst="textNoShape">
                  <a:avLst/>
                </a:prstTxWarp>
                <a:noAutofit/>
              </a:bodyPr>
              <a:lstStyle/>
              <a:p>
                <a:pPr defTabSz="699220" fontAlgn="base">
                  <a:spcBef>
                    <a:spcPct val="0"/>
                  </a:spcBef>
                  <a:spcAft>
                    <a:spcPct val="0"/>
                  </a:spcAft>
                  <a:defRPr/>
                </a:pPr>
                <a:endParaRPr lang="en-US" sz="1500" kern="0">
                  <a:gradFill>
                    <a:gsLst>
                      <a:gs pos="0">
                        <a:srgbClr val="FFFFFF"/>
                      </a:gs>
                      <a:gs pos="100000">
                        <a:srgbClr val="FFFFFF"/>
                      </a:gs>
                    </a:gsLst>
                    <a:lin ang="5400000" scaled="0"/>
                  </a:gradFill>
                  <a:latin typeface="Segoe UI Semibold"/>
                  <a:ea typeface="Segoe UI" pitchFamily="34" charset="0"/>
                  <a:cs typeface="Segoe UI" pitchFamily="34" charset="0"/>
                </a:endParaRPr>
              </a:p>
            </p:txBody>
          </p:sp>
        </p:grpSp>
        <p:sp>
          <p:nvSpPr>
            <p:cNvPr id="28" name="AI &amp; ML">
              <a:extLst>
                <a:ext uri="{FF2B5EF4-FFF2-40B4-BE49-F238E27FC236}">
                  <a16:creationId xmlns:a16="http://schemas.microsoft.com/office/drawing/2014/main" id="{5626B2F5-A7E1-4D65-94FB-AEF496C71800}"/>
                </a:ext>
              </a:extLst>
            </p:cNvPr>
            <p:cNvSpPr txBox="1"/>
            <p:nvPr/>
          </p:nvSpPr>
          <p:spPr>
            <a:xfrm>
              <a:off x="7633684" y="4360741"/>
              <a:ext cx="680112" cy="166223"/>
            </a:xfrm>
            <a:prstGeom prst="rect">
              <a:avLst/>
            </a:prstGeom>
            <a:noFill/>
          </p:spPr>
          <p:txBody>
            <a:bodyPr wrap="none" lIns="0" tIns="0" rIns="0" bIns="0" rtlCol="0">
              <a:spAutoFit/>
            </a:bodyPr>
            <a:lstStyle/>
            <a:p>
              <a:pPr algn="ctr" defTabSz="685175">
                <a:lnSpc>
                  <a:spcPct val="90000"/>
                </a:lnSpc>
                <a:spcBef>
                  <a:spcPct val="0"/>
                </a:spcBef>
                <a:spcAft>
                  <a:spcPts val="441"/>
                </a:spcAft>
                <a:defRPr/>
              </a:pPr>
              <a:r>
                <a:rPr lang="en-US" sz="900" kern="0" spc="-22">
                  <a:solidFill>
                    <a:srgbClr val="3C3C41"/>
                  </a:solidFill>
                  <a:latin typeface="Segoe UI Semibold"/>
                  <a:cs typeface="Segoe UI" panose="020B0502040204020203" pitchFamily="34" charset="0"/>
                </a:rPr>
                <a:t>AI and ML</a:t>
              </a:r>
            </a:p>
          </p:txBody>
        </p:sp>
      </p:grpSp>
      <p:sp>
        <p:nvSpPr>
          <p:cNvPr id="420" name="Title 1">
            <a:extLst>
              <a:ext uri="{FF2B5EF4-FFF2-40B4-BE49-F238E27FC236}">
                <a16:creationId xmlns:a16="http://schemas.microsoft.com/office/drawing/2014/main" id="{6BE6983F-45B0-4990-91AB-8CB2BA58D8E3}"/>
              </a:ext>
            </a:extLst>
          </p:cNvPr>
          <p:cNvSpPr txBox="1">
            <a:spLocks/>
          </p:cNvSpPr>
          <p:nvPr/>
        </p:nvSpPr>
        <p:spPr>
          <a:xfrm>
            <a:off x="366149" y="354016"/>
            <a:ext cx="8478649" cy="610278"/>
          </a:xfrm>
          <a:prstGeom prst="rect">
            <a:avLst/>
          </a:prstGeom>
        </p:spPr>
        <p:txBody>
          <a:bodyPr vert="horz" wrap="square" lIns="0" tIns="68570" rIns="109713" bIns="68570" rtlCol="0" anchor="t">
            <a:noAutofit/>
          </a:bodyPr>
          <a:lstStyle>
            <a:lvl1pPr defTabSz="914192">
              <a:lnSpc>
                <a:spcPct val="90000"/>
              </a:lnSpc>
              <a:spcBef>
                <a:spcPct val="0"/>
              </a:spcBef>
              <a:buNone/>
              <a:defRPr lang="en-US" sz="2800" b="0" cap="none" spc="-49" baseline="0" dirty="0" smtClean="0">
                <a:ln w="3175">
                  <a:noFill/>
                </a:ln>
                <a:effectLst/>
                <a:latin typeface="+mj-lt"/>
                <a:cs typeface="Segoe UI" pitchFamily="34" charset="0"/>
              </a:defRPr>
            </a:lvl1pPr>
          </a:lstStyle>
          <a:p>
            <a:pPr defTabSz="685512">
              <a:defRPr/>
            </a:pPr>
            <a:endParaRPr lang="en-US" sz="2100" spc="-37">
              <a:solidFill>
                <a:srgbClr val="3C3C41"/>
              </a:solidFill>
              <a:latin typeface="Segoe UI Semibold"/>
            </a:endParaRPr>
          </a:p>
        </p:txBody>
      </p:sp>
      <p:sp>
        <p:nvSpPr>
          <p:cNvPr id="6" name="Action">
            <a:extLst>
              <a:ext uri="{FF2B5EF4-FFF2-40B4-BE49-F238E27FC236}">
                <a16:creationId xmlns:a16="http://schemas.microsoft.com/office/drawing/2014/main" id="{6BE168BE-254E-4981-90D2-E62886D4DB57}"/>
              </a:ext>
            </a:extLst>
          </p:cNvPr>
          <p:cNvSpPr txBox="1"/>
          <p:nvPr/>
        </p:nvSpPr>
        <p:spPr>
          <a:xfrm>
            <a:off x="7569436" y="4481503"/>
            <a:ext cx="642296" cy="207749"/>
          </a:xfrm>
          <a:prstGeom prst="rect">
            <a:avLst/>
          </a:prstGeom>
          <a:solidFill>
            <a:schemeClr val="bg1"/>
          </a:solidFill>
        </p:spPr>
        <p:txBody>
          <a:bodyPr wrap="square" lIns="0" tIns="0" rIns="0" bIns="0" rtlCol="0">
            <a:spAutoFit/>
          </a:bodyPr>
          <a:lstStyle>
            <a:defPPr>
              <a:defRPr lang="en-US"/>
            </a:defPPr>
            <a:lvl1pPr marR="0" lvl="0" indent="0" algn="ctr" fontAlgn="auto">
              <a:lnSpc>
                <a:spcPct val="100000"/>
              </a:lnSpc>
              <a:spcBef>
                <a:spcPts val="0"/>
              </a:spcBef>
              <a:spcAft>
                <a:spcPts val="0"/>
              </a:spcAft>
              <a:buClrTx/>
              <a:buSzTx/>
              <a:buFontTx/>
              <a:buNone/>
              <a:tabLst/>
              <a:defRPr kumimoji="0" sz="1000" b="0" i="0" u="none" strike="noStrike" kern="0" cap="none" spc="0" normalizeH="0" baseline="0">
                <a:ln>
                  <a:noFill/>
                </a:ln>
                <a:effectLst/>
                <a:uLnTx/>
                <a:uFillTx/>
                <a:latin typeface="Segoe UI Semibold"/>
                <a:cs typeface="Segoe UI Light" panose="020B0502040204020203" pitchFamily="34" charset="0"/>
              </a:defRPr>
            </a:lvl1pPr>
          </a:lstStyle>
          <a:p>
            <a:pPr defTabSz="685406">
              <a:defRPr/>
            </a:pPr>
            <a:r>
              <a:rPr lang="en-US" sz="1350">
                <a:solidFill>
                  <a:srgbClr val="0047BB"/>
                </a:solidFill>
              </a:rPr>
              <a:t>Action</a:t>
            </a:r>
            <a:endParaRPr lang="en-US" sz="825">
              <a:solidFill>
                <a:srgbClr val="0047BB"/>
              </a:solidFill>
            </a:endParaRPr>
          </a:p>
        </p:txBody>
      </p:sp>
      <p:grpSp>
        <p:nvGrpSpPr>
          <p:cNvPr id="56" name="Group 4">
            <a:extLst>
              <a:ext uri="{FF2B5EF4-FFF2-40B4-BE49-F238E27FC236}">
                <a16:creationId xmlns:a16="http://schemas.microsoft.com/office/drawing/2014/main" id="{BE89E837-2009-43A7-B098-7E874E1A445E}"/>
              </a:ext>
            </a:extLst>
          </p:cNvPr>
          <p:cNvGrpSpPr>
            <a:grpSpLocks noChangeAspect="1"/>
          </p:cNvGrpSpPr>
          <p:nvPr/>
        </p:nvGrpSpPr>
        <p:grpSpPr bwMode="auto">
          <a:xfrm>
            <a:off x="799279" y="3241999"/>
            <a:ext cx="335297" cy="567308"/>
            <a:chOff x="3616" y="1780"/>
            <a:chExt cx="448" cy="758"/>
          </a:xfrm>
        </p:grpSpPr>
        <p:sp>
          <p:nvSpPr>
            <p:cNvPr id="58" name="Freeform 5">
              <a:extLst>
                <a:ext uri="{FF2B5EF4-FFF2-40B4-BE49-F238E27FC236}">
                  <a16:creationId xmlns:a16="http://schemas.microsoft.com/office/drawing/2014/main" id="{4407A539-B6A7-4DAA-9D4B-197954564C9F}"/>
                </a:ext>
              </a:extLst>
            </p:cNvPr>
            <p:cNvSpPr>
              <a:spLocks/>
            </p:cNvSpPr>
            <p:nvPr/>
          </p:nvSpPr>
          <p:spPr bwMode="auto">
            <a:xfrm>
              <a:off x="3616" y="1780"/>
              <a:ext cx="448" cy="758"/>
            </a:xfrm>
            <a:custGeom>
              <a:avLst/>
              <a:gdLst>
                <a:gd name="T0" fmla="*/ 289 w 328"/>
                <a:gd name="T1" fmla="*/ 558 h 558"/>
                <a:gd name="T2" fmla="*/ 40 w 328"/>
                <a:gd name="T3" fmla="*/ 558 h 558"/>
                <a:gd name="T4" fmla="*/ 0 w 328"/>
                <a:gd name="T5" fmla="*/ 518 h 558"/>
                <a:gd name="T6" fmla="*/ 0 w 328"/>
                <a:gd name="T7" fmla="*/ 39 h 558"/>
                <a:gd name="T8" fmla="*/ 40 w 328"/>
                <a:gd name="T9" fmla="*/ 0 h 558"/>
                <a:gd name="T10" fmla="*/ 289 w 328"/>
                <a:gd name="T11" fmla="*/ 0 h 558"/>
                <a:gd name="T12" fmla="*/ 328 w 328"/>
                <a:gd name="T13" fmla="*/ 39 h 558"/>
                <a:gd name="T14" fmla="*/ 328 w 328"/>
                <a:gd name="T15" fmla="*/ 518 h 558"/>
                <a:gd name="T16" fmla="*/ 289 w 328"/>
                <a:gd name="T17" fmla="*/ 558 h 5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8" h="558">
                  <a:moveTo>
                    <a:pt x="289" y="558"/>
                  </a:moveTo>
                  <a:cubicBezTo>
                    <a:pt x="40" y="558"/>
                    <a:pt x="40" y="558"/>
                    <a:pt x="40" y="558"/>
                  </a:cubicBezTo>
                  <a:cubicBezTo>
                    <a:pt x="18" y="558"/>
                    <a:pt x="0" y="540"/>
                    <a:pt x="0" y="518"/>
                  </a:cubicBezTo>
                  <a:cubicBezTo>
                    <a:pt x="0" y="39"/>
                    <a:pt x="0" y="39"/>
                    <a:pt x="0" y="39"/>
                  </a:cubicBezTo>
                  <a:cubicBezTo>
                    <a:pt x="0" y="17"/>
                    <a:pt x="18" y="0"/>
                    <a:pt x="40" y="0"/>
                  </a:cubicBezTo>
                  <a:cubicBezTo>
                    <a:pt x="289" y="0"/>
                    <a:pt x="289" y="0"/>
                    <a:pt x="289" y="0"/>
                  </a:cubicBezTo>
                  <a:cubicBezTo>
                    <a:pt x="311" y="0"/>
                    <a:pt x="328" y="17"/>
                    <a:pt x="328" y="39"/>
                  </a:cubicBezTo>
                  <a:cubicBezTo>
                    <a:pt x="328" y="518"/>
                    <a:pt x="328" y="518"/>
                    <a:pt x="328" y="518"/>
                  </a:cubicBezTo>
                  <a:cubicBezTo>
                    <a:pt x="328" y="540"/>
                    <a:pt x="311" y="558"/>
                    <a:pt x="289" y="558"/>
                  </a:cubicBezTo>
                  <a:close/>
                </a:path>
              </a:pathLst>
            </a:custGeom>
            <a:solidFill>
              <a:srgbClr val="3C3C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85669">
                <a:defRPr/>
              </a:pPr>
              <a:endParaRPr lang="en-IN" sz="1350">
                <a:solidFill>
                  <a:srgbClr val="3C3C41"/>
                </a:solidFill>
                <a:latin typeface="Segoe UI"/>
              </a:endParaRPr>
            </a:p>
          </p:txBody>
        </p:sp>
        <p:sp>
          <p:nvSpPr>
            <p:cNvPr id="59" name="Rectangle 6">
              <a:extLst>
                <a:ext uri="{FF2B5EF4-FFF2-40B4-BE49-F238E27FC236}">
                  <a16:creationId xmlns:a16="http://schemas.microsoft.com/office/drawing/2014/main" id="{33403416-37E5-4F01-BFEE-2E9843F7CA36}"/>
                </a:ext>
              </a:extLst>
            </p:cNvPr>
            <p:cNvSpPr>
              <a:spLocks noChangeArrowheads="1"/>
            </p:cNvSpPr>
            <p:nvPr/>
          </p:nvSpPr>
          <p:spPr bwMode="auto">
            <a:xfrm>
              <a:off x="3687" y="1873"/>
              <a:ext cx="307" cy="41"/>
            </a:xfrm>
            <a:prstGeom prst="rect">
              <a:avLst/>
            </a:prstGeom>
            <a:solidFill>
              <a:srgbClr val="30E5D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0" tIns="34285" rIns="68570" bIns="34285" numCol="1" anchor="t" anchorCtr="0" compatLnSpc="1">
              <a:prstTxWarp prst="textNoShape">
                <a:avLst/>
              </a:prstTxWarp>
            </a:bodyPr>
            <a:lstStyle/>
            <a:p>
              <a:pPr defTabSz="685669">
                <a:defRPr/>
              </a:pPr>
              <a:endParaRPr lang="en-IN" sz="1350">
                <a:solidFill>
                  <a:srgbClr val="3C3C41"/>
                </a:solidFill>
                <a:latin typeface="Segoe UI"/>
              </a:endParaRPr>
            </a:p>
          </p:txBody>
        </p:sp>
        <p:sp>
          <p:nvSpPr>
            <p:cNvPr id="60" name="Rectangle 7">
              <a:extLst>
                <a:ext uri="{FF2B5EF4-FFF2-40B4-BE49-F238E27FC236}">
                  <a16:creationId xmlns:a16="http://schemas.microsoft.com/office/drawing/2014/main" id="{27873BBB-FFD4-4B59-A228-CBCC4D85E15D}"/>
                </a:ext>
              </a:extLst>
            </p:cNvPr>
            <p:cNvSpPr>
              <a:spLocks noChangeArrowheads="1"/>
            </p:cNvSpPr>
            <p:nvPr/>
          </p:nvSpPr>
          <p:spPr bwMode="auto">
            <a:xfrm>
              <a:off x="3687" y="1958"/>
              <a:ext cx="307" cy="42"/>
            </a:xfrm>
            <a:prstGeom prst="rect">
              <a:avLst/>
            </a:prstGeom>
            <a:solidFill>
              <a:srgbClr val="30E5D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0" tIns="34285" rIns="68570" bIns="34285" numCol="1" anchor="t" anchorCtr="0" compatLnSpc="1">
              <a:prstTxWarp prst="textNoShape">
                <a:avLst/>
              </a:prstTxWarp>
            </a:bodyPr>
            <a:lstStyle/>
            <a:p>
              <a:pPr defTabSz="685669">
                <a:defRPr/>
              </a:pPr>
              <a:endParaRPr lang="en-IN" sz="1350">
                <a:solidFill>
                  <a:srgbClr val="3C3C41"/>
                </a:solidFill>
                <a:latin typeface="Segoe UI"/>
              </a:endParaRPr>
            </a:p>
          </p:txBody>
        </p:sp>
        <p:sp>
          <p:nvSpPr>
            <p:cNvPr id="61" name="Rectangle 8">
              <a:extLst>
                <a:ext uri="{FF2B5EF4-FFF2-40B4-BE49-F238E27FC236}">
                  <a16:creationId xmlns:a16="http://schemas.microsoft.com/office/drawing/2014/main" id="{4C5C0CF1-739F-4F68-8959-E28DB4E686EA}"/>
                </a:ext>
              </a:extLst>
            </p:cNvPr>
            <p:cNvSpPr>
              <a:spLocks noChangeArrowheads="1"/>
            </p:cNvSpPr>
            <p:nvPr/>
          </p:nvSpPr>
          <p:spPr bwMode="auto">
            <a:xfrm>
              <a:off x="3687" y="2043"/>
              <a:ext cx="307" cy="42"/>
            </a:xfrm>
            <a:prstGeom prst="rect">
              <a:avLst/>
            </a:prstGeom>
            <a:solidFill>
              <a:srgbClr val="30E5D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0" tIns="34285" rIns="68570" bIns="34285" numCol="1" anchor="t" anchorCtr="0" compatLnSpc="1">
              <a:prstTxWarp prst="textNoShape">
                <a:avLst/>
              </a:prstTxWarp>
            </a:bodyPr>
            <a:lstStyle/>
            <a:p>
              <a:pPr defTabSz="685669">
                <a:defRPr/>
              </a:pPr>
              <a:endParaRPr lang="en-IN" sz="1350">
                <a:solidFill>
                  <a:srgbClr val="3C3C41"/>
                </a:solidFill>
                <a:latin typeface="Segoe UI"/>
              </a:endParaRPr>
            </a:p>
          </p:txBody>
        </p:sp>
        <p:sp>
          <p:nvSpPr>
            <p:cNvPr id="62" name="Rectangle 9">
              <a:extLst>
                <a:ext uri="{FF2B5EF4-FFF2-40B4-BE49-F238E27FC236}">
                  <a16:creationId xmlns:a16="http://schemas.microsoft.com/office/drawing/2014/main" id="{9CB7C9DF-5AAF-4E95-A0D4-17BF2983E8E3}"/>
                </a:ext>
              </a:extLst>
            </p:cNvPr>
            <p:cNvSpPr>
              <a:spLocks noChangeArrowheads="1"/>
            </p:cNvSpPr>
            <p:nvPr/>
          </p:nvSpPr>
          <p:spPr bwMode="auto">
            <a:xfrm>
              <a:off x="3687" y="2129"/>
              <a:ext cx="307" cy="41"/>
            </a:xfrm>
            <a:prstGeom prst="rect">
              <a:avLst/>
            </a:prstGeom>
            <a:solidFill>
              <a:srgbClr val="30E5D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0" tIns="34285" rIns="68570" bIns="34285" numCol="1" anchor="t" anchorCtr="0" compatLnSpc="1">
              <a:prstTxWarp prst="textNoShape">
                <a:avLst/>
              </a:prstTxWarp>
            </a:bodyPr>
            <a:lstStyle/>
            <a:p>
              <a:pPr defTabSz="685669">
                <a:defRPr/>
              </a:pPr>
              <a:endParaRPr lang="en-IN" sz="1350">
                <a:solidFill>
                  <a:srgbClr val="3C3C41"/>
                </a:solidFill>
                <a:latin typeface="Segoe UI"/>
              </a:endParaRPr>
            </a:p>
          </p:txBody>
        </p:sp>
        <p:sp>
          <p:nvSpPr>
            <p:cNvPr id="63" name="Oval 10">
              <a:extLst>
                <a:ext uri="{FF2B5EF4-FFF2-40B4-BE49-F238E27FC236}">
                  <a16:creationId xmlns:a16="http://schemas.microsoft.com/office/drawing/2014/main" id="{5CB395E6-53F4-4084-972E-F3E87602AC4A}"/>
                </a:ext>
              </a:extLst>
            </p:cNvPr>
            <p:cNvSpPr>
              <a:spLocks noChangeArrowheads="1"/>
            </p:cNvSpPr>
            <p:nvPr/>
          </p:nvSpPr>
          <p:spPr bwMode="auto">
            <a:xfrm>
              <a:off x="3800" y="2233"/>
              <a:ext cx="80" cy="79"/>
            </a:xfrm>
            <a:prstGeom prst="ellipse">
              <a:avLst/>
            </a:prstGeom>
            <a:solidFill>
              <a:srgbClr val="30E5D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85669">
                <a:defRPr/>
              </a:pPr>
              <a:endParaRPr lang="en-IN" sz="1350">
                <a:solidFill>
                  <a:srgbClr val="3C3C41"/>
                </a:solidFill>
                <a:latin typeface="Segoe UI"/>
              </a:endParaRPr>
            </a:p>
          </p:txBody>
        </p:sp>
      </p:grpSp>
      <p:grpSp>
        <p:nvGrpSpPr>
          <p:cNvPr id="133" name="Group 132">
            <a:extLst>
              <a:ext uri="{FF2B5EF4-FFF2-40B4-BE49-F238E27FC236}">
                <a16:creationId xmlns:a16="http://schemas.microsoft.com/office/drawing/2014/main" id="{7331627B-DD62-4824-80B3-DF395448D788}"/>
              </a:ext>
            </a:extLst>
          </p:cNvPr>
          <p:cNvGrpSpPr/>
          <p:nvPr/>
        </p:nvGrpSpPr>
        <p:grpSpPr>
          <a:xfrm>
            <a:off x="654250" y="1426444"/>
            <a:ext cx="668210" cy="349983"/>
            <a:chOff x="564156" y="1793882"/>
            <a:chExt cx="1448794" cy="758825"/>
          </a:xfrm>
        </p:grpSpPr>
        <p:sp>
          <p:nvSpPr>
            <p:cNvPr id="132" name="Freeform 14">
              <a:extLst>
                <a:ext uri="{FF2B5EF4-FFF2-40B4-BE49-F238E27FC236}">
                  <a16:creationId xmlns:a16="http://schemas.microsoft.com/office/drawing/2014/main" id="{1D96173A-46DF-4452-89E3-80F43E55345B}"/>
                </a:ext>
              </a:extLst>
            </p:cNvPr>
            <p:cNvSpPr>
              <a:spLocks/>
            </p:cNvSpPr>
            <p:nvPr/>
          </p:nvSpPr>
          <p:spPr bwMode="auto">
            <a:xfrm>
              <a:off x="1062038" y="1802107"/>
              <a:ext cx="950912" cy="591844"/>
            </a:xfrm>
            <a:custGeom>
              <a:avLst/>
              <a:gdLst>
                <a:gd name="T0" fmla="*/ 519 w 564"/>
                <a:gd name="T1" fmla="*/ 243 h 351"/>
                <a:gd name="T2" fmla="*/ 461 w 564"/>
                <a:gd name="T3" fmla="*/ 179 h 351"/>
                <a:gd name="T4" fmla="*/ 461 w 564"/>
                <a:gd name="T5" fmla="*/ 175 h 351"/>
                <a:gd name="T6" fmla="*/ 285 w 564"/>
                <a:gd name="T7" fmla="*/ 0 h 351"/>
                <a:gd name="T8" fmla="*/ 114 w 564"/>
                <a:gd name="T9" fmla="*/ 133 h 351"/>
                <a:gd name="T10" fmla="*/ 109 w 564"/>
                <a:gd name="T11" fmla="*/ 133 h 351"/>
                <a:gd name="T12" fmla="*/ 0 w 564"/>
                <a:gd name="T13" fmla="*/ 242 h 351"/>
                <a:gd name="T14" fmla="*/ 109 w 564"/>
                <a:gd name="T15" fmla="*/ 351 h 351"/>
                <a:gd name="T16" fmla="*/ 510 w 564"/>
                <a:gd name="T17" fmla="*/ 351 h 351"/>
                <a:gd name="T18" fmla="*/ 564 w 564"/>
                <a:gd name="T19" fmla="*/ 297 h 351"/>
                <a:gd name="T20" fmla="*/ 519 w 564"/>
                <a:gd name="T21" fmla="*/ 243 h 3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64" h="351">
                  <a:moveTo>
                    <a:pt x="519" y="243"/>
                  </a:moveTo>
                  <a:cubicBezTo>
                    <a:pt x="513" y="213"/>
                    <a:pt x="490" y="189"/>
                    <a:pt x="461" y="179"/>
                  </a:cubicBezTo>
                  <a:cubicBezTo>
                    <a:pt x="461" y="178"/>
                    <a:pt x="461" y="177"/>
                    <a:pt x="461" y="175"/>
                  </a:cubicBezTo>
                  <a:cubicBezTo>
                    <a:pt x="461" y="78"/>
                    <a:pt x="382" y="0"/>
                    <a:pt x="285" y="0"/>
                  </a:cubicBezTo>
                  <a:cubicBezTo>
                    <a:pt x="203" y="0"/>
                    <a:pt x="133" y="57"/>
                    <a:pt x="114" y="133"/>
                  </a:cubicBezTo>
                  <a:cubicBezTo>
                    <a:pt x="113" y="133"/>
                    <a:pt x="111" y="133"/>
                    <a:pt x="109" y="133"/>
                  </a:cubicBezTo>
                  <a:cubicBezTo>
                    <a:pt x="49" y="133"/>
                    <a:pt x="0" y="182"/>
                    <a:pt x="0" y="242"/>
                  </a:cubicBezTo>
                  <a:cubicBezTo>
                    <a:pt x="0" y="302"/>
                    <a:pt x="49" y="351"/>
                    <a:pt x="109" y="351"/>
                  </a:cubicBezTo>
                  <a:cubicBezTo>
                    <a:pt x="510" y="351"/>
                    <a:pt x="510" y="351"/>
                    <a:pt x="510" y="351"/>
                  </a:cubicBezTo>
                  <a:cubicBezTo>
                    <a:pt x="540" y="351"/>
                    <a:pt x="564" y="327"/>
                    <a:pt x="564" y="297"/>
                  </a:cubicBezTo>
                  <a:cubicBezTo>
                    <a:pt x="564" y="270"/>
                    <a:pt x="545" y="248"/>
                    <a:pt x="519" y="243"/>
                  </a:cubicBezTo>
                  <a:close/>
                </a:path>
              </a:pathLst>
            </a:custGeom>
            <a:solidFill>
              <a:srgbClr val="30E5D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85669">
                <a:defRPr/>
              </a:pPr>
              <a:endParaRPr lang="en-IN" sz="1350">
                <a:solidFill>
                  <a:srgbClr val="3C3C41"/>
                </a:solidFill>
                <a:latin typeface="Segoe UI"/>
              </a:endParaRPr>
            </a:p>
          </p:txBody>
        </p:sp>
        <p:sp>
          <p:nvSpPr>
            <p:cNvPr id="233" name="Freeform 14">
              <a:extLst>
                <a:ext uri="{FF2B5EF4-FFF2-40B4-BE49-F238E27FC236}">
                  <a16:creationId xmlns:a16="http://schemas.microsoft.com/office/drawing/2014/main" id="{044E170F-D7E4-4EAE-970F-DC5FE9928626}"/>
                </a:ext>
              </a:extLst>
            </p:cNvPr>
            <p:cNvSpPr>
              <a:spLocks/>
            </p:cNvSpPr>
            <p:nvPr/>
          </p:nvSpPr>
          <p:spPr bwMode="auto">
            <a:xfrm>
              <a:off x="564156" y="1793882"/>
              <a:ext cx="1219200" cy="758825"/>
            </a:xfrm>
            <a:custGeom>
              <a:avLst/>
              <a:gdLst>
                <a:gd name="T0" fmla="*/ 519 w 564"/>
                <a:gd name="T1" fmla="*/ 243 h 351"/>
                <a:gd name="T2" fmla="*/ 461 w 564"/>
                <a:gd name="T3" fmla="*/ 179 h 351"/>
                <a:gd name="T4" fmla="*/ 461 w 564"/>
                <a:gd name="T5" fmla="*/ 175 h 351"/>
                <a:gd name="T6" fmla="*/ 285 w 564"/>
                <a:gd name="T7" fmla="*/ 0 h 351"/>
                <a:gd name="T8" fmla="*/ 114 w 564"/>
                <a:gd name="T9" fmla="*/ 133 h 351"/>
                <a:gd name="T10" fmla="*/ 109 w 564"/>
                <a:gd name="T11" fmla="*/ 133 h 351"/>
                <a:gd name="T12" fmla="*/ 0 w 564"/>
                <a:gd name="T13" fmla="*/ 242 h 351"/>
                <a:gd name="T14" fmla="*/ 109 w 564"/>
                <a:gd name="T15" fmla="*/ 351 h 351"/>
                <a:gd name="T16" fmla="*/ 510 w 564"/>
                <a:gd name="T17" fmla="*/ 351 h 351"/>
                <a:gd name="T18" fmla="*/ 564 w 564"/>
                <a:gd name="T19" fmla="*/ 297 h 351"/>
                <a:gd name="T20" fmla="*/ 519 w 564"/>
                <a:gd name="T21" fmla="*/ 243 h 3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64" h="351">
                  <a:moveTo>
                    <a:pt x="519" y="243"/>
                  </a:moveTo>
                  <a:cubicBezTo>
                    <a:pt x="513" y="213"/>
                    <a:pt x="490" y="189"/>
                    <a:pt x="461" y="179"/>
                  </a:cubicBezTo>
                  <a:cubicBezTo>
                    <a:pt x="461" y="178"/>
                    <a:pt x="461" y="177"/>
                    <a:pt x="461" y="175"/>
                  </a:cubicBezTo>
                  <a:cubicBezTo>
                    <a:pt x="461" y="78"/>
                    <a:pt x="382" y="0"/>
                    <a:pt x="285" y="0"/>
                  </a:cubicBezTo>
                  <a:cubicBezTo>
                    <a:pt x="203" y="0"/>
                    <a:pt x="133" y="57"/>
                    <a:pt x="114" y="133"/>
                  </a:cubicBezTo>
                  <a:cubicBezTo>
                    <a:pt x="113" y="133"/>
                    <a:pt x="111" y="133"/>
                    <a:pt x="109" y="133"/>
                  </a:cubicBezTo>
                  <a:cubicBezTo>
                    <a:pt x="49" y="133"/>
                    <a:pt x="0" y="182"/>
                    <a:pt x="0" y="242"/>
                  </a:cubicBezTo>
                  <a:cubicBezTo>
                    <a:pt x="0" y="302"/>
                    <a:pt x="49" y="351"/>
                    <a:pt x="109" y="351"/>
                  </a:cubicBezTo>
                  <a:cubicBezTo>
                    <a:pt x="510" y="351"/>
                    <a:pt x="510" y="351"/>
                    <a:pt x="510" y="351"/>
                  </a:cubicBezTo>
                  <a:cubicBezTo>
                    <a:pt x="540" y="351"/>
                    <a:pt x="564" y="327"/>
                    <a:pt x="564" y="297"/>
                  </a:cubicBezTo>
                  <a:cubicBezTo>
                    <a:pt x="564" y="270"/>
                    <a:pt x="545" y="248"/>
                    <a:pt x="519" y="243"/>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85669">
                <a:defRPr/>
              </a:pPr>
              <a:endParaRPr lang="en-IN" sz="1350">
                <a:solidFill>
                  <a:srgbClr val="3C3C41"/>
                </a:solidFill>
                <a:latin typeface="Segoe UI"/>
              </a:endParaRPr>
            </a:p>
          </p:txBody>
        </p:sp>
      </p:grpSp>
      <p:sp>
        <p:nvSpPr>
          <p:cNvPr id="3" name="Rectangle 2">
            <a:extLst>
              <a:ext uri="{FF2B5EF4-FFF2-40B4-BE49-F238E27FC236}">
                <a16:creationId xmlns:a16="http://schemas.microsoft.com/office/drawing/2014/main" id="{1529C0B3-F85F-438F-9A7C-F04CCB838143}"/>
              </a:ext>
            </a:extLst>
          </p:cNvPr>
          <p:cNvSpPr/>
          <p:nvPr/>
        </p:nvSpPr>
        <p:spPr>
          <a:xfrm>
            <a:off x="790596" y="3833300"/>
            <a:ext cx="352662" cy="121252"/>
          </a:xfrm>
          <a:prstGeom prst="rect">
            <a:avLst/>
          </a:prstGeom>
        </p:spPr>
        <p:txBody>
          <a:bodyPr wrap="none" lIns="0" tIns="0" rIns="0" bIns="0">
            <a:spAutoFit/>
          </a:bodyPr>
          <a:lstStyle/>
          <a:p>
            <a:pPr algn="ctr" defTabSz="685669">
              <a:defRPr/>
            </a:pPr>
            <a:r>
              <a:rPr lang="en-US" sz="788">
                <a:solidFill>
                  <a:srgbClr val="3C3C41"/>
                </a:solidFill>
                <a:latin typeface="Segoe UI Semibold"/>
              </a:rPr>
              <a:t>Internal</a:t>
            </a:r>
            <a:endParaRPr lang="en-IN" sz="788">
              <a:solidFill>
                <a:srgbClr val="3C3C41"/>
              </a:solidFill>
              <a:latin typeface="Segoe UI Semibold"/>
            </a:endParaRPr>
          </a:p>
        </p:txBody>
      </p:sp>
      <p:sp>
        <p:nvSpPr>
          <p:cNvPr id="227" name="Rectangle 226">
            <a:extLst>
              <a:ext uri="{FF2B5EF4-FFF2-40B4-BE49-F238E27FC236}">
                <a16:creationId xmlns:a16="http://schemas.microsoft.com/office/drawing/2014/main" id="{E267BD3F-797E-46E8-871C-9D1DA42EB59F}"/>
              </a:ext>
            </a:extLst>
          </p:cNvPr>
          <p:cNvSpPr/>
          <p:nvPr/>
        </p:nvSpPr>
        <p:spPr>
          <a:xfrm>
            <a:off x="782582" y="1267286"/>
            <a:ext cx="368691" cy="121252"/>
          </a:xfrm>
          <a:prstGeom prst="rect">
            <a:avLst/>
          </a:prstGeom>
        </p:spPr>
        <p:txBody>
          <a:bodyPr wrap="none" lIns="0" tIns="0" rIns="0" bIns="0">
            <a:spAutoFit/>
          </a:bodyPr>
          <a:lstStyle/>
          <a:p>
            <a:pPr algn="ctr" defTabSz="685669">
              <a:defRPr/>
            </a:pPr>
            <a:r>
              <a:rPr lang="en-US" sz="788">
                <a:solidFill>
                  <a:srgbClr val="3C3C41"/>
                </a:solidFill>
                <a:latin typeface="Segoe UI Semibold"/>
              </a:rPr>
              <a:t>External</a:t>
            </a:r>
            <a:endParaRPr lang="en-IN" sz="788">
              <a:solidFill>
                <a:srgbClr val="3C3C41"/>
              </a:solidFill>
              <a:latin typeface="Segoe UI Semibold"/>
            </a:endParaRPr>
          </a:p>
        </p:txBody>
      </p:sp>
      <p:sp>
        <p:nvSpPr>
          <p:cNvPr id="231" name="TextBox 230">
            <a:extLst>
              <a:ext uri="{FF2B5EF4-FFF2-40B4-BE49-F238E27FC236}">
                <a16:creationId xmlns:a16="http://schemas.microsoft.com/office/drawing/2014/main" id="{DA73AE89-02EC-4317-96BA-ED4FB6F1584F}"/>
              </a:ext>
            </a:extLst>
          </p:cNvPr>
          <p:cNvSpPr txBox="1"/>
          <p:nvPr/>
        </p:nvSpPr>
        <p:spPr>
          <a:xfrm rot="16200000">
            <a:off x="1264076" y="2149222"/>
            <a:ext cx="1410635" cy="770532"/>
          </a:xfrm>
          <a:prstGeom prst="rect">
            <a:avLst/>
          </a:prstGeom>
          <a:solidFill>
            <a:schemeClr val="bg1"/>
          </a:solidFill>
          <a:ln>
            <a:noFill/>
          </a:ln>
        </p:spPr>
        <p:txBody>
          <a:bodyPr wrap="none" lIns="20571" tIns="68570" rIns="20571" bIns="20571" rtlCol="0" anchor="t">
            <a:noAutofit/>
          </a:bodyPr>
          <a:lstStyle/>
          <a:p>
            <a:pPr algn="ctr" defTabSz="685175">
              <a:lnSpc>
                <a:spcPct val="90000"/>
              </a:lnSpc>
              <a:spcBef>
                <a:spcPct val="0"/>
              </a:spcBef>
              <a:spcAft>
                <a:spcPts val="441"/>
              </a:spcAft>
              <a:defRPr/>
            </a:pPr>
            <a:r>
              <a:rPr lang="en-US" sz="1050" b="1" kern="0" spc="225">
                <a:solidFill>
                  <a:srgbClr val="3C3C41"/>
                </a:solidFill>
                <a:latin typeface="Segoe UI Semibold" panose="020B0502040204020203" pitchFamily="34" charset="0"/>
                <a:cs typeface="Segoe UI Semibold" panose="020B0502040204020203" pitchFamily="34" charset="0"/>
              </a:rPr>
              <a:t>CONNECTORS</a:t>
            </a:r>
          </a:p>
        </p:txBody>
      </p:sp>
      <p:sp>
        <p:nvSpPr>
          <p:cNvPr id="242" name="CENTER CIRCLE">
            <a:extLst>
              <a:ext uri="{FF2B5EF4-FFF2-40B4-BE49-F238E27FC236}">
                <a16:creationId xmlns:a16="http://schemas.microsoft.com/office/drawing/2014/main" id="{492A78BE-7741-4599-B9C1-9C5532A46710}"/>
              </a:ext>
            </a:extLst>
          </p:cNvPr>
          <p:cNvSpPr/>
          <p:nvPr/>
        </p:nvSpPr>
        <p:spPr bwMode="auto">
          <a:xfrm>
            <a:off x="2669793" y="1484017"/>
            <a:ext cx="2097020" cy="2097020"/>
          </a:xfrm>
          <a:prstGeom prst="ellipse">
            <a:avLst/>
          </a:prstGeom>
          <a:solidFill>
            <a:schemeClr val="bg1">
              <a:lumMod val="95000"/>
            </a:schemeClr>
          </a:solidFill>
          <a:ln w="19050" cap="flat" cmpd="sng" algn="ctr">
            <a:noFill/>
            <a:prstDash val="sysDash"/>
            <a:headEnd type="none" w="med" len="med"/>
            <a:tailEnd type="none" w="med" len="med"/>
          </a:ln>
          <a:effectLst/>
        </p:spPr>
        <p:txBody>
          <a:bodyPr rot="0" spcFirstLastPara="0" vertOverflow="overflow" horzOverflow="overflow" vert="horz" wrap="square" lIns="67223" tIns="33611" rIns="67223" bIns="33611" numCol="1" spcCol="0" rtlCol="0" fromWordArt="0" anchor="ctr" anchorCtr="0" forceAA="0" compatLnSpc="1">
            <a:prstTxWarp prst="textNoShape">
              <a:avLst/>
            </a:prstTxWarp>
            <a:noAutofit/>
          </a:bodyPr>
          <a:lstStyle/>
          <a:p>
            <a:pPr algn="ctr" defTabSz="685445" fontAlgn="base">
              <a:spcBef>
                <a:spcPct val="0"/>
              </a:spcBef>
              <a:spcAft>
                <a:spcPct val="0"/>
              </a:spcAft>
              <a:defRPr/>
            </a:pPr>
            <a:endParaRPr lang="en-US" sz="450" kern="0">
              <a:solidFill>
                <a:srgbClr val="FFFFFF"/>
              </a:solidFill>
              <a:latin typeface="Segoe UI"/>
              <a:ea typeface="Segoe UI" pitchFamily="34" charset="0"/>
              <a:cs typeface="Segoe UI" pitchFamily="34" charset="0"/>
            </a:endParaRPr>
          </a:p>
        </p:txBody>
      </p:sp>
      <p:sp>
        <p:nvSpPr>
          <p:cNvPr id="338" name="Conflate">
            <a:extLst>
              <a:ext uri="{FF2B5EF4-FFF2-40B4-BE49-F238E27FC236}">
                <a16:creationId xmlns:a16="http://schemas.microsoft.com/office/drawing/2014/main" id="{4747D9ED-8E81-4326-974E-8476F6A64EBD}"/>
              </a:ext>
            </a:extLst>
          </p:cNvPr>
          <p:cNvSpPr/>
          <p:nvPr/>
        </p:nvSpPr>
        <p:spPr bwMode="auto">
          <a:xfrm>
            <a:off x="2674868" y="3388953"/>
            <a:ext cx="363754" cy="155871"/>
          </a:xfrm>
          <a:prstGeom prst="rect">
            <a:avLst/>
          </a:prstGeom>
          <a:noFill/>
          <a:ln w="3175">
            <a:noFill/>
          </a:ln>
          <a:effectLst/>
        </p:spPr>
        <p:txBody>
          <a:bodyPr spcFirstLastPara="0" vert="horz" wrap="none" lIns="0" tIns="34285" rIns="0" bIns="0" numCol="1" spcCol="1270" anchor="ctr" anchorCtr="0">
            <a:spAutoFit/>
          </a:bodyPr>
          <a:lstStyle/>
          <a:p>
            <a:pPr algn="r" defTabSz="532682">
              <a:spcBef>
                <a:spcPct val="0"/>
              </a:spcBef>
              <a:spcAft>
                <a:spcPct val="35000"/>
              </a:spcAft>
              <a:defRPr/>
            </a:pPr>
            <a:r>
              <a:rPr lang="en-US" sz="788" kern="0" spc="-22">
                <a:solidFill>
                  <a:srgbClr val="3C3C41"/>
                </a:solidFill>
                <a:latin typeface="Segoe UI Semibold"/>
                <a:cs typeface="Segoe UI" panose="020B0502040204020203" pitchFamily="34" charset="0"/>
              </a:rPr>
              <a:t>Conflate</a:t>
            </a:r>
          </a:p>
        </p:txBody>
      </p:sp>
      <p:sp>
        <p:nvSpPr>
          <p:cNvPr id="339" name="Enrich">
            <a:extLst>
              <a:ext uri="{FF2B5EF4-FFF2-40B4-BE49-F238E27FC236}">
                <a16:creationId xmlns:a16="http://schemas.microsoft.com/office/drawing/2014/main" id="{2A6B8413-1C8D-4B8B-93B9-943BB4C51223}"/>
              </a:ext>
            </a:extLst>
          </p:cNvPr>
          <p:cNvSpPr/>
          <p:nvPr/>
        </p:nvSpPr>
        <p:spPr bwMode="auto">
          <a:xfrm>
            <a:off x="4359980" y="3388994"/>
            <a:ext cx="265202" cy="155871"/>
          </a:xfrm>
          <a:prstGeom prst="rect">
            <a:avLst/>
          </a:prstGeom>
          <a:noFill/>
          <a:ln w="3175">
            <a:noFill/>
          </a:ln>
          <a:effectLst/>
        </p:spPr>
        <p:txBody>
          <a:bodyPr spcFirstLastPara="0" vert="horz" wrap="none" lIns="0" tIns="34285" rIns="0" bIns="0" numCol="1" spcCol="1270" anchor="t" anchorCtr="0">
            <a:spAutoFit/>
          </a:bodyPr>
          <a:lstStyle/>
          <a:p>
            <a:pPr algn="r" defTabSz="532682">
              <a:spcBef>
                <a:spcPct val="0"/>
              </a:spcBef>
              <a:spcAft>
                <a:spcPct val="35000"/>
              </a:spcAft>
              <a:defRPr/>
            </a:pPr>
            <a:r>
              <a:rPr lang="en-US" sz="788" kern="0" spc="-22">
                <a:solidFill>
                  <a:srgbClr val="3C3C41"/>
                </a:solidFill>
                <a:latin typeface="Segoe UI Semibold"/>
                <a:cs typeface="Segoe UI" panose="020B0502040204020203" pitchFamily="34" charset="0"/>
              </a:rPr>
              <a:t>Enrich</a:t>
            </a:r>
          </a:p>
        </p:txBody>
      </p:sp>
      <p:sp>
        <p:nvSpPr>
          <p:cNvPr id="340" name="Ingest">
            <a:extLst>
              <a:ext uri="{FF2B5EF4-FFF2-40B4-BE49-F238E27FC236}">
                <a16:creationId xmlns:a16="http://schemas.microsoft.com/office/drawing/2014/main" id="{ECE6BD1F-446A-425D-A967-5B902DBE9C6E}"/>
              </a:ext>
            </a:extLst>
          </p:cNvPr>
          <p:cNvSpPr/>
          <p:nvPr/>
        </p:nvSpPr>
        <p:spPr bwMode="auto">
          <a:xfrm>
            <a:off x="2726324" y="1472593"/>
            <a:ext cx="265202" cy="155871"/>
          </a:xfrm>
          <a:prstGeom prst="rect">
            <a:avLst/>
          </a:prstGeom>
          <a:noFill/>
          <a:ln w="3175">
            <a:noFill/>
          </a:ln>
          <a:effectLst/>
        </p:spPr>
        <p:txBody>
          <a:bodyPr spcFirstLastPara="0" vert="horz" wrap="none" lIns="0" tIns="0" rIns="0" bIns="34285" numCol="1" spcCol="1270" anchor="t" anchorCtr="0">
            <a:spAutoFit/>
          </a:bodyPr>
          <a:lstStyle/>
          <a:p>
            <a:pPr algn="r" defTabSz="532682">
              <a:spcBef>
                <a:spcPct val="0"/>
              </a:spcBef>
              <a:spcAft>
                <a:spcPct val="35000"/>
              </a:spcAft>
              <a:defRPr/>
            </a:pPr>
            <a:r>
              <a:rPr lang="en-US" sz="788" kern="0" spc="-22">
                <a:solidFill>
                  <a:srgbClr val="3C3C41"/>
                </a:solidFill>
                <a:latin typeface="Segoe UI Semibold"/>
                <a:cs typeface="Segoe UI" panose="020B0502040204020203" pitchFamily="34" charset="0"/>
              </a:rPr>
              <a:t>Ingest</a:t>
            </a:r>
          </a:p>
        </p:txBody>
      </p:sp>
      <p:sp>
        <p:nvSpPr>
          <p:cNvPr id="341" name="Map &amp; match">
            <a:extLst>
              <a:ext uri="{FF2B5EF4-FFF2-40B4-BE49-F238E27FC236}">
                <a16:creationId xmlns:a16="http://schemas.microsoft.com/office/drawing/2014/main" id="{AEF2B66D-B682-42E7-A5E4-F0D341646133}"/>
              </a:ext>
            </a:extLst>
          </p:cNvPr>
          <p:cNvSpPr/>
          <p:nvPr/>
        </p:nvSpPr>
        <p:spPr bwMode="auto">
          <a:xfrm>
            <a:off x="4304005" y="1380273"/>
            <a:ext cx="387415" cy="277122"/>
          </a:xfrm>
          <a:prstGeom prst="rect">
            <a:avLst/>
          </a:prstGeom>
          <a:noFill/>
          <a:ln w="3175">
            <a:noFill/>
          </a:ln>
          <a:effectLst/>
        </p:spPr>
        <p:txBody>
          <a:bodyPr spcFirstLastPara="0" vert="horz" wrap="none" lIns="0" tIns="0" rIns="0" bIns="34285" numCol="1" spcCol="1270" anchor="t" anchorCtr="0">
            <a:spAutoFit/>
          </a:bodyPr>
          <a:lstStyle/>
          <a:p>
            <a:pPr algn="ctr" defTabSz="532682">
              <a:spcBef>
                <a:spcPct val="0"/>
              </a:spcBef>
              <a:spcAft>
                <a:spcPct val="35000"/>
              </a:spcAft>
              <a:defRPr/>
            </a:pPr>
            <a:r>
              <a:rPr lang="en-US" sz="788" kern="0" spc="-22">
                <a:solidFill>
                  <a:srgbClr val="3C3C41"/>
                </a:solidFill>
                <a:latin typeface="Segoe UI Semibold"/>
                <a:cs typeface="Segoe UI" panose="020B0502040204020203" pitchFamily="34" charset="0"/>
              </a:rPr>
              <a:t>Map and</a:t>
            </a:r>
            <a:br>
              <a:rPr lang="en-US" sz="788" kern="0" spc="-22">
                <a:solidFill>
                  <a:srgbClr val="3C3C41"/>
                </a:solidFill>
                <a:latin typeface="Segoe UI Semibold"/>
                <a:cs typeface="Segoe UI" panose="020B0502040204020203" pitchFamily="34" charset="0"/>
              </a:rPr>
            </a:br>
            <a:r>
              <a:rPr lang="en-US" sz="788" kern="0" spc="-22">
                <a:solidFill>
                  <a:srgbClr val="3C3C41"/>
                </a:solidFill>
                <a:latin typeface="Segoe UI Semibold"/>
                <a:cs typeface="Segoe UI" panose="020B0502040204020203" pitchFamily="34" charset="0"/>
              </a:rPr>
              <a:t>Match</a:t>
            </a:r>
          </a:p>
        </p:txBody>
      </p:sp>
      <p:grpSp>
        <p:nvGrpSpPr>
          <p:cNvPr id="148" name="Group 147">
            <a:extLst>
              <a:ext uri="{FF2B5EF4-FFF2-40B4-BE49-F238E27FC236}">
                <a16:creationId xmlns:a16="http://schemas.microsoft.com/office/drawing/2014/main" id="{287F2CFF-DF53-4664-8E07-99762E3CF025}"/>
              </a:ext>
            </a:extLst>
          </p:cNvPr>
          <p:cNvGrpSpPr/>
          <p:nvPr/>
        </p:nvGrpSpPr>
        <p:grpSpPr>
          <a:xfrm flipH="1">
            <a:off x="1916374" y="2105932"/>
            <a:ext cx="677087" cy="828310"/>
            <a:chOff x="2574530" y="3035299"/>
            <a:chExt cx="1017817" cy="1104570"/>
          </a:xfrm>
        </p:grpSpPr>
        <p:sp>
          <p:nvSpPr>
            <p:cNvPr id="57" name="Freeform: Shape 56">
              <a:extLst>
                <a:ext uri="{FF2B5EF4-FFF2-40B4-BE49-F238E27FC236}">
                  <a16:creationId xmlns:a16="http://schemas.microsoft.com/office/drawing/2014/main" id="{68E1C7C2-B653-4A6F-A520-DC8351033A64}"/>
                </a:ext>
              </a:extLst>
            </p:cNvPr>
            <p:cNvSpPr/>
            <p:nvPr/>
          </p:nvSpPr>
          <p:spPr bwMode="auto">
            <a:xfrm>
              <a:off x="2574553" y="3035299"/>
              <a:ext cx="1014752" cy="380803"/>
            </a:xfrm>
            <a:custGeom>
              <a:avLst/>
              <a:gdLst>
                <a:gd name="connsiteX0" fmla="*/ 0 w 381000"/>
                <a:gd name="connsiteY0" fmla="*/ 469900 h 469900"/>
                <a:gd name="connsiteX1" fmla="*/ 88900 w 381000"/>
                <a:gd name="connsiteY1" fmla="*/ 469900 h 469900"/>
                <a:gd name="connsiteX2" fmla="*/ 88900 w 381000"/>
                <a:gd name="connsiteY2" fmla="*/ 0 h 469900"/>
                <a:gd name="connsiteX3" fmla="*/ 381000 w 381000"/>
                <a:gd name="connsiteY3" fmla="*/ 0 h 469900"/>
              </a:gdLst>
              <a:ahLst/>
              <a:cxnLst>
                <a:cxn ang="0">
                  <a:pos x="connsiteX0" y="connsiteY0"/>
                </a:cxn>
                <a:cxn ang="0">
                  <a:pos x="connsiteX1" y="connsiteY1"/>
                </a:cxn>
                <a:cxn ang="0">
                  <a:pos x="connsiteX2" y="connsiteY2"/>
                </a:cxn>
                <a:cxn ang="0">
                  <a:pos x="connsiteX3" y="connsiteY3"/>
                </a:cxn>
              </a:cxnLst>
              <a:rect l="l" t="t" r="r" b="b"/>
              <a:pathLst>
                <a:path w="381000" h="469900">
                  <a:moveTo>
                    <a:pt x="0" y="469900"/>
                  </a:moveTo>
                  <a:lnTo>
                    <a:pt x="88900" y="469900"/>
                  </a:lnTo>
                  <a:lnTo>
                    <a:pt x="88900" y="0"/>
                  </a:lnTo>
                  <a:lnTo>
                    <a:pt x="381000" y="0"/>
                  </a:lnTo>
                </a:path>
              </a:pathLst>
            </a:custGeom>
            <a:noFill/>
            <a:ln w="12700" cap="rnd" cmpd="sng" algn="ctr">
              <a:solidFill>
                <a:schemeClr val="bg1">
                  <a:lumMod val="75000"/>
                </a:schemeClr>
              </a:solidFill>
              <a:prstDash val="sysDash"/>
              <a:headEnd type="oval" w="sm" len="sm"/>
              <a:tailEnd type="oval" w="sm" len="sm"/>
            </a:ln>
            <a:effectLst/>
          </p:spPr>
          <p:txBody>
            <a:bodyPr rot="0" spcFirstLastPara="0" vertOverflow="overflow" horzOverflow="overflow" vert="horz" wrap="square" lIns="137141" tIns="109713" rIns="137141" bIns="109713" numCol="1" spcCol="0" rtlCol="0" fromWordArt="0" anchor="t" anchorCtr="0" forceAA="0" compatLnSpc="1">
              <a:prstTxWarp prst="textNoShape">
                <a:avLst/>
              </a:prstTxWarp>
              <a:noAutofit/>
            </a:bodyPr>
            <a:lstStyle/>
            <a:p>
              <a:pPr algn="ctr" defTabSz="699220" fontAlgn="base">
                <a:lnSpc>
                  <a:spcPct val="90000"/>
                </a:lnSpc>
                <a:spcBef>
                  <a:spcPct val="0"/>
                </a:spcBef>
                <a:spcAft>
                  <a:spcPct val="0"/>
                </a:spcAft>
                <a:defRPr/>
              </a:pPr>
              <a:endParaRPr lang="en-IN">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8" name="Freeform: Shape 127">
              <a:extLst>
                <a:ext uri="{FF2B5EF4-FFF2-40B4-BE49-F238E27FC236}">
                  <a16:creationId xmlns:a16="http://schemas.microsoft.com/office/drawing/2014/main" id="{3F1B05DE-096E-4503-B8B1-75F285B5EE1B}"/>
                </a:ext>
              </a:extLst>
            </p:cNvPr>
            <p:cNvSpPr/>
            <p:nvPr/>
          </p:nvSpPr>
          <p:spPr bwMode="auto">
            <a:xfrm>
              <a:off x="2583180" y="3282753"/>
              <a:ext cx="1009164" cy="234950"/>
            </a:xfrm>
            <a:custGeom>
              <a:avLst/>
              <a:gdLst>
                <a:gd name="connsiteX0" fmla="*/ 0 w 603250"/>
                <a:gd name="connsiteY0" fmla="*/ 234950 h 234950"/>
                <a:gd name="connsiteX1" fmla="*/ 228600 w 603250"/>
                <a:gd name="connsiteY1" fmla="*/ 234950 h 234950"/>
                <a:gd name="connsiteX2" fmla="*/ 228600 w 603250"/>
                <a:gd name="connsiteY2" fmla="*/ 0 h 234950"/>
                <a:gd name="connsiteX3" fmla="*/ 603250 w 603250"/>
                <a:gd name="connsiteY3" fmla="*/ 0 h 234950"/>
              </a:gdLst>
              <a:ahLst/>
              <a:cxnLst>
                <a:cxn ang="0">
                  <a:pos x="connsiteX0" y="connsiteY0"/>
                </a:cxn>
                <a:cxn ang="0">
                  <a:pos x="connsiteX1" y="connsiteY1"/>
                </a:cxn>
                <a:cxn ang="0">
                  <a:pos x="connsiteX2" y="connsiteY2"/>
                </a:cxn>
                <a:cxn ang="0">
                  <a:pos x="connsiteX3" y="connsiteY3"/>
                </a:cxn>
              </a:cxnLst>
              <a:rect l="l" t="t" r="r" b="b"/>
              <a:pathLst>
                <a:path w="603250" h="234950">
                  <a:moveTo>
                    <a:pt x="0" y="234950"/>
                  </a:moveTo>
                  <a:lnTo>
                    <a:pt x="228600" y="234950"/>
                  </a:lnTo>
                  <a:lnTo>
                    <a:pt x="228600" y="0"/>
                  </a:lnTo>
                  <a:lnTo>
                    <a:pt x="603250" y="0"/>
                  </a:lnTo>
                </a:path>
              </a:pathLst>
            </a:custGeom>
            <a:noFill/>
            <a:ln w="12700" cap="rnd" cmpd="sng" algn="ctr">
              <a:solidFill>
                <a:schemeClr val="bg1">
                  <a:lumMod val="75000"/>
                </a:schemeClr>
              </a:solidFill>
              <a:prstDash val="sysDash"/>
              <a:headEnd type="oval" w="sm" len="sm"/>
              <a:tailEnd type="oval" w="sm" len="sm"/>
            </a:ln>
            <a:effectLst/>
          </p:spPr>
          <p:txBody>
            <a:bodyPr rot="0" spcFirstLastPara="0" vertOverflow="overflow" horzOverflow="overflow" vert="horz" wrap="square" lIns="137141" tIns="109713" rIns="137141" bIns="109713" numCol="1" spcCol="0" rtlCol="0" fromWordArt="0" anchor="t" anchorCtr="0" forceAA="0" compatLnSpc="1">
              <a:prstTxWarp prst="textNoShape">
                <a:avLst/>
              </a:prstTxWarp>
              <a:noAutofit/>
            </a:bodyPr>
            <a:lstStyle/>
            <a:p>
              <a:pPr algn="ctr" defTabSz="699220" fontAlgn="base">
                <a:lnSpc>
                  <a:spcPct val="90000"/>
                </a:lnSpc>
                <a:spcBef>
                  <a:spcPct val="0"/>
                </a:spcBef>
                <a:spcAft>
                  <a:spcPct val="0"/>
                </a:spcAft>
                <a:defRPr/>
              </a:pPr>
              <a:endParaRPr lang="en-IN">
                <a:gradFill>
                  <a:gsLst>
                    <a:gs pos="0">
                      <a:srgbClr val="FFFFFF"/>
                    </a:gs>
                    <a:gs pos="100000">
                      <a:srgbClr val="FFFFFF"/>
                    </a:gs>
                  </a:gsLst>
                  <a:lin ang="5400000" scaled="0"/>
                </a:gradFill>
                <a:latin typeface="Segoe UI"/>
                <a:cs typeface="Segoe UI" pitchFamily="34" charset="0"/>
              </a:endParaRPr>
            </a:p>
          </p:txBody>
        </p:sp>
        <p:sp>
          <p:nvSpPr>
            <p:cNvPr id="237" name="Freeform: Shape 236">
              <a:extLst>
                <a:ext uri="{FF2B5EF4-FFF2-40B4-BE49-F238E27FC236}">
                  <a16:creationId xmlns:a16="http://schemas.microsoft.com/office/drawing/2014/main" id="{4823C195-5B43-49CC-9FA6-327A08AB3F85}"/>
                </a:ext>
              </a:extLst>
            </p:cNvPr>
            <p:cNvSpPr/>
            <p:nvPr/>
          </p:nvSpPr>
          <p:spPr bwMode="auto">
            <a:xfrm flipV="1">
              <a:off x="2574530" y="3733603"/>
              <a:ext cx="1017817" cy="406266"/>
            </a:xfrm>
            <a:custGeom>
              <a:avLst/>
              <a:gdLst>
                <a:gd name="connsiteX0" fmla="*/ 0 w 381000"/>
                <a:gd name="connsiteY0" fmla="*/ 469900 h 469900"/>
                <a:gd name="connsiteX1" fmla="*/ 88900 w 381000"/>
                <a:gd name="connsiteY1" fmla="*/ 469900 h 469900"/>
                <a:gd name="connsiteX2" fmla="*/ 88900 w 381000"/>
                <a:gd name="connsiteY2" fmla="*/ 0 h 469900"/>
                <a:gd name="connsiteX3" fmla="*/ 381000 w 381000"/>
                <a:gd name="connsiteY3" fmla="*/ 0 h 469900"/>
              </a:gdLst>
              <a:ahLst/>
              <a:cxnLst>
                <a:cxn ang="0">
                  <a:pos x="connsiteX0" y="connsiteY0"/>
                </a:cxn>
                <a:cxn ang="0">
                  <a:pos x="connsiteX1" y="connsiteY1"/>
                </a:cxn>
                <a:cxn ang="0">
                  <a:pos x="connsiteX2" y="connsiteY2"/>
                </a:cxn>
                <a:cxn ang="0">
                  <a:pos x="connsiteX3" y="connsiteY3"/>
                </a:cxn>
              </a:cxnLst>
              <a:rect l="l" t="t" r="r" b="b"/>
              <a:pathLst>
                <a:path w="381000" h="469900">
                  <a:moveTo>
                    <a:pt x="0" y="469900"/>
                  </a:moveTo>
                  <a:lnTo>
                    <a:pt x="88900" y="469900"/>
                  </a:lnTo>
                  <a:lnTo>
                    <a:pt x="88900" y="0"/>
                  </a:lnTo>
                  <a:lnTo>
                    <a:pt x="381000" y="0"/>
                  </a:lnTo>
                </a:path>
              </a:pathLst>
            </a:custGeom>
            <a:noFill/>
            <a:ln w="12700" cap="rnd" cmpd="sng" algn="ctr">
              <a:solidFill>
                <a:schemeClr val="bg1">
                  <a:lumMod val="75000"/>
                </a:schemeClr>
              </a:solidFill>
              <a:prstDash val="sysDash"/>
              <a:headEnd type="oval" w="sm" len="sm"/>
              <a:tailEnd type="oval" w="sm" len="sm"/>
            </a:ln>
            <a:effectLst/>
          </p:spPr>
          <p:txBody>
            <a:bodyPr rot="0" spcFirstLastPara="0" vertOverflow="overflow" horzOverflow="overflow" vert="horz" wrap="square" lIns="137141" tIns="109713" rIns="137141" bIns="109713" numCol="1" spcCol="0" rtlCol="0" fromWordArt="0" anchor="t" anchorCtr="0" forceAA="0" compatLnSpc="1">
              <a:prstTxWarp prst="textNoShape">
                <a:avLst/>
              </a:prstTxWarp>
              <a:noAutofit/>
            </a:bodyPr>
            <a:lstStyle/>
            <a:p>
              <a:pPr algn="ctr" defTabSz="699220" fontAlgn="base">
                <a:lnSpc>
                  <a:spcPct val="90000"/>
                </a:lnSpc>
                <a:spcBef>
                  <a:spcPct val="0"/>
                </a:spcBef>
                <a:spcAft>
                  <a:spcPct val="0"/>
                </a:spcAft>
                <a:defRPr/>
              </a:pPr>
              <a:endParaRPr lang="en-IN">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38" name="Freeform: Shape 237">
              <a:extLst>
                <a:ext uri="{FF2B5EF4-FFF2-40B4-BE49-F238E27FC236}">
                  <a16:creationId xmlns:a16="http://schemas.microsoft.com/office/drawing/2014/main" id="{6A695D8E-1697-429D-9288-460059093D4E}"/>
                </a:ext>
              </a:extLst>
            </p:cNvPr>
            <p:cNvSpPr/>
            <p:nvPr/>
          </p:nvSpPr>
          <p:spPr bwMode="auto">
            <a:xfrm flipV="1">
              <a:off x="2583180" y="3632003"/>
              <a:ext cx="1009164" cy="234950"/>
            </a:xfrm>
            <a:custGeom>
              <a:avLst/>
              <a:gdLst>
                <a:gd name="connsiteX0" fmla="*/ 0 w 603250"/>
                <a:gd name="connsiteY0" fmla="*/ 234950 h 234950"/>
                <a:gd name="connsiteX1" fmla="*/ 228600 w 603250"/>
                <a:gd name="connsiteY1" fmla="*/ 234950 h 234950"/>
                <a:gd name="connsiteX2" fmla="*/ 228600 w 603250"/>
                <a:gd name="connsiteY2" fmla="*/ 0 h 234950"/>
                <a:gd name="connsiteX3" fmla="*/ 603250 w 603250"/>
                <a:gd name="connsiteY3" fmla="*/ 0 h 234950"/>
              </a:gdLst>
              <a:ahLst/>
              <a:cxnLst>
                <a:cxn ang="0">
                  <a:pos x="connsiteX0" y="connsiteY0"/>
                </a:cxn>
                <a:cxn ang="0">
                  <a:pos x="connsiteX1" y="connsiteY1"/>
                </a:cxn>
                <a:cxn ang="0">
                  <a:pos x="connsiteX2" y="connsiteY2"/>
                </a:cxn>
                <a:cxn ang="0">
                  <a:pos x="connsiteX3" y="connsiteY3"/>
                </a:cxn>
              </a:cxnLst>
              <a:rect l="l" t="t" r="r" b="b"/>
              <a:pathLst>
                <a:path w="603250" h="234950">
                  <a:moveTo>
                    <a:pt x="0" y="234950"/>
                  </a:moveTo>
                  <a:lnTo>
                    <a:pt x="228600" y="234950"/>
                  </a:lnTo>
                  <a:lnTo>
                    <a:pt x="228600" y="0"/>
                  </a:lnTo>
                  <a:lnTo>
                    <a:pt x="603250" y="0"/>
                  </a:lnTo>
                </a:path>
              </a:pathLst>
            </a:custGeom>
            <a:noFill/>
            <a:ln w="12700" cap="rnd" cmpd="sng" algn="ctr">
              <a:solidFill>
                <a:schemeClr val="bg1">
                  <a:lumMod val="75000"/>
                </a:schemeClr>
              </a:solidFill>
              <a:prstDash val="sysDash"/>
              <a:headEnd type="oval" w="sm" len="sm"/>
              <a:tailEnd type="oval" w="sm" len="sm"/>
            </a:ln>
            <a:effectLst/>
          </p:spPr>
          <p:txBody>
            <a:bodyPr rot="0" spcFirstLastPara="0" vertOverflow="overflow" horzOverflow="overflow" vert="horz" wrap="square" lIns="137141" tIns="109713" rIns="137141" bIns="109713" numCol="1" spcCol="0" rtlCol="0" fromWordArt="0" anchor="t" anchorCtr="0" forceAA="0" compatLnSpc="1">
              <a:prstTxWarp prst="textNoShape">
                <a:avLst/>
              </a:prstTxWarp>
              <a:noAutofit/>
            </a:bodyPr>
            <a:lstStyle/>
            <a:p>
              <a:pPr algn="ctr" defTabSz="699220" fontAlgn="base">
                <a:lnSpc>
                  <a:spcPct val="90000"/>
                </a:lnSpc>
                <a:spcBef>
                  <a:spcPct val="0"/>
                </a:spcBef>
                <a:spcAft>
                  <a:spcPct val="0"/>
                </a:spcAft>
                <a:defRPr/>
              </a:pPr>
              <a:endParaRPr lang="en-IN">
                <a:gradFill>
                  <a:gsLst>
                    <a:gs pos="0">
                      <a:srgbClr val="FFFFFF"/>
                    </a:gs>
                    <a:gs pos="100000">
                      <a:srgbClr val="FFFFFF"/>
                    </a:gs>
                  </a:gsLst>
                  <a:lin ang="5400000" scaled="0"/>
                </a:gradFill>
                <a:latin typeface="Segoe UI"/>
                <a:cs typeface="Segoe UI" pitchFamily="34" charset="0"/>
              </a:endParaRPr>
            </a:p>
          </p:txBody>
        </p:sp>
      </p:grpSp>
      <p:grpSp>
        <p:nvGrpSpPr>
          <p:cNvPr id="151" name="Group 150">
            <a:extLst>
              <a:ext uri="{FF2B5EF4-FFF2-40B4-BE49-F238E27FC236}">
                <a16:creationId xmlns:a16="http://schemas.microsoft.com/office/drawing/2014/main" id="{764E382C-41C2-436B-8ADB-B6884F283210}"/>
              </a:ext>
            </a:extLst>
          </p:cNvPr>
          <p:cNvGrpSpPr/>
          <p:nvPr/>
        </p:nvGrpSpPr>
        <p:grpSpPr>
          <a:xfrm>
            <a:off x="4256246" y="1043201"/>
            <a:ext cx="1286577" cy="3039714"/>
            <a:chOff x="5297864" y="1442301"/>
            <a:chExt cx="2224726" cy="4053527"/>
          </a:xfrm>
        </p:grpSpPr>
        <p:sp>
          <p:nvSpPr>
            <p:cNvPr id="150" name="Freeform: Shape 149">
              <a:extLst>
                <a:ext uri="{FF2B5EF4-FFF2-40B4-BE49-F238E27FC236}">
                  <a16:creationId xmlns:a16="http://schemas.microsoft.com/office/drawing/2014/main" id="{05A40213-0F64-4D07-AD9E-50E8CE99DFFE}"/>
                </a:ext>
              </a:extLst>
            </p:cNvPr>
            <p:cNvSpPr/>
            <p:nvPr/>
          </p:nvSpPr>
          <p:spPr bwMode="auto">
            <a:xfrm>
              <a:off x="5297864" y="1442301"/>
              <a:ext cx="2224726" cy="1517716"/>
            </a:xfrm>
            <a:custGeom>
              <a:avLst/>
              <a:gdLst>
                <a:gd name="connsiteX0" fmla="*/ 0 w 2224726"/>
                <a:gd name="connsiteY0" fmla="*/ 0 h 1517716"/>
                <a:gd name="connsiteX1" fmla="*/ 405352 w 2224726"/>
                <a:gd name="connsiteY1" fmla="*/ 0 h 1517716"/>
                <a:gd name="connsiteX2" fmla="*/ 1923068 w 2224726"/>
                <a:gd name="connsiteY2" fmla="*/ 1517716 h 1517716"/>
                <a:gd name="connsiteX3" fmla="*/ 2224726 w 2224726"/>
                <a:gd name="connsiteY3" fmla="*/ 1517716 h 1517716"/>
              </a:gdLst>
              <a:ahLst/>
              <a:cxnLst>
                <a:cxn ang="0">
                  <a:pos x="connsiteX0" y="connsiteY0"/>
                </a:cxn>
                <a:cxn ang="0">
                  <a:pos x="connsiteX1" y="connsiteY1"/>
                </a:cxn>
                <a:cxn ang="0">
                  <a:pos x="connsiteX2" y="connsiteY2"/>
                </a:cxn>
                <a:cxn ang="0">
                  <a:pos x="connsiteX3" y="connsiteY3"/>
                </a:cxn>
              </a:cxnLst>
              <a:rect l="l" t="t" r="r" b="b"/>
              <a:pathLst>
                <a:path w="2224726" h="1517716">
                  <a:moveTo>
                    <a:pt x="0" y="0"/>
                  </a:moveTo>
                  <a:lnTo>
                    <a:pt x="405352" y="0"/>
                  </a:lnTo>
                  <a:lnTo>
                    <a:pt x="1923068" y="1517716"/>
                  </a:lnTo>
                  <a:lnTo>
                    <a:pt x="2224726" y="1517716"/>
                  </a:lnTo>
                </a:path>
              </a:pathLst>
            </a:custGeom>
            <a:noFill/>
            <a:ln w="12700" cap="rnd" cmpd="sng" algn="ctr">
              <a:solidFill>
                <a:schemeClr val="bg1">
                  <a:lumMod val="75000"/>
                </a:schemeClr>
              </a:solidFill>
              <a:prstDash val="solid"/>
              <a:headEnd type="oval" w="sm" len="sm"/>
              <a:tailEnd type="oval" w="sm" len="sm"/>
            </a:ln>
            <a:effectLst/>
          </p:spPr>
          <p:txBody>
            <a:bodyPr rot="0" spcFirstLastPara="0" vertOverflow="overflow" horzOverflow="overflow" vert="horz" wrap="square" lIns="137141" tIns="109713" rIns="137141" bIns="109713" numCol="1" spcCol="0" rtlCol="0" fromWordArt="0" anchor="t" anchorCtr="0" forceAA="0" compatLnSpc="1">
              <a:prstTxWarp prst="textNoShape">
                <a:avLst/>
              </a:prstTxWarp>
              <a:noAutofit/>
            </a:bodyPr>
            <a:lstStyle/>
            <a:p>
              <a:pPr algn="ctr" defTabSz="699220" fontAlgn="base">
                <a:lnSpc>
                  <a:spcPct val="90000"/>
                </a:lnSpc>
                <a:spcBef>
                  <a:spcPct val="0"/>
                </a:spcBef>
                <a:spcAft>
                  <a:spcPct val="0"/>
                </a:spcAft>
                <a:defRPr/>
              </a:pPr>
              <a:endParaRPr lang="en-IN">
                <a:gradFill>
                  <a:gsLst>
                    <a:gs pos="0">
                      <a:srgbClr val="FFFFFF"/>
                    </a:gs>
                    <a:gs pos="100000">
                      <a:srgbClr val="FFFFFF"/>
                    </a:gs>
                  </a:gsLst>
                  <a:lin ang="5400000" scaled="0"/>
                </a:gradFill>
                <a:latin typeface="Segoe UI"/>
                <a:cs typeface="Segoe UI" pitchFamily="34" charset="0"/>
              </a:endParaRPr>
            </a:p>
          </p:txBody>
        </p:sp>
        <p:sp>
          <p:nvSpPr>
            <p:cNvPr id="277" name="Freeform: Shape 276">
              <a:extLst>
                <a:ext uri="{FF2B5EF4-FFF2-40B4-BE49-F238E27FC236}">
                  <a16:creationId xmlns:a16="http://schemas.microsoft.com/office/drawing/2014/main" id="{DAEAE1F6-1568-4F48-B89A-B87C1B450BAA}"/>
                </a:ext>
              </a:extLst>
            </p:cNvPr>
            <p:cNvSpPr/>
            <p:nvPr/>
          </p:nvSpPr>
          <p:spPr bwMode="auto">
            <a:xfrm flipV="1">
              <a:off x="5297864" y="3978112"/>
              <a:ext cx="2224726" cy="1517716"/>
            </a:xfrm>
            <a:custGeom>
              <a:avLst/>
              <a:gdLst>
                <a:gd name="connsiteX0" fmla="*/ 0 w 2224726"/>
                <a:gd name="connsiteY0" fmla="*/ 0 h 1517716"/>
                <a:gd name="connsiteX1" fmla="*/ 405352 w 2224726"/>
                <a:gd name="connsiteY1" fmla="*/ 0 h 1517716"/>
                <a:gd name="connsiteX2" fmla="*/ 1923068 w 2224726"/>
                <a:gd name="connsiteY2" fmla="*/ 1517716 h 1517716"/>
                <a:gd name="connsiteX3" fmla="*/ 2224726 w 2224726"/>
                <a:gd name="connsiteY3" fmla="*/ 1517716 h 1517716"/>
              </a:gdLst>
              <a:ahLst/>
              <a:cxnLst>
                <a:cxn ang="0">
                  <a:pos x="connsiteX0" y="connsiteY0"/>
                </a:cxn>
                <a:cxn ang="0">
                  <a:pos x="connsiteX1" y="connsiteY1"/>
                </a:cxn>
                <a:cxn ang="0">
                  <a:pos x="connsiteX2" y="connsiteY2"/>
                </a:cxn>
                <a:cxn ang="0">
                  <a:pos x="connsiteX3" y="connsiteY3"/>
                </a:cxn>
              </a:cxnLst>
              <a:rect l="l" t="t" r="r" b="b"/>
              <a:pathLst>
                <a:path w="2224726" h="1517716">
                  <a:moveTo>
                    <a:pt x="0" y="0"/>
                  </a:moveTo>
                  <a:lnTo>
                    <a:pt x="405352" y="0"/>
                  </a:lnTo>
                  <a:lnTo>
                    <a:pt x="1923068" y="1517716"/>
                  </a:lnTo>
                  <a:lnTo>
                    <a:pt x="2224726" y="1517716"/>
                  </a:lnTo>
                </a:path>
              </a:pathLst>
            </a:custGeom>
            <a:noFill/>
            <a:ln w="12700" cap="rnd" cmpd="sng" algn="ctr">
              <a:solidFill>
                <a:schemeClr val="bg1">
                  <a:lumMod val="75000"/>
                </a:schemeClr>
              </a:solidFill>
              <a:prstDash val="solid"/>
              <a:headEnd type="oval" w="sm" len="sm"/>
              <a:tailEnd type="oval" w="sm" len="sm"/>
            </a:ln>
            <a:effectLst/>
          </p:spPr>
          <p:txBody>
            <a:bodyPr rot="0" spcFirstLastPara="0" vertOverflow="overflow" horzOverflow="overflow" vert="horz" wrap="square" lIns="137141" tIns="109713" rIns="137141" bIns="109713" numCol="1" spcCol="0" rtlCol="0" fromWordArt="0" anchor="t" anchorCtr="0" forceAA="0" compatLnSpc="1">
              <a:prstTxWarp prst="textNoShape">
                <a:avLst/>
              </a:prstTxWarp>
              <a:noAutofit/>
            </a:bodyPr>
            <a:lstStyle/>
            <a:p>
              <a:pPr algn="ctr" defTabSz="699220" fontAlgn="base">
                <a:lnSpc>
                  <a:spcPct val="90000"/>
                </a:lnSpc>
                <a:spcBef>
                  <a:spcPct val="0"/>
                </a:spcBef>
                <a:spcAft>
                  <a:spcPct val="0"/>
                </a:spcAft>
                <a:defRPr/>
              </a:pPr>
              <a:endParaRPr lang="en-IN">
                <a:gradFill>
                  <a:gsLst>
                    <a:gs pos="0">
                      <a:srgbClr val="FFFFFF"/>
                    </a:gs>
                    <a:gs pos="100000">
                      <a:srgbClr val="FFFFFF"/>
                    </a:gs>
                  </a:gsLst>
                  <a:lin ang="5400000" scaled="0"/>
                </a:gradFill>
                <a:latin typeface="Segoe UI"/>
                <a:cs typeface="Segoe UI" pitchFamily="34" charset="0"/>
              </a:endParaRPr>
            </a:p>
          </p:txBody>
        </p:sp>
      </p:grpSp>
      <p:sp>
        <p:nvSpPr>
          <p:cNvPr id="278" name="AI &amp; ML">
            <a:extLst>
              <a:ext uri="{FF2B5EF4-FFF2-40B4-BE49-F238E27FC236}">
                <a16:creationId xmlns:a16="http://schemas.microsoft.com/office/drawing/2014/main" id="{E575CE5C-EB13-43ED-BE70-9D92746220C1}"/>
              </a:ext>
            </a:extLst>
          </p:cNvPr>
          <p:cNvSpPr txBox="1"/>
          <p:nvPr/>
        </p:nvSpPr>
        <p:spPr>
          <a:xfrm>
            <a:off x="6977013" y="1647677"/>
            <a:ext cx="286810" cy="83100"/>
          </a:xfrm>
          <a:prstGeom prst="rect">
            <a:avLst/>
          </a:prstGeom>
          <a:noFill/>
        </p:spPr>
        <p:txBody>
          <a:bodyPr wrap="none" lIns="0" tIns="0" rIns="0" bIns="0" rtlCol="0">
            <a:spAutoFit/>
          </a:bodyPr>
          <a:lstStyle/>
          <a:p>
            <a:pPr algn="r" defTabSz="685175">
              <a:lnSpc>
                <a:spcPct val="90000"/>
              </a:lnSpc>
              <a:spcBef>
                <a:spcPct val="0"/>
              </a:spcBef>
              <a:spcAft>
                <a:spcPts val="441"/>
              </a:spcAft>
              <a:defRPr/>
            </a:pPr>
            <a:r>
              <a:rPr lang="en-US" sz="600" kern="0" spc="-22">
                <a:solidFill>
                  <a:srgbClr val="3C3C41"/>
                </a:solidFill>
                <a:latin typeface="Segoe UI Semibold"/>
                <a:cs typeface="Segoe UI" panose="020B0502040204020203" pitchFamily="34" charset="0"/>
              </a:rPr>
              <a:t>Power BI</a:t>
            </a:r>
          </a:p>
        </p:txBody>
      </p:sp>
      <p:sp>
        <p:nvSpPr>
          <p:cNvPr id="280" name="AI &amp; ML">
            <a:extLst>
              <a:ext uri="{FF2B5EF4-FFF2-40B4-BE49-F238E27FC236}">
                <a16:creationId xmlns:a16="http://schemas.microsoft.com/office/drawing/2014/main" id="{C57D896A-68A8-4BFE-A7DA-AAA3D2DACE70}"/>
              </a:ext>
            </a:extLst>
          </p:cNvPr>
          <p:cNvSpPr txBox="1"/>
          <p:nvPr/>
        </p:nvSpPr>
        <p:spPr>
          <a:xfrm>
            <a:off x="7636319" y="814265"/>
            <a:ext cx="372153" cy="83100"/>
          </a:xfrm>
          <a:prstGeom prst="rect">
            <a:avLst/>
          </a:prstGeom>
          <a:solidFill>
            <a:schemeClr val="bg1"/>
          </a:solidFill>
        </p:spPr>
        <p:txBody>
          <a:bodyPr wrap="none" lIns="0" tIns="0" rIns="0" bIns="0" rtlCol="0">
            <a:spAutoFit/>
          </a:bodyPr>
          <a:lstStyle/>
          <a:p>
            <a:pPr algn="ctr" defTabSz="685175">
              <a:lnSpc>
                <a:spcPct val="90000"/>
              </a:lnSpc>
              <a:spcBef>
                <a:spcPct val="0"/>
              </a:spcBef>
              <a:spcAft>
                <a:spcPts val="441"/>
              </a:spcAft>
              <a:defRPr/>
            </a:pPr>
            <a:r>
              <a:rPr lang="en-US" sz="600" kern="0" spc="-22">
                <a:solidFill>
                  <a:srgbClr val="3C3C41"/>
                </a:solidFill>
                <a:latin typeface="Segoe UI Semibold"/>
                <a:cs typeface="Segoe UI" panose="020B0502040204020203" pitchFamily="34" charset="0"/>
              </a:rPr>
              <a:t>PowerApps</a:t>
            </a:r>
          </a:p>
        </p:txBody>
      </p:sp>
      <p:grpSp>
        <p:nvGrpSpPr>
          <p:cNvPr id="160" name="Group 159">
            <a:extLst>
              <a:ext uri="{FF2B5EF4-FFF2-40B4-BE49-F238E27FC236}">
                <a16:creationId xmlns:a16="http://schemas.microsoft.com/office/drawing/2014/main" id="{C973F1A4-4F65-45C2-8C02-2847365D5084}"/>
              </a:ext>
            </a:extLst>
          </p:cNvPr>
          <p:cNvGrpSpPr/>
          <p:nvPr/>
        </p:nvGrpSpPr>
        <p:grpSpPr>
          <a:xfrm>
            <a:off x="7701231" y="921940"/>
            <a:ext cx="227281" cy="227281"/>
            <a:chOff x="10205073" y="2925986"/>
            <a:chExt cx="327562" cy="327562"/>
          </a:xfrm>
        </p:grpSpPr>
        <p:sp>
          <p:nvSpPr>
            <p:cNvPr id="282" name="Oval 281">
              <a:extLst>
                <a:ext uri="{FF2B5EF4-FFF2-40B4-BE49-F238E27FC236}">
                  <a16:creationId xmlns:a16="http://schemas.microsoft.com/office/drawing/2014/main" id="{B87F170F-6DB6-4406-A9A6-7B012FE516D2}"/>
                </a:ext>
              </a:extLst>
            </p:cNvPr>
            <p:cNvSpPr/>
            <p:nvPr/>
          </p:nvSpPr>
          <p:spPr bwMode="auto">
            <a:xfrm>
              <a:off x="10205073" y="2925986"/>
              <a:ext cx="327562" cy="327562"/>
            </a:xfrm>
            <a:prstGeom prst="ellipse">
              <a:avLst/>
            </a:prstGeom>
            <a:solidFill>
              <a:srgbClr val="742774"/>
            </a:solidFill>
            <a:ln>
              <a:noFill/>
            </a:ln>
            <a:effectLst>
              <a:outerShdw blurRad="63500" dist="381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23359" tIns="98688" rIns="123359" bIns="98688" numCol="1" spcCol="0" rtlCol="0" fromWordArt="0" anchor="ctr" anchorCtr="0" forceAA="0" compatLnSpc="1">
              <a:prstTxWarp prst="textNoShape">
                <a:avLst/>
              </a:prstTxWarp>
              <a:noAutofit/>
            </a:bodyPr>
            <a:lstStyle/>
            <a:p>
              <a:pPr defTabSz="628868" fontAlgn="base">
                <a:spcBef>
                  <a:spcPct val="0"/>
                </a:spcBef>
                <a:spcAft>
                  <a:spcPct val="0"/>
                </a:spcAft>
                <a:defRPr/>
              </a:pPr>
              <a:endParaRPr lang="en-US" sz="1349">
                <a:gradFill>
                  <a:gsLst>
                    <a:gs pos="0">
                      <a:srgbClr val="FFFFFF"/>
                    </a:gs>
                    <a:gs pos="100000">
                      <a:srgbClr val="FFFFFF"/>
                    </a:gs>
                  </a:gsLst>
                  <a:lin ang="5400000" scaled="0"/>
                </a:gradFill>
                <a:latin typeface="Segoe UI"/>
                <a:cs typeface="Segoe UI" pitchFamily="34" charset="0"/>
              </a:endParaRPr>
            </a:p>
          </p:txBody>
        </p:sp>
        <p:grpSp>
          <p:nvGrpSpPr>
            <p:cNvPr id="283" name="Group 4">
              <a:extLst>
                <a:ext uri="{FF2B5EF4-FFF2-40B4-BE49-F238E27FC236}">
                  <a16:creationId xmlns:a16="http://schemas.microsoft.com/office/drawing/2014/main" id="{64B1A915-714F-4579-AD8D-36ACEDD57B25}"/>
                </a:ext>
              </a:extLst>
            </p:cNvPr>
            <p:cNvGrpSpPr>
              <a:grpSpLocks noChangeAspect="1"/>
            </p:cNvGrpSpPr>
            <p:nvPr/>
          </p:nvGrpSpPr>
          <p:grpSpPr bwMode="auto">
            <a:xfrm>
              <a:off x="10294006" y="3032162"/>
              <a:ext cx="149696" cy="115196"/>
              <a:chOff x="2880" y="2176"/>
              <a:chExt cx="256" cy="197"/>
            </a:xfrm>
            <a:solidFill>
              <a:srgbClr val="D2D2D2"/>
            </a:solidFill>
          </p:grpSpPr>
          <p:sp>
            <p:nvSpPr>
              <p:cNvPr id="284" name="Freeform 5">
                <a:extLst>
                  <a:ext uri="{FF2B5EF4-FFF2-40B4-BE49-F238E27FC236}">
                    <a16:creationId xmlns:a16="http://schemas.microsoft.com/office/drawing/2014/main" id="{E3095E2C-C6B8-43EE-A849-90195E906AD9}"/>
                  </a:ext>
                </a:extLst>
              </p:cNvPr>
              <p:cNvSpPr>
                <a:spLocks/>
              </p:cNvSpPr>
              <p:nvPr/>
            </p:nvSpPr>
            <p:spPr bwMode="auto">
              <a:xfrm>
                <a:off x="3017" y="2320"/>
                <a:ext cx="52" cy="53"/>
              </a:xfrm>
              <a:custGeom>
                <a:avLst/>
                <a:gdLst>
                  <a:gd name="T0" fmla="*/ 79 w 130"/>
                  <a:gd name="T1" fmla="*/ 8 h 129"/>
                  <a:gd name="T2" fmla="*/ 51 w 130"/>
                  <a:gd name="T3" fmla="*/ 8 h 129"/>
                  <a:gd name="T4" fmla="*/ 8 w 130"/>
                  <a:gd name="T5" fmla="*/ 50 h 129"/>
                  <a:gd name="T6" fmla="*/ 8 w 130"/>
                  <a:gd name="T7" fmla="*/ 79 h 129"/>
                  <a:gd name="T8" fmla="*/ 51 w 130"/>
                  <a:gd name="T9" fmla="*/ 122 h 129"/>
                  <a:gd name="T10" fmla="*/ 79 w 130"/>
                  <a:gd name="T11" fmla="*/ 122 h 129"/>
                  <a:gd name="T12" fmla="*/ 122 w 130"/>
                  <a:gd name="T13" fmla="*/ 79 h 129"/>
                  <a:gd name="T14" fmla="*/ 122 w 130"/>
                  <a:gd name="T15" fmla="*/ 50 h 129"/>
                  <a:gd name="T16" fmla="*/ 79 w 130"/>
                  <a:gd name="T17" fmla="*/ 8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 h="129">
                    <a:moveTo>
                      <a:pt x="79" y="8"/>
                    </a:moveTo>
                    <a:cubicBezTo>
                      <a:pt x="71" y="0"/>
                      <a:pt x="59" y="0"/>
                      <a:pt x="51" y="8"/>
                    </a:cubicBezTo>
                    <a:cubicBezTo>
                      <a:pt x="8" y="50"/>
                      <a:pt x="8" y="50"/>
                      <a:pt x="8" y="50"/>
                    </a:cubicBezTo>
                    <a:cubicBezTo>
                      <a:pt x="0" y="58"/>
                      <a:pt x="0" y="71"/>
                      <a:pt x="8" y="79"/>
                    </a:cubicBezTo>
                    <a:cubicBezTo>
                      <a:pt x="51" y="122"/>
                      <a:pt x="51" y="122"/>
                      <a:pt x="51" y="122"/>
                    </a:cubicBezTo>
                    <a:cubicBezTo>
                      <a:pt x="59" y="129"/>
                      <a:pt x="71" y="129"/>
                      <a:pt x="79" y="122"/>
                    </a:cubicBezTo>
                    <a:cubicBezTo>
                      <a:pt x="122" y="79"/>
                      <a:pt x="122" y="79"/>
                      <a:pt x="122" y="79"/>
                    </a:cubicBezTo>
                    <a:cubicBezTo>
                      <a:pt x="130" y="71"/>
                      <a:pt x="130" y="58"/>
                      <a:pt x="122" y="50"/>
                    </a:cubicBezTo>
                    <a:lnTo>
                      <a:pt x="79"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51" tIns="34275" rIns="68551" bIns="34275" numCol="1" anchor="t" anchorCtr="0" compatLnSpc="1">
                <a:prstTxWarp prst="textNoShape">
                  <a:avLst/>
                </a:prstTxWarp>
              </a:bodyPr>
              <a:lstStyle/>
              <a:p>
                <a:pPr defTabSz="685406">
                  <a:defRPr/>
                </a:pPr>
                <a:endParaRPr lang="en-US" sz="1350" kern="0">
                  <a:solidFill>
                    <a:srgbClr val="505050"/>
                  </a:solidFill>
                  <a:latin typeface="Segoe UI"/>
                </a:endParaRPr>
              </a:p>
            </p:txBody>
          </p:sp>
          <p:sp>
            <p:nvSpPr>
              <p:cNvPr id="285" name="Freeform 6">
                <a:extLst>
                  <a:ext uri="{FF2B5EF4-FFF2-40B4-BE49-F238E27FC236}">
                    <a16:creationId xmlns:a16="http://schemas.microsoft.com/office/drawing/2014/main" id="{A30580E8-2235-4390-84B7-210E4FAFBCAE}"/>
                  </a:ext>
                </a:extLst>
              </p:cNvPr>
              <p:cNvSpPr>
                <a:spLocks/>
              </p:cNvSpPr>
              <p:nvPr/>
            </p:nvSpPr>
            <p:spPr bwMode="auto">
              <a:xfrm>
                <a:off x="3053" y="2283"/>
                <a:ext cx="52" cy="53"/>
              </a:xfrm>
              <a:custGeom>
                <a:avLst/>
                <a:gdLst>
                  <a:gd name="T0" fmla="*/ 79 w 130"/>
                  <a:gd name="T1" fmla="*/ 8 h 129"/>
                  <a:gd name="T2" fmla="*/ 51 w 130"/>
                  <a:gd name="T3" fmla="*/ 8 h 129"/>
                  <a:gd name="T4" fmla="*/ 8 w 130"/>
                  <a:gd name="T5" fmla="*/ 50 h 129"/>
                  <a:gd name="T6" fmla="*/ 8 w 130"/>
                  <a:gd name="T7" fmla="*/ 79 h 129"/>
                  <a:gd name="T8" fmla="*/ 51 w 130"/>
                  <a:gd name="T9" fmla="*/ 122 h 129"/>
                  <a:gd name="T10" fmla="*/ 79 w 130"/>
                  <a:gd name="T11" fmla="*/ 122 h 129"/>
                  <a:gd name="T12" fmla="*/ 122 w 130"/>
                  <a:gd name="T13" fmla="*/ 79 h 129"/>
                  <a:gd name="T14" fmla="*/ 122 w 130"/>
                  <a:gd name="T15" fmla="*/ 50 h 129"/>
                  <a:gd name="T16" fmla="*/ 79 w 130"/>
                  <a:gd name="T17" fmla="*/ 8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 h="129">
                    <a:moveTo>
                      <a:pt x="79" y="8"/>
                    </a:moveTo>
                    <a:cubicBezTo>
                      <a:pt x="71" y="0"/>
                      <a:pt x="59" y="0"/>
                      <a:pt x="51" y="8"/>
                    </a:cubicBezTo>
                    <a:cubicBezTo>
                      <a:pt x="8" y="50"/>
                      <a:pt x="8" y="50"/>
                      <a:pt x="8" y="50"/>
                    </a:cubicBezTo>
                    <a:cubicBezTo>
                      <a:pt x="0" y="58"/>
                      <a:pt x="0" y="71"/>
                      <a:pt x="8" y="79"/>
                    </a:cubicBezTo>
                    <a:cubicBezTo>
                      <a:pt x="51" y="122"/>
                      <a:pt x="51" y="122"/>
                      <a:pt x="51" y="122"/>
                    </a:cubicBezTo>
                    <a:cubicBezTo>
                      <a:pt x="59" y="129"/>
                      <a:pt x="71" y="129"/>
                      <a:pt x="79" y="122"/>
                    </a:cubicBezTo>
                    <a:cubicBezTo>
                      <a:pt x="122" y="79"/>
                      <a:pt x="122" y="79"/>
                      <a:pt x="122" y="79"/>
                    </a:cubicBezTo>
                    <a:cubicBezTo>
                      <a:pt x="130" y="71"/>
                      <a:pt x="130" y="58"/>
                      <a:pt x="122" y="50"/>
                    </a:cubicBezTo>
                    <a:lnTo>
                      <a:pt x="79"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51" tIns="34275" rIns="68551" bIns="34275" numCol="1" anchor="t" anchorCtr="0" compatLnSpc="1">
                <a:prstTxWarp prst="textNoShape">
                  <a:avLst/>
                </a:prstTxWarp>
              </a:bodyPr>
              <a:lstStyle/>
              <a:p>
                <a:pPr defTabSz="685406">
                  <a:defRPr/>
                </a:pPr>
                <a:endParaRPr lang="en-US" sz="1350" kern="0">
                  <a:solidFill>
                    <a:srgbClr val="505050"/>
                  </a:solidFill>
                  <a:latin typeface="Segoe UI"/>
                </a:endParaRPr>
              </a:p>
            </p:txBody>
          </p:sp>
          <p:sp>
            <p:nvSpPr>
              <p:cNvPr id="286" name="Freeform 7">
                <a:extLst>
                  <a:ext uri="{FF2B5EF4-FFF2-40B4-BE49-F238E27FC236}">
                    <a16:creationId xmlns:a16="http://schemas.microsoft.com/office/drawing/2014/main" id="{8DA61C71-988E-46E1-8437-BDF9385EABD5}"/>
                  </a:ext>
                </a:extLst>
              </p:cNvPr>
              <p:cNvSpPr>
                <a:spLocks noEditPoints="1"/>
              </p:cNvSpPr>
              <p:nvPr/>
            </p:nvSpPr>
            <p:spPr bwMode="auto">
              <a:xfrm>
                <a:off x="2909" y="2247"/>
                <a:ext cx="124" cy="126"/>
              </a:xfrm>
              <a:custGeom>
                <a:avLst/>
                <a:gdLst>
                  <a:gd name="T0" fmla="*/ 300 w 308"/>
                  <a:gd name="T1" fmla="*/ 139 h 307"/>
                  <a:gd name="T2" fmla="*/ 286 w 308"/>
                  <a:gd name="T3" fmla="*/ 125 h 307"/>
                  <a:gd name="T4" fmla="*/ 168 w 308"/>
                  <a:gd name="T5" fmla="*/ 8 h 307"/>
                  <a:gd name="T6" fmla="*/ 140 w 308"/>
                  <a:gd name="T7" fmla="*/ 8 h 307"/>
                  <a:gd name="T8" fmla="*/ 22 w 308"/>
                  <a:gd name="T9" fmla="*/ 125 h 307"/>
                  <a:gd name="T10" fmla="*/ 8 w 308"/>
                  <a:gd name="T11" fmla="*/ 139 h 307"/>
                  <a:gd name="T12" fmla="*/ 8 w 308"/>
                  <a:gd name="T13" fmla="*/ 168 h 307"/>
                  <a:gd name="T14" fmla="*/ 22 w 308"/>
                  <a:gd name="T15" fmla="*/ 182 h 307"/>
                  <a:gd name="T16" fmla="*/ 140 w 308"/>
                  <a:gd name="T17" fmla="*/ 299 h 307"/>
                  <a:gd name="T18" fmla="*/ 168 w 308"/>
                  <a:gd name="T19" fmla="*/ 299 h 307"/>
                  <a:gd name="T20" fmla="*/ 286 w 308"/>
                  <a:gd name="T21" fmla="*/ 182 h 307"/>
                  <a:gd name="T22" fmla="*/ 300 w 308"/>
                  <a:gd name="T23" fmla="*/ 168 h 307"/>
                  <a:gd name="T24" fmla="*/ 300 w 308"/>
                  <a:gd name="T25" fmla="*/ 139 h 307"/>
                  <a:gd name="T26" fmla="*/ 140 w 308"/>
                  <a:gd name="T27" fmla="*/ 210 h 307"/>
                  <a:gd name="T28" fmla="*/ 108 w 308"/>
                  <a:gd name="T29" fmla="*/ 179 h 307"/>
                  <a:gd name="T30" fmla="*/ 97 w 308"/>
                  <a:gd name="T31" fmla="*/ 168 h 307"/>
                  <a:gd name="T32" fmla="*/ 97 w 308"/>
                  <a:gd name="T33" fmla="*/ 139 h 307"/>
                  <a:gd name="T34" fmla="*/ 140 w 308"/>
                  <a:gd name="T35" fmla="*/ 97 h 307"/>
                  <a:gd name="T36" fmla="*/ 168 w 308"/>
                  <a:gd name="T37" fmla="*/ 97 h 307"/>
                  <a:gd name="T38" fmla="*/ 211 w 308"/>
                  <a:gd name="T39" fmla="*/ 139 h 307"/>
                  <a:gd name="T40" fmla="*/ 211 w 308"/>
                  <a:gd name="T41" fmla="*/ 168 h 307"/>
                  <a:gd name="T42" fmla="*/ 200 w 308"/>
                  <a:gd name="T43" fmla="*/ 179 h 307"/>
                  <a:gd name="T44" fmla="*/ 168 w 308"/>
                  <a:gd name="T45" fmla="*/ 210 h 307"/>
                  <a:gd name="T46" fmla="*/ 140 w 308"/>
                  <a:gd name="T47" fmla="*/ 210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08" h="307">
                    <a:moveTo>
                      <a:pt x="300" y="139"/>
                    </a:moveTo>
                    <a:cubicBezTo>
                      <a:pt x="286" y="125"/>
                      <a:pt x="286" y="125"/>
                      <a:pt x="286" y="125"/>
                    </a:cubicBezTo>
                    <a:cubicBezTo>
                      <a:pt x="168" y="8"/>
                      <a:pt x="168" y="8"/>
                      <a:pt x="168" y="8"/>
                    </a:cubicBezTo>
                    <a:cubicBezTo>
                      <a:pt x="161" y="0"/>
                      <a:pt x="148" y="0"/>
                      <a:pt x="140" y="8"/>
                    </a:cubicBezTo>
                    <a:cubicBezTo>
                      <a:pt x="22" y="125"/>
                      <a:pt x="22" y="125"/>
                      <a:pt x="22" y="125"/>
                    </a:cubicBezTo>
                    <a:cubicBezTo>
                      <a:pt x="8" y="139"/>
                      <a:pt x="8" y="139"/>
                      <a:pt x="8" y="139"/>
                    </a:cubicBezTo>
                    <a:cubicBezTo>
                      <a:pt x="0" y="147"/>
                      <a:pt x="0" y="160"/>
                      <a:pt x="8" y="168"/>
                    </a:cubicBezTo>
                    <a:cubicBezTo>
                      <a:pt x="22" y="182"/>
                      <a:pt x="22" y="182"/>
                      <a:pt x="22" y="182"/>
                    </a:cubicBezTo>
                    <a:cubicBezTo>
                      <a:pt x="140" y="299"/>
                      <a:pt x="140" y="299"/>
                      <a:pt x="140" y="299"/>
                    </a:cubicBezTo>
                    <a:cubicBezTo>
                      <a:pt x="148" y="307"/>
                      <a:pt x="161" y="307"/>
                      <a:pt x="168" y="299"/>
                    </a:cubicBezTo>
                    <a:cubicBezTo>
                      <a:pt x="286" y="182"/>
                      <a:pt x="286" y="182"/>
                      <a:pt x="286" y="182"/>
                    </a:cubicBezTo>
                    <a:cubicBezTo>
                      <a:pt x="300" y="168"/>
                      <a:pt x="300" y="168"/>
                      <a:pt x="300" y="168"/>
                    </a:cubicBezTo>
                    <a:cubicBezTo>
                      <a:pt x="308" y="160"/>
                      <a:pt x="308" y="147"/>
                      <a:pt x="300" y="139"/>
                    </a:cubicBezTo>
                    <a:moveTo>
                      <a:pt x="140" y="210"/>
                    </a:moveTo>
                    <a:cubicBezTo>
                      <a:pt x="108" y="179"/>
                      <a:pt x="108" y="179"/>
                      <a:pt x="108" y="179"/>
                    </a:cubicBezTo>
                    <a:cubicBezTo>
                      <a:pt x="97" y="168"/>
                      <a:pt x="97" y="168"/>
                      <a:pt x="97" y="168"/>
                    </a:cubicBezTo>
                    <a:cubicBezTo>
                      <a:pt x="89" y="160"/>
                      <a:pt x="89" y="147"/>
                      <a:pt x="97" y="139"/>
                    </a:cubicBezTo>
                    <a:cubicBezTo>
                      <a:pt x="140" y="97"/>
                      <a:pt x="140" y="97"/>
                      <a:pt x="140" y="97"/>
                    </a:cubicBezTo>
                    <a:cubicBezTo>
                      <a:pt x="148" y="89"/>
                      <a:pt x="161" y="89"/>
                      <a:pt x="168" y="97"/>
                    </a:cubicBezTo>
                    <a:cubicBezTo>
                      <a:pt x="211" y="139"/>
                      <a:pt x="211" y="139"/>
                      <a:pt x="211" y="139"/>
                    </a:cubicBezTo>
                    <a:cubicBezTo>
                      <a:pt x="219" y="147"/>
                      <a:pt x="219" y="160"/>
                      <a:pt x="211" y="168"/>
                    </a:cubicBezTo>
                    <a:cubicBezTo>
                      <a:pt x="200" y="179"/>
                      <a:pt x="200" y="179"/>
                      <a:pt x="200" y="179"/>
                    </a:cubicBezTo>
                    <a:cubicBezTo>
                      <a:pt x="168" y="210"/>
                      <a:pt x="168" y="210"/>
                      <a:pt x="168" y="210"/>
                    </a:cubicBezTo>
                    <a:cubicBezTo>
                      <a:pt x="161" y="218"/>
                      <a:pt x="148" y="218"/>
                      <a:pt x="140" y="21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51" tIns="34275" rIns="68551" bIns="34275" numCol="1" anchor="t" anchorCtr="0" compatLnSpc="1">
                <a:prstTxWarp prst="textNoShape">
                  <a:avLst/>
                </a:prstTxWarp>
              </a:bodyPr>
              <a:lstStyle/>
              <a:p>
                <a:pPr defTabSz="685406">
                  <a:defRPr/>
                </a:pPr>
                <a:endParaRPr lang="en-US" sz="1350" kern="0">
                  <a:solidFill>
                    <a:srgbClr val="505050"/>
                  </a:solidFill>
                  <a:latin typeface="Segoe UI"/>
                </a:endParaRPr>
              </a:p>
            </p:txBody>
          </p:sp>
          <p:sp>
            <p:nvSpPr>
              <p:cNvPr id="287" name="Freeform 8">
                <a:extLst>
                  <a:ext uri="{FF2B5EF4-FFF2-40B4-BE49-F238E27FC236}">
                    <a16:creationId xmlns:a16="http://schemas.microsoft.com/office/drawing/2014/main" id="{CACDF428-4639-4F7A-A1E2-A35AADE20677}"/>
                  </a:ext>
                </a:extLst>
              </p:cNvPr>
              <p:cNvSpPr>
                <a:spLocks/>
              </p:cNvSpPr>
              <p:nvPr/>
            </p:nvSpPr>
            <p:spPr bwMode="auto">
              <a:xfrm>
                <a:off x="3017" y="2247"/>
                <a:ext cx="52" cy="53"/>
              </a:xfrm>
              <a:custGeom>
                <a:avLst/>
                <a:gdLst>
                  <a:gd name="T0" fmla="*/ 79 w 130"/>
                  <a:gd name="T1" fmla="*/ 122 h 129"/>
                  <a:gd name="T2" fmla="*/ 122 w 130"/>
                  <a:gd name="T3" fmla="*/ 79 h 129"/>
                  <a:gd name="T4" fmla="*/ 122 w 130"/>
                  <a:gd name="T5" fmla="*/ 50 h 129"/>
                  <a:gd name="T6" fmla="*/ 79 w 130"/>
                  <a:gd name="T7" fmla="*/ 8 h 129"/>
                  <a:gd name="T8" fmla="*/ 51 w 130"/>
                  <a:gd name="T9" fmla="*/ 8 h 129"/>
                  <a:gd name="T10" fmla="*/ 8 w 130"/>
                  <a:gd name="T11" fmla="*/ 50 h 129"/>
                  <a:gd name="T12" fmla="*/ 8 w 130"/>
                  <a:gd name="T13" fmla="*/ 79 h 129"/>
                  <a:gd name="T14" fmla="*/ 51 w 130"/>
                  <a:gd name="T15" fmla="*/ 122 h 129"/>
                  <a:gd name="T16" fmla="*/ 79 w 130"/>
                  <a:gd name="T17" fmla="*/ 122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 h="129">
                    <a:moveTo>
                      <a:pt x="79" y="122"/>
                    </a:moveTo>
                    <a:cubicBezTo>
                      <a:pt x="122" y="79"/>
                      <a:pt x="122" y="79"/>
                      <a:pt x="122" y="79"/>
                    </a:cubicBezTo>
                    <a:cubicBezTo>
                      <a:pt x="130" y="71"/>
                      <a:pt x="130" y="58"/>
                      <a:pt x="122" y="50"/>
                    </a:cubicBezTo>
                    <a:cubicBezTo>
                      <a:pt x="79" y="8"/>
                      <a:pt x="79" y="8"/>
                      <a:pt x="79" y="8"/>
                    </a:cubicBezTo>
                    <a:cubicBezTo>
                      <a:pt x="71" y="0"/>
                      <a:pt x="59" y="0"/>
                      <a:pt x="51" y="8"/>
                    </a:cubicBezTo>
                    <a:cubicBezTo>
                      <a:pt x="8" y="50"/>
                      <a:pt x="8" y="50"/>
                      <a:pt x="8" y="50"/>
                    </a:cubicBezTo>
                    <a:cubicBezTo>
                      <a:pt x="0" y="58"/>
                      <a:pt x="0" y="71"/>
                      <a:pt x="8" y="79"/>
                    </a:cubicBezTo>
                    <a:cubicBezTo>
                      <a:pt x="51" y="122"/>
                      <a:pt x="51" y="122"/>
                      <a:pt x="51" y="122"/>
                    </a:cubicBezTo>
                    <a:cubicBezTo>
                      <a:pt x="59" y="129"/>
                      <a:pt x="71" y="129"/>
                      <a:pt x="79" y="12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51" tIns="34275" rIns="68551" bIns="34275" numCol="1" anchor="t" anchorCtr="0" compatLnSpc="1">
                <a:prstTxWarp prst="textNoShape">
                  <a:avLst/>
                </a:prstTxWarp>
              </a:bodyPr>
              <a:lstStyle/>
              <a:p>
                <a:pPr defTabSz="685406">
                  <a:defRPr/>
                </a:pPr>
                <a:endParaRPr lang="en-US" sz="1350" kern="0">
                  <a:solidFill>
                    <a:srgbClr val="505050"/>
                  </a:solidFill>
                  <a:latin typeface="Segoe UI"/>
                </a:endParaRPr>
              </a:p>
            </p:txBody>
          </p:sp>
          <p:sp>
            <p:nvSpPr>
              <p:cNvPr id="288" name="Freeform 9">
                <a:extLst>
                  <a:ext uri="{FF2B5EF4-FFF2-40B4-BE49-F238E27FC236}">
                    <a16:creationId xmlns:a16="http://schemas.microsoft.com/office/drawing/2014/main" id="{07276D52-AEAB-47F8-9B4F-BB5AED318078}"/>
                  </a:ext>
                </a:extLst>
              </p:cNvPr>
              <p:cNvSpPr>
                <a:spLocks/>
              </p:cNvSpPr>
              <p:nvPr/>
            </p:nvSpPr>
            <p:spPr bwMode="auto">
              <a:xfrm>
                <a:off x="2880" y="2176"/>
                <a:ext cx="256" cy="170"/>
              </a:xfrm>
              <a:custGeom>
                <a:avLst/>
                <a:gdLst>
                  <a:gd name="T0" fmla="*/ 562 w 638"/>
                  <a:gd name="T1" fmla="*/ 413 h 413"/>
                  <a:gd name="T2" fmla="*/ 549 w 638"/>
                  <a:gd name="T3" fmla="*/ 413 h 413"/>
                  <a:gd name="T4" fmla="*/ 549 w 638"/>
                  <a:gd name="T5" fmla="*/ 388 h 413"/>
                  <a:gd name="T6" fmla="*/ 562 w 638"/>
                  <a:gd name="T7" fmla="*/ 388 h 413"/>
                  <a:gd name="T8" fmla="*/ 612 w 638"/>
                  <a:gd name="T9" fmla="*/ 338 h 413"/>
                  <a:gd name="T10" fmla="*/ 612 w 638"/>
                  <a:gd name="T11" fmla="*/ 75 h 413"/>
                  <a:gd name="T12" fmla="*/ 562 w 638"/>
                  <a:gd name="T13" fmla="*/ 26 h 413"/>
                  <a:gd name="T14" fmla="*/ 75 w 638"/>
                  <a:gd name="T15" fmla="*/ 26 h 413"/>
                  <a:gd name="T16" fmla="*/ 25 w 638"/>
                  <a:gd name="T17" fmla="*/ 75 h 413"/>
                  <a:gd name="T18" fmla="*/ 25 w 638"/>
                  <a:gd name="T19" fmla="*/ 338 h 413"/>
                  <a:gd name="T20" fmla="*/ 75 w 638"/>
                  <a:gd name="T21" fmla="*/ 388 h 413"/>
                  <a:gd name="T22" fmla="*/ 88 w 638"/>
                  <a:gd name="T23" fmla="*/ 388 h 413"/>
                  <a:gd name="T24" fmla="*/ 88 w 638"/>
                  <a:gd name="T25" fmla="*/ 413 h 413"/>
                  <a:gd name="T26" fmla="*/ 75 w 638"/>
                  <a:gd name="T27" fmla="*/ 413 h 413"/>
                  <a:gd name="T28" fmla="*/ 0 w 638"/>
                  <a:gd name="T29" fmla="*/ 338 h 413"/>
                  <a:gd name="T30" fmla="*/ 0 w 638"/>
                  <a:gd name="T31" fmla="*/ 75 h 413"/>
                  <a:gd name="T32" fmla="*/ 75 w 638"/>
                  <a:gd name="T33" fmla="*/ 0 h 413"/>
                  <a:gd name="T34" fmla="*/ 562 w 638"/>
                  <a:gd name="T35" fmla="*/ 0 h 413"/>
                  <a:gd name="T36" fmla="*/ 638 w 638"/>
                  <a:gd name="T37" fmla="*/ 75 h 413"/>
                  <a:gd name="T38" fmla="*/ 638 w 638"/>
                  <a:gd name="T39" fmla="*/ 338 h 413"/>
                  <a:gd name="T40" fmla="*/ 562 w 638"/>
                  <a:gd name="T41" fmla="*/ 413 h 4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38" h="413">
                    <a:moveTo>
                      <a:pt x="562" y="413"/>
                    </a:moveTo>
                    <a:cubicBezTo>
                      <a:pt x="549" y="413"/>
                      <a:pt x="549" y="413"/>
                      <a:pt x="549" y="413"/>
                    </a:cubicBezTo>
                    <a:cubicBezTo>
                      <a:pt x="549" y="388"/>
                      <a:pt x="549" y="388"/>
                      <a:pt x="549" y="388"/>
                    </a:cubicBezTo>
                    <a:cubicBezTo>
                      <a:pt x="562" y="388"/>
                      <a:pt x="562" y="388"/>
                      <a:pt x="562" y="388"/>
                    </a:cubicBezTo>
                    <a:cubicBezTo>
                      <a:pt x="590" y="388"/>
                      <a:pt x="612" y="365"/>
                      <a:pt x="612" y="338"/>
                    </a:cubicBezTo>
                    <a:cubicBezTo>
                      <a:pt x="612" y="75"/>
                      <a:pt x="612" y="75"/>
                      <a:pt x="612" y="75"/>
                    </a:cubicBezTo>
                    <a:cubicBezTo>
                      <a:pt x="612" y="48"/>
                      <a:pt x="590" y="26"/>
                      <a:pt x="562" y="26"/>
                    </a:cubicBezTo>
                    <a:cubicBezTo>
                      <a:pt x="75" y="26"/>
                      <a:pt x="75" y="26"/>
                      <a:pt x="75" y="26"/>
                    </a:cubicBezTo>
                    <a:cubicBezTo>
                      <a:pt x="47" y="26"/>
                      <a:pt x="25" y="48"/>
                      <a:pt x="25" y="75"/>
                    </a:cubicBezTo>
                    <a:cubicBezTo>
                      <a:pt x="25" y="338"/>
                      <a:pt x="25" y="338"/>
                      <a:pt x="25" y="338"/>
                    </a:cubicBezTo>
                    <a:cubicBezTo>
                      <a:pt x="25" y="365"/>
                      <a:pt x="47" y="388"/>
                      <a:pt x="75" y="388"/>
                    </a:cubicBezTo>
                    <a:cubicBezTo>
                      <a:pt x="88" y="388"/>
                      <a:pt x="88" y="388"/>
                      <a:pt x="88" y="388"/>
                    </a:cubicBezTo>
                    <a:cubicBezTo>
                      <a:pt x="88" y="413"/>
                      <a:pt x="88" y="413"/>
                      <a:pt x="88" y="413"/>
                    </a:cubicBezTo>
                    <a:cubicBezTo>
                      <a:pt x="75" y="413"/>
                      <a:pt x="75" y="413"/>
                      <a:pt x="75" y="413"/>
                    </a:cubicBezTo>
                    <a:cubicBezTo>
                      <a:pt x="33" y="413"/>
                      <a:pt x="0" y="380"/>
                      <a:pt x="0" y="338"/>
                    </a:cubicBezTo>
                    <a:cubicBezTo>
                      <a:pt x="0" y="75"/>
                      <a:pt x="0" y="75"/>
                      <a:pt x="0" y="75"/>
                    </a:cubicBezTo>
                    <a:cubicBezTo>
                      <a:pt x="0" y="34"/>
                      <a:pt x="33" y="0"/>
                      <a:pt x="75" y="0"/>
                    </a:cubicBezTo>
                    <a:cubicBezTo>
                      <a:pt x="562" y="0"/>
                      <a:pt x="562" y="0"/>
                      <a:pt x="562" y="0"/>
                    </a:cubicBezTo>
                    <a:cubicBezTo>
                      <a:pt x="604" y="0"/>
                      <a:pt x="638" y="34"/>
                      <a:pt x="638" y="75"/>
                    </a:cubicBezTo>
                    <a:cubicBezTo>
                      <a:pt x="638" y="338"/>
                      <a:pt x="638" y="338"/>
                      <a:pt x="638" y="338"/>
                    </a:cubicBezTo>
                    <a:cubicBezTo>
                      <a:pt x="638" y="380"/>
                      <a:pt x="604" y="413"/>
                      <a:pt x="562" y="41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51" tIns="34275" rIns="68551" bIns="34275" numCol="1" anchor="t" anchorCtr="0" compatLnSpc="1">
                <a:prstTxWarp prst="textNoShape">
                  <a:avLst/>
                </a:prstTxWarp>
              </a:bodyPr>
              <a:lstStyle/>
              <a:p>
                <a:pPr defTabSz="685406">
                  <a:defRPr/>
                </a:pPr>
                <a:endParaRPr lang="en-US" sz="1350" kern="0">
                  <a:solidFill>
                    <a:srgbClr val="505050"/>
                  </a:solidFill>
                  <a:latin typeface="Segoe UI"/>
                </a:endParaRPr>
              </a:p>
            </p:txBody>
          </p:sp>
        </p:grpSp>
      </p:grpSp>
      <p:grpSp>
        <p:nvGrpSpPr>
          <p:cNvPr id="289" name="Group 288">
            <a:extLst>
              <a:ext uri="{FF2B5EF4-FFF2-40B4-BE49-F238E27FC236}">
                <a16:creationId xmlns:a16="http://schemas.microsoft.com/office/drawing/2014/main" id="{B6EE8027-F734-4EA8-9D37-CF6DC4B656A2}"/>
              </a:ext>
            </a:extLst>
          </p:cNvPr>
          <p:cNvGrpSpPr/>
          <p:nvPr/>
        </p:nvGrpSpPr>
        <p:grpSpPr>
          <a:xfrm>
            <a:off x="7309636" y="1568208"/>
            <a:ext cx="227281" cy="227281"/>
            <a:chOff x="3089819" y="3471383"/>
            <a:chExt cx="1051261" cy="1051261"/>
          </a:xfrm>
        </p:grpSpPr>
        <p:sp>
          <p:nvSpPr>
            <p:cNvPr id="290" name="Oval 289">
              <a:extLst>
                <a:ext uri="{FF2B5EF4-FFF2-40B4-BE49-F238E27FC236}">
                  <a16:creationId xmlns:a16="http://schemas.microsoft.com/office/drawing/2014/main" id="{2A05D820-36AE-465D-B3F6-E24C98E5F710}"/>
                </a:ext>
              </a:extLst>
            </p:cNvPr>
            <p:cNvSpPr/>
            <p:nvPr/>
          </p:nvSpPr>
          <p:spPr bwMode="auto">
            <a:xfrm>
              <a:off x="3089819" y="3471383"/>
              <a:ext cx="1051261" cy="1051261"/>
            </a:xfrm>
            <a:prstGeom prst="ellipse">
              <a:avLst/>
            </a:prstGeom>
            <a:solidFill>
              <a:srgbClr val="FFC000"/>
            </a:solidFill>
            <a:ln>
              <a:noFill/>
            </a:ln>
            <a:effectLst>
              <a:outerShdw blurRad="63500" dist="381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23359" tIns="98688" rIns="123359" bIns="98688" numCol="1" spcCol="0" rtlCol="0" fromWordArt="0" anchor="ctr" anchorCtr="0" forceAA="0" compatLnSpc="1">
              <a:prstTxWarp prst="textNoShape">
                <a:avLst/>
              </a:prstTxWarp>
              <a:noAutofit/>
            </a:bodyPr>
            <a:lstStyle/>
            <a:p>
              <a:pPr defTabSz="628868" fontAlgn="base">
                <a:spcBef>
                  <a:spcPct val="0"/>
                </a:spcBef>
                <a:spcAft>
                  <a:spcPct val="0"/>
                </a:spcAft>
                <a:defRPr/>
              </a:pPr>
              <a:endParaRPr lang="en-US" sz="1349">
                <a:solidFill>
                  <a:srgbClr val="1A1A1A"/>
                </a:solidFill>
                <a:latin typeface="Segoe UI"/>
                <a:cs typeface="Segoe UI" pitchFamily="34" charset="0"/>
              </a:endParaRPr>
            </a:p>
          </p:txBody>
        </p:sp>
        <p:grpSp>
          <p:nvGrpSpPr>
            <p:cNvPr id="291" name="Group 12">
              <a:extLst>
                <a:ext uri="{FF2B5EF4-FFF2-40B4-BE49-F238E27FC236}">
                  <a16:creationId xmlns:a16="http://schemas.microsoft.com/office/drawing/2014/main" id="{BF09DD7A-B5FA-4C37-B149-4CDB2A9233B2}"/>
                </a:ext>
              </a:extLst>
            </p:cNvPr>
            <p:cNvGrpSpPr>
              <a:grpSpLocks noChangeAspect="1"/>
            </p:cNvGrpSpPr>
            <p:nvPr/>
          </p:nvGrpSpPr>
          <p:grpSpPr bwMode="auto">
            <a:xfrm>
              <a:off x="3373362" y="3835622"/>
              <a:ext cx="484185" cy="367830"/>
              <a:chOff x="4543" y="2188"/>
              <a:chExt cx="258" cy="196"/>
            </a:xfrm>
            <a:solidFill>
              <a:schemeClr val="bg1"/>
            </a:solidFill>
          </p:grpSpPr>
          <p:sp>
            <p:nvSpPr>
              <p:cNvPr id="292" name="Freeform 13">
                <a:extLst>
                  <a:ext uri="{FF2B5EF4-FFF2-40B4-BE49-F238E27FC236}">
                    <a16:creationId xmlns:a16="http://schemas.microsoft.com/office/drawing/2014/main" id="{7DF9D2E3-D128-4CAC-B2C1-154D059B7CE9}"/>
                  </a:ext>
                </a:extLst>
              </p:cNvPr>
              <p:cNvSpPr>
                <a:spLocks/>
              </p:cNvSpPr>
              <p:nvPr/>
            </p:nvSpPr>
            <p:spPr bwMode="auto">
              <a:xfrm>
                <a:off x="4543" y="2188"/>
                <a:ext cx="258" cy="170"/>
              </a:xfrm>
              <a:custGeom>
                <a:avLst/>
                <a:gdLst>
                  <a:gd name="T0" fmla="*/ 635 w 720"/>
                  <a:gd name="T1" fmla="*/ 467 h 467"/>
                  <a:gd name="T2" fmla="*/ 620 w 720"/>
                  <a:gd name="T3" fmla="*/ 467 h 467"/>
                  <a:gd name="T4" fmla="*/ 620 w 720"/>
                  <a:gd name="T5" fmla="*/ 438 h 467"/>
                  <a:gd name="T6" fmla="*/ 635 w 720"/>
                  <a:gd name="T7" fmla="*/ 438 h 467"/>
                  <a:gd name="T8" fmla="*/ 691 w 720"/>
                  <a:gd name="T9" fmla="*/ 382 h 467"/>
                  <a:gd name="T10" fmla="*/ 691 w 720"/>
                  <a:gd name="T11" fmla="*/ 85 h 467"/>
                  <a:gd name="T12" fmla="*/ 635 w 720"/>
                  <a:gd name="T13" fmla="*/ 29 h 467"/>
                  <a:gd name="T14" fmla="*/ 85 w 720"/>
                  <a:gd name="T15" fmla="*/ 29 h 467"/>
                  <a:gd name="T16" fmla="*/ 29 w 720"/>
                  <a:gd name="T17" fmla="*/ 85 h 467"/>
                  <a:gd name="T18" fmla="*/ 29 w 720"/>
                  <a:gd name="T19" fmla="*/ 382 h 467"/>
                  <a:gd name="T20" fmla="*/ 85 w 720"/>
                  <a:gd name="T21" fmla="*/ 438 h 467"/>
                  <a:gd name="T22" fmla="*/ 99 w 720"/>
                  <a:gd name="T23" fmla="*/ 438 h 467"/>
                  <a:gd name="T24" fmla="*/ 99 w 720"/>
                  <a:gd name="T25" fmla="*/ 467 h 467"/>
                  <a:gd name="T26" fmla="*/ 85 w 720"/>
                  <a:gd name="T27" fmla="*/ 467 h 467"/>
                  <a:gd name="T28" fmla="*/ 0 w 720"/>
                  <a:gd name="T29" fmla="*/ 382 h 467"/>
                  <a:gd name="T30" fmla="*/ 0 w 720"/>
                  <a:gd name="T31" fmla="*/ 85 h 467"/>
                  <a:gd name="T32" fmla="*/ 85 w 720"/>
                  <a:gd name="T33" fmla="*/ 0 h 467"/>
                  <a:gd name="T34" fmla="*/ 635 w 720"/>
                  <a:gd name="T35" fmla="*/ 0 h 467"/>
                  <a:gd name="T36" fmla="*/ 720 w 720"/>
                  <a:gd name="T37" fmla="*/ 85 h 467"/>
                  <a:gd name="T38" fmla="*/ 720 w 720"/>
                  <a:gd name="T39" fmla="*/ 382 h 467"/>
                  <a:gd name="T40" fmla="*/ 635 w 720"/>
                  <a:gd name="T41" fmla="*/ 467 h 4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20" h="467">
                    <a:moveTo>
                      <a:pt x="635" y="467"/>
                    </a:moveTo>
                    <a:cubicBezTo>
                      <a:pt x="620" y="467"/>
                      <a:pt x="620" y="467"/>
                      <a:pt x="620" y="467"/>
                    </a:cubicBezTo>
                    <a:cubicBezTo>
                      <a:pt x="620" y="438"/>
                      <a:pt x="620" y="438"/>
                      <a:pt x="620" y="438"/>
                    </a:cubicBezTo>
                    <a:cubicBezTo>
                      <a:pt x="635" y="438"/>
                      <a:pt x="635" y="438"/>
                      <a:pt x="635" y="438"/>
                    </a:cubicBezTo>
                    <a:cubicBezTo>
                      <a:pt x="666" y="438"/>
                      <a:pt x="691" y="413"/>
                      <a:pt x="691" y="382"/>
                    </a:cubicBezTo>
                    <a:cubicBezTo>
                      <a:pt x="691" y="85"/>
                      <a:pt x="691" y="85"/>
                      <a:pt x="691" y="85"/>
                    </a:cubicBezTo>
                    <a:cubicBezTo>
                      <a:pt x="691" y="54"/>
                      <a:pt x="666" y="29"/>
                      <a:pt x="635" y="29"/>
                    </a:cubicBezTo>
                    <a:cubicBezTo>
                      <a:pt x="85" y="29"/>
                      <a:pt x="85" y="29"/>
                      <a:pt x="85" y="29"/>
                    </a:cubicBezTo>
                    <a:cubicBezTo>
                      <a:pt x="54" y="29"/>
                      <a:pt x="29" y="54"/>
                      <a:pt x="29" y="85"/>
                    </a:cubicBezTo>
                    <a:cubicBezTo>
                      <a:pt x="29" y="382"/>
                      <a:pt x="29" y="382"/>
                      <a:pt x="29" y="382"/>
                    </a:cubicBezTo>
                    <a:cubicBezTo>
                      <a:pt x="29" y="413"/>
                      <a:pt x="54" y="438"/>
                      <a:pt x="85" y="438"/>
                    </a:cubicBezTo>
                    <a:cubicBezTo>
                      <a:pt x="99" y="438"/>
                      <a:pt x="99" y="438"/>
                      <a:pt x="99" y="438"/>
                    </a:cubicBezTo>
                    <a:cubicBezTo>
                      <a:pt x="99" y="467"/>
                      <a:pt x="99" y="467"/>
                      <a:pt x="99" y="467"/>
                    </a:cubicBezTo>
                    <a:cubicBezTo>
                      <a:pt x="85" y="467"/>
                      <a:pt x="85" y="467"/>
                      <a:pt x="85" y="467"/>
                    </a:cubicBezTo>
                    <a:cubicBezTo>
                      <a:pt x="38" y="467"/>
                      <a:pt x="0" y="429"/>
                      <a:pt x="0" y="382"/>
                    </a:cubicBezTo>
                    <a:cubicBezTo>
                      <a:pt x="0" y="85"/>
                      <a:pt x="0" y="85"/>
                      <a:pt x="0" y="85"/>
                    </a:cubicBezTo>
                    <a:cubicBezTo>
                      <a:pt x="0" y="38"/>
                      <a:pt x="38" y="0"/>
                      <a:pt x="85" y="0"/>
                    </a:cubicBezTo>
                    <a:cubicBezTo>
                      <a:pt x="635" y="0"/>
                      <a:pt x="635" y="0"/>
                      <a:pt x="635" y="0"/>
                    </a:cubicBezTo>
                    <a:cubicBezTo>
                      <a:pt x="682" y="0"/>
                      <a:pt x="720" y="38"/>
                      <a:pt x="720" y="85"/>
                    </a:cubicBezTo>
                    <a:cubicBezTo>
                      <a:pt x="720" y="382"/>
                      <a:pt x="720" y="382"/>
                      <a:pt x="720" y="382"/>
                    </a:cubicBezTo>
                    <a:cubicBezTo>
                      <a:pt x="720" y="429"/>
                      <a:pt x="682" y="467"/>
                      <a:pt x="635" y="46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51" tIns="34275" rIns="68551" bIns="34275" numCol="1" anchor="t" anchorCtr="0" compatLnSpc="1">
                <a:prstTxWarp prst="textNoShape">
                  <a:avLst/>
                </a:prstTxWarp>
              </a:bodyPr>
              <a:lstStyle/>
              <a:p>
                <a:pPr defTabSz="685406">
                  <a:defRPr/>
                </a:pPr>
                <a:endParaRPr lang="en-US" sz="1350" kern="0">
                  <a:solidFill>
                    <a:srgbClr val="1A1A1A"/>
                  </a:solidFill>
                  <a:latin typeface="Segoe UI Semilight"/>
                </a:endParaRPr>
              </a:p>
            </p:txBody>
          </p:sp>
          <p:sp>
            <p:nvSpPr>
              <p:cNvPr id="293" name="Freeform 14">
                <a:extLst>
                  <a:ext uri="{FF2B5EF4-FFF2-40B4-BE49-F238E27FC236}">
                    <a16:creationId xmlns:a16="http://schemas.microsoft.com/office/drawing/2014/main" id="{FC52DAA2-4940-4CAA-BD70-E05B7C1DB3A3}"/>
                  </a:ext>
                </a:extLst>
              </p:cNvPr>
              <p:cNvSpPr>
                <a:spLocks/>
              </p:cNvSpPr>
              <p:nvPr/>
            </p:nvSpPr>
            <p:spPr bwMode="auto">
              <a:xfrm>
                <a:off x="4591" y="2323"/>
                <a:ext cx="28" cy="61"/>
              </a:xfrm>
              <a:custGeom>
                <a:avLst/>
                <a:gdLst>
                  <a:gd name="T0" fmla="*/ 40 w 79"/>
                  <a:gd name="T1" fmla="*/ 169 h 169"/>
                  <a:gd name="T2" fmla="*/ 0 w 79"/>
                  <a:gd name="T3" fmla="*/ 130 h 169"/>
                  <a:gd name="T4" fmla="*/ 0 w 79"/>
                  <a:gd name="T5" fmla="*/ 39 h 169"/>
                  <a:gd name="T6" fmla="*/ 40 w 79"/>
                  <a:gd name="T7" fmla="*/ 0 h 169"/>
                  <a:gd name="T8" fmla="*/ 40 w 79"/>
                  <a:gd name="T9" fmla="*/ 0 h 169"/>
                  <a:gd name="T10" fmla="*/ 79 w 79"/>
                  <a:gd name="T11" fmla="*/ 39 h 169"/>
                  <a:gd name="T12" fmla="*/ 79 w 79"/>
                  <a:gd name="T13" fmla="*/ 130 h 169"/>
                  <a:gd name="T14" fmla="*/ 40 w 79"/>
                  <a:gd name="T15" fmla="*/ 169 h 16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 h="169">
                    <a:moveTo>
                      <a:pt x="40" y="169"/>
                    </a:moveTo>
                    <a:cubicBezTo>
                      <a:pt x="18" y="169"/>
                      <a:pt x="0" y="152"/>
                      <a:pt x="0" y="130"/>
                    </a:cubicBezTo>
                    <a:cubicBezTo>
                      <a:pt x="0" y="39"/>
                      <a:pt x="0" y="39"/>
                      <a:pt x="0" y="39"/>
                    </a:cubicBezTo>
                    <a:cubicBezTo>
                      <a:pt x="0" y="17"/>
                      <a:pt x="18" y="0"/>
                      <a:pt x="40" y="0"/>
                    </a:cubicBezTo>
                    <a:cubicBezTo>
                      <a:pt x="40" y="0"/>
                      <a:pt x="40" y="0"/>
                      <a:pt x="40" y="0"/>
                    </a:cubicBezTo>
                    <a:cubicBezTo>
                      <a:pt x="62" y="0"/>
                      <a:pt x="79" y="17"/>
                      <a:pt x="79" y="39"/>
                    </a:cubicBezTo>
                    <a:cubicBezTo>
                      <a:pt x="79" y="130"/>
                      <a:pt x="79" y="130"/>
                      <a:pt x="79" y="130"/>
                    </a:cubicBezTo>
                    <a:cubicBezTo>
                      <a:pt x="79" y="152"/>
                      <a:pt x="62" y="169"/>
                      <a:pt x="40" y="1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51" tIns="34275" rIns="68551" bIns="34275" numCol="1" anchor="t" anchorCtr="0" compatLnSpc="1">
                <a:prstTxWarp prst="textNoShape">
                  <a:avLst/>
                </a:prstTxWarp>
              </a:bodyPr>
              <a:lstStyle/>
              <a:p>
                <a:pPr defTabSz="685406">
                  <a:defRPr/>
                </a:pPr>
                <a:endParaRPr lang="en-US" sz="1350" kern="0">
                  <a:solidFill>
                    <a:srgbClr val="1A1A1A"/>
                  </a:solidFill>
                  <a:latin typeface="Segoe UI Semilight"/>
                </a:endParaRPr>
              </a:p>
            </p:txBody>
          </p:sp>
          <p:sp>
            <p:nvSpPr>
              <p:cNvPr id="294" name="Freeform 15">
                <a:extLst>
                  <a:ext uri="{FF2B5EF4-FFF2-40B4-BE49-F238E27FC236}">
                    <a16:creationId xmlns:a16="http://schemas.microsoft.com/office/drawing/2014/main" id="{81D52168-5981-4240-A390-6B48766B8E8C}"/>
                  </a:ext>
                </a:extLst>
              </p:cNvPr>
              <p:cNvSpPr>
                <a:spLocks/>
              </p:cNvSpPr>
              <p:nvPr/>
            </p:nvSpPr>
            <p:spPr bwMode="auto">
              <a:xfrm>
                <a:off x="4635" y="2271"/>
                <a:ext cx="29" cy="113"/>
              </a:xfrm>
              <a:custGeom>
                <a:avLst/>
                <a:gdLst>
                  <a:gd name="T0" fmla="*/ 40 w 79"/>
                  <a:gd name="T1" fmla="*/ 312 h 312"/>
                  <a:gd name="T2" fmla="*/ 0 w 79"/>
                  <a:gd name="T3" fmla="*/ 273 h 312"/>
                  <a:gd name="T4" fmla="*/ 0 w 79"/>
                  <a:gd name="T5" fmla="*/ 40 h 312"/>
                  <a:gd name="T6" fmla="*/ 40 w 79"/>
                  <a:gd name="T7" fmla="*/ 0 h 312"/>
                  <a:gd name="T8" fmla="*/ 79 w 79"/>
                  <a:gd name="T9" fmla="*/ 40 h 312"/>
                  <a:gd name="T10" fmla="*/ 79 w 79"/>
                  <a:gd name="T11" fmla="*/ 273 h 312"/>
                  <a:gd name="T12" fmla="*/ 40 w 79"/>
                  <a:gd name="T13" fmla="*/ 312 h 312"/>
                </a:gdLst>
                <a:ahLst/>
                <a:cxnLst>
                  <a:cxn ang="0">
                    <a:pos x="T0" y="T1"/>
                  </a:cxn>
                  <a:cxn ang="0">
                    <a:pos x="T2" y="T3"/>
                  </a:cxn>
                  <a:cxn ang="0">
                    <a:pos x="T4" y="T5"/>
                  </a:cxn>
                  <a:cxn ang="0">
                    <a:pos x="T6" y="T7"/>
                  </a:cxn>
                  <a:cxn ang="0">
                    <a:pos x="T8" y="T9"/>
                  </a:cxn>
                  <a:cxn ang="0">
                    <a:pos x="T10" y="T11"/>
                  </a:cxn>
                  <a:cxn ang="0">
                    <a:pos x="T12" y="T13"/>
                  </a:cxn>
                </a:cxnLst>
                <a:rect l="0" t="0" r="r" b="b"/>
                <a:pathLst>
                  <a:path w="79" h="312">
                    <a:moveTo>
                      <a:pt x="40" y="312"/>
                    </a:moveTo>
                    <a:cubicBezTo>
                      <a:pt x="18" y="312"/>
                      <a:pt x="0" y="295"/>
                      <a:pt x="0" y="273"/>
                    </a:cubicBezTo>
                    <a:cubicBezTo>
                      <a:pt x="0" y="40"/>
                      <a:pt x="0" y="40"/>
                      <a:pt x="0" y="40"/>
                    </a:cubicBezTo>
                    <a:cubicBezTo>
                      <a:pt x="0" y="18"/>
                      <a:pt x="18" y="0"/>
                      <a:pt x="40" y="0"/>
                    </a:cubicBezTo>
                    <a:cubicBezTo>
                      <a:pt x="62" y="0"/>
                      <a:pt x="79" y="18"/>
                      <a:pt x="79" y="40"/>
                    </a:cubicBezTo>
                    <a:cubicBezTo>
                      <a:pt x="79" y="273"/>
                      <a:pt x="79" y="273"/>
                      <a:pt x="79" y="273"/>
                    </a:cubicBezTo>
                    <a:cubicBezTo>
                      <a:pt x="79" y="295"/>
                      <a:pt x="62" y="312"/>
                      <a:pt x="40" y="31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51" tIns="34275" rIns="68551" bIns="34275" numCol="1" anchor="t" anchorCtr="0" compatLnSpc="1">
                <a:prstTxWarp prst="textNoShape">
                  <a:avLst/>
                </a:prstTxWarp>
              </a:bodyPr>
              <a:lstStyle/>
              <a:p>
                <a:pPr defTabSz="685406">
                  <a:defRPr/>
                </a:pPr>
                <a:endParaRPr lang="en-US" sz="1350" kern="0">
                  <a:solidFill>
                    <a:srgbClr val="1A1A1A"/>
                  </a:solidFill>
                  <a:latin typeface="Segoe UI Semilight"/>
                </a:endParaRPr>
              </a:p>
            </p:txBody>
          </p:sp>
          <p:sp>
            <p:nvSpPr>
              <p:cNvPr id="295" name="Freeform 16">
                <a:extLst>
                  <a:ext uri="{FF2B5EF4-FFF2-40B4-BE49-F238E27FC236}">
                    <a16:creationId xmlns:a16="http://schemas.microsoft.com/office/drawing/2014/main" id="{82D21B0F-D631-400A-8FF9-4D948747B01F}"/>
                  </a:ext>
                </a:extLst>
              </p:cNvPr>
              <p:cNvSpPr>
                <a:spLocks/>
              </p:cNvSpPr>
              <p:nvPr/>
            </p:nvSpPr>
            <p:spPr bwMode="auto">
              <a:xfrm>
                <a:off x="4724" y="2235"/>
                <a:ext cx="29" cy="149"/>
              </a:xfrm>
              <a:custGeom>
                <a:avLst/>
                <a:gdLst>
                  <a:gd name="T0" fmla="*/ 40 w 79"/>
                  <a:gd name="T1" fmla="*/ 409 h 409"/>
                  <a:gd name="T2" fmla="*/ 0 w 79"/>
                  <a:gd name="T3" fmla="*/ 370 h 409"/>
                  <a:gd name="T4" fmla="*/ 0 w 79"/>
                  <a:gd name="T5" fmla="*/ 39 h 409"/>
                  <a:gd name="T6" fmla="*/ 40 w 79"/>
                  <a:gd name="T7" fmla="*/ 0 h 409"/>
                  <a:gd name="T8" fmla="*/ 79 w 79"/>
                  <a:gd name="T9" fmla="*/ 39 h 409"/>
                  <a:gd name="T10" fmla="*/ 79 w 79"/>
                  <a:gd name="T11" fmla="*/ 370 h 409"/>
                  <a:gd name="T12" fmla="*/ 40 w 79"/>
                  <a:gd name="T13" fmla="*/ 409 h 409"/>
                </a:gdLst>
                <a:ahLst/>
                <a:cxnLst>
                  <a:cxn ang="0">
                    <a:pos x="T0" y="T1"/>
                  </a:cxn>
                  <a:cxn ang="0">
                    <a:pos x="T2" y="T3"/>
                  </a:cxn>
                  <a:cxn ang="0">
                    <a:pos x="T4" y="T5"/>
                  </a:cxn>
                  <a:cxn ang="0">
                    <a:pos x="T6" y="T7"/>
                  </a:cxn>
                  <a:cxn ang="0">
                    <a:pos x="T8" y="T9"/>
                  </a:cxn>
                  <a:cxn ang="0">
                    <a:pos x="T10" y="T11"/>
                  </a:cxn>
                  <a:cxn ang="0">
                    <a:pos x="T12" y="T13"/>
                  </a:cxn>
                </a:cxnLst>
                <a:rect l="0" t="0" r="r" b="b"/>
                <a:pathLst>
                  <a:path w="79" h="409">
                    <a:moveTo>
                      <a:pt x="40" y="409"/>
                    </a:moveTo>
                    <a:cubicBezTo>
                      <a:pt x="18" y="409"/>
                      <a:pt x="0" y="392"/>
                      <a:pt x="0" y="370"/>
                    </a:cubicBezTo>
                    <a:cubicBezTo>
                      <a:pt x="0" y="39"/>
                      <a:pt x="0" y="39"/>
                      <a:pt x="0" y="39"/>
                    </a:cubicBezTo>
                    <a:cubicBezTo>
                      <a:pt x="0" y="18"/>
                      <a:pt x="18" y="0"/>
                      <a:pt x="40" y="0"/>
                    </a:cubicBezTo>
                    <a:cubicBezTo>
                      <a:pt x="61" y="0"/>
                      <a:pt x="79" y="18"/>
                      <a:pt x="79" y="39"/>
                    </a:cubicBezTo>
                    <a:cubicBezTo>
                      <a:pt x="79" y="370"/>
                      <a:pt x="79" y="370"/>
                      <a:pt x="79" y="370"/>
                    </a:cubicBezTo>
                    <a:cubicBezTo>
                      <a:pt x="79" y="392"/>
                      <a:pt x="61" y="409"/>
                      <a:pt x="40" y="40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51" tIns="34275" rIns="68551" bIns="34275" numCol="1" anchor="t" anchorCtr="0" compatLnSpc="1">
                <a:prstTxWarp prst="textNoShape">
                  <a:avLst/>
                </a:prstTxWarp>
              </a:bodyPr>
              <a:lstStyle/>
              <a:p>
                <a:pPr defTabSz="685406">
                  <a:defRPr/>
                </a:pPr>
                <a:endParaRPr lang="en-US" sz="1350" kern="0">
                  <a:solidFill>
                    <a:srgbClr val="1A1A1A"/>
                  </a:solidFill>
                  <a:latin typeface="Segoe UI Semilight"/>
                </a:endParaRPr>
              </a:p>
            </p:txBody>
          </p:sp>
          <p:sp>
            <p:nvSpPr>
              <p:cNvPr id="296" name="Freeform 17">
                <a:extLst>
                  <a:ext uri="{FF2B5EF4-FFF2-40B4-BE49-F238E27FC236}">
                    <a16:creationId xmlns:a16="http://schemas.microsoft.com/office/drawing/2014/main" id="{85AEC550-D6AD-42DF-8670-05472AD7A46F}"/>
                  </a:ext>
                </a:extLst>
              </p:cNvPr>
              <p:cNvSpPr>
                <a:spLocks/>
              </p:cNvSpPr>
              <p:nvPr/>
            </p:nvSpPr>
            <p:spPr bwMode="auto">
              <a:xfrm>
                <a:off x="4680" y="2292"/>
                <a:ext cx="28" cy="92"/>
              </a:xfrm>
              <a:custGeom>
                <a:avLst/>
                <a:gdLst>
                  <a:gd name="T0" fmla="*/ 40 w 79"/>
                  <a:gd name="T1" fmla="*/ 252 h 252"/>
                  <a:gd name="T2" fmla="*/ 0 w 79"/>
                  <a:gd name="T3" fmla="*/ 213 h 252"/>
                  <a:gd name="T4" fmla="*/ 0 w 79"/>
                  <a:gd name="T5" fmla="*/ 40 h 252"/>
                  <a:gd name="T6" fmla="*/ 40 w 79"/>
                  <a:gd name="T7" fmla="*/ 0 h 252"/>
                  <a:gd name="T8" fmla="*/ 79 w 79"/>
                  <a:gd name="T9" fmla="*/ 40 h 252"/>
                  <a:gd name="T10" fmla="*/ 79 w 79"/>
                  <a:gd name="T11" fmla="*/ 213 h 252"/>
                  <a:gd name="T12" fmla="*/ 40 w 79"/>
                  <a:gd name="T13" fmla="*/ 252 h 252"/>
                </a:gdLst>
                <a:ahLst/>
                <a:cxnLst>
                  <a:cxn ang="0">
                    <a:pos x="T0" y="T1"/>
                  </a:cxn>
                  <a:cxn ang="0">
                    <a:pos x="T2" y="T3"/>
                  </a:cxn>
                  <a:cxn ang="0">
                    <a:pos x="T4" y="T5"/>
                  </a:cxn>
                  <a:cxn ang="0">
                    <a:pos x="T6" y="T7"/>
                  </a:cxn>
                  <a:cxn ang="0">
                    <a:pos x="T8" y="T9"/>
                  </a:cxn>
                  <a:cxn ang="0">
                    <a:pos x="T10" y="T11"/>
                  </a:cxn>
                  <a:cxn ang="0">
                    <a:pos x="T12" y="T13"/>
                  </a:cxn>
                </a:cxnLst>
                <a:rect l="0" t="0" r="r" b="b"/>
                <a:pathLst>
                  <a:path w="79" h="252">
                    <a:moveTo>
                      <a:pt x="40" y="252"/>
                    </a:moveTo>
                    <a:cubicBezTo>
                      <a:pt x="18" y="252"/>
                      <a:pt x="0" y="235"/>
                      <a:pt x="0" y="213"/>
                    </a:cubicBezTo>
                    <a:cubicBezTo>
                      <a:pt x="0" y="40"/>
                      <a:pt x="0" y="40"/>
                      <a:pt x="0" y="40"/>
                    </a:cubicBezTo>
                    <a:cubicBezTo>
                      <a:pt x="0" y="18"/>
                      <a:pt x="18" y="0"/>
                      <a:pt x="40" y="0"/>
                    </a:cubicBezTo>
                    <a:cubicBezTo>
                      <a:pt x="61" y="0"/>
                      <a:pt x="79" y="18"/>
                      <a:pt x="79" y="40"/>
                    </a:cubicBezTo>
                    <a:cubicBezTo>
                      <a:pt x="79" y="213"/>
                      <a:pt x="79" y="213"/>
                      <a:pt x="79" y="213"/>
                    </a:cubicBezTo>
                    <a:cubicBezTo>
                      <a:pt x="79" y="235"/>
                      <a:pt x="62" y="252"/>
                      <a:pt x="40" y="25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51" tIns="34275" rIns="68551" bIns="34275" numCol="1" anchor="t" anchorCtr="0" compatLnSpc="1">
                <a:prstTxWarp prst="textNoShape">
                  <a:avLst/>
                </a:prstTxWarp>
              </a:bodyPr>
              <a:lstStyle/>
              <a:p>
                <a:pPr defTabSz="685406">
                  <a:defRPr/>
                </a:pPr>
                <a:endParaRPr lang="en-US" sz="1350" kern="0">
                  <a:solidFill>
                    <a:srgbClr val="1A1A1A"/>
                  </a:solidFill>
                  <a:latin typeface="Segoe UI Semilight"/>
                </a:endParaRPr>
              </a:p>
            </p:txBody>
          </p:sp>
        </p:grpSp>
      </p:grpSp>
      <p:grpSp>
        <p:nvGrpSpPr>
          <p:cNvPr id="297" name="Group 296">
            <a:extLst>
              <a:ext uri="{FF2B5EF4-FFF2-40B4-BE49-F238E27FC236}">
                <a16:creationId xmlns:a16="http://schemas.microsoft.com/office/drawing/2014/main" id="{10DDF9E7-612E-46F2-8276-40A43EFBB959}"/>
              </a:ext>
            </a:extLst>
          </p:cNvPr>
          <p:cNvGrpSpPr/>
          <p:nvPr/>
        </p:nvGrpSpPr>
        <p:grpSpPr>
          <a:xfrm>
            <a:off x="8086230" y="1569536"/>
            <a:ext cx="227281" cy="227281"/>
            <a:chOff x="4726932" y="4496872"/>
            <a:chExt cx="703088" cy="703087"/>
          </a:xfrm>
          <a:effectLst>
            <a:outerShdw blurRad="177800" dist="177800" dir="5400000" algn="t" rotWithShape="0">
              <a:prstClr val="black">
                <a:alpha val="10000"/>
              </a:prstClr>
            </a:outerShdw>
          </a:effectLst>
        </p:grpSpPr>
        <p:sp>
          <p:nvSpPr>
            <p:cNvPr id="298" name="Oval 297">
              <a:extLst>
                <a:ext uri="{FF2B5EF4-FFF2-40B4-BE49-F238E27FC236}">
                  <a16:creationId xmlns:a16="http://schemas.microsoft.com/office/drawing/2014/main" id="{44A3A186-12E2-4519-A72F-B1F505881189}"/>
                </a:ext>
              </a:extLst>
            </p:cNvPr>
            <p:cNvSpPr/>
            <p:nvPr/>
          </p:nvSpPr>
          <p:spPr bwMode="auto">
            <a:xfrm>
              <a:off x="4726932" y="4496872"/>
              <a:ext cx="703088" cy="703087"/>
            </a:xfrm>
            <a:prstGeom prst="ellipse">
              <a:avLst/>
            </a:prstGeom>
            <a:solidFill>
              <a:srgbClr val="287EFF"/>
            </a:solidFill>
            <a:ln>
              <a:noFill/>
            </a:ln>
            <a:effectLst>
              <a:outerShdw blurRad="63500" dist="381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23359" tIns="98688" rIns="123359" bIns="98688" numCol="1" spcCol="0" rtlCol="0" fromWordArt="0" anchor="ctr" anchorCtr="0" forceAA="0" compatLnSpc="1">
              <a:prstTxWarp prst="textNoShape">
                <a:avLst/>
              </a:prstTxWarp>
              <a:noAutofit/>
            </a:bodyPr>
            <a:lstStyle/>
            <a:p>
              <a:pPr defTabSz="628868" fontAlgn="base">
                <a:spcBef>
                  <a:spcPct val="0"/>
                </a:spcBef>
                <a:spcAft>
                  <a:spcPct val="0"/>
                </a:spcAft>
                <a:defRPr/>
              </a:pPr>
              <a:endParaRPr lang="en-US" sz="1349">
                <a:solidFill>
                  <a:srgbClr val="1A1A1A"/>
                </a:solidFill>
                <a:latin typeface="Segoe UI"/>
                <a:cs typeface="Segoe UI" pitchFamily="34" charset="0"/>
              </a:endParaRPr>
            </a:p>
          </p:txBody>
        </p:sp>
        <p:grpSp>
          <p:nvGrpSpPr>
            <p:cNvPr id="299" name="Group 298">
              <a:extLst>
                <a:ext uri="{FF2B5EF4-FFF2-40B4-BE49-F238E27FC236}">
                  <a16:creationId xmlns:a16="http://schemas.microsoft.com/office/drawing/2014/main" id="{6BAF3DE1-36F8-4780-B346-1C504BC9FBAF}"/>
                </a:ext>
              </a:extLst>
            </p:cNvPr>
            <p:cNvGrpSpPr/>
            <p:nvPr/>
          </p:nvGrpSpPr>
          <p:grpSpPr>
            <a:xfrm>
              <a:off x="4902991" y="4723771"/>
              <a:ext cx="350969" cy="266644"/>
              <a:chOff x="-1146792" y="777239"/>
              <a:chExt cx="1017587" cy="773113"/>
            </a:xfrm>
            <a:solidFill>
              <a:srgbClr val="D2D2D2"/>
            </a:solidFill>
          </p:grpSpPr>
          <p:sp>
            <p:nvSpPr>
              <p:cNvPr id="300" name="Freeform 5">
                <a:extLst>
                  <a:ext uri="{FF2B5EF4-FFF2-40B4-BE49-F238E27FC236}">
                    <a16:creationId xmlns:a16="http://schemas.microsoft.com/office/drawing/2014/main" id="{333DD717-A16F-40A6-B216-512972025654}"/>
                  </a:ext>
                </a:extLst>
              </p:cNvPr>
              <p:cNvSpPr>
                <a:spLocks/>
              </p:cNvSpPr>
              <p:nvPr/>
            </p:nvSpPr>
            <p:spPr bwMode="auto">
              <a:xfrm>
                <a:off x="-1146792" y="777239"/>
                <a:ext cx="1017587" cy="669923"/>
              </a:xfrm>
              <a:custGeom>
                <a:avLst/>
                <a:gdLst>
                  <a:gd name="T0" fmla="*/ 30 w 737"/>
                  <a:gd name="T1" fmla="*/ 326 h 478"/>
                  <a:gd name="T2" fmla="*/ 30 w 737"/>
                  <a:gd name="T3" fmla="*/ 87 h 478"/>
                  <a:gd name="T4" fmla="*/ 87 w 737"/>
                  <a:gd name="T5" fmla="*/ 30 h 478"/>
                  <a:gd name="T6" fmla="*/ 650 w 737"/>
                  <a:gd name="T7" fmla="*/ 30 h 478"/>
                  <a:gd name="T8" fmla="*/ 707 w 737"/>
                  <a:gd name="T9" fmla="*/ 87 h 478"/>
                  <a:gd name="T10" fmla="*/ 707 w 737"/>
                  <a:gd name="T11" fmla="*/ 391 h 478"/>
                  <a:gd name="T12" fmla="*/ 650 w 737"/>
                  <a:gd name="T13" fmla="*/ 448 h 478"/>
                  <a:gd name="T14" fmla="*/ 390 w 737"/>
                  <a:gd name="T15" fmla="*/ 448 h 478"/>
                  <a:gd name="T16" fmla="*/ 390 w 737"/>
                  <a:gd name="T17" fmla="*/ 478 h 478"/>
                  <a:gd name="T18" fmla="*/ 650 w 737"/>
                  <a:gd name="T19" fmla="*/ 478 h 478"/>
                  <a:gd name="T20" fmla="*/ 737 w 737"/>
                  <a:gd name="T21" fmla="*/ 391 h 478"/>
                  <a:gd name="T22" fmla="*/ 737 w 737"/>
                  <a:gd name="T23" fmla="*/ 87 h 478"/>
                  <a:gd name="T24" fmla="*/ 650 w 737"/>
                  <a:gd name="T25" fmla="*/ 0 h 478"/>
                  <a:gd name="T26" fmla="*/ 87 w 737"/>
                  <a:gd name="T27" fmla="*/ 0 h 478"/>
                  <a:gd name="T28" fmla="*/ 0 w 737"/>
                  <a:gd name="T29" fmla="*/ 87 h 478"/>
                  <a:gd name="T30" fmla="*/ 0 w 737"/>
                  <a:gd name="T31" fmla="*/ 326 h 478"/>
                  <a:gd name="T32" fmla="*/ 30 w 737"/>
                  <a:gd name="T33" fmla="*/ 326 h 4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37" h="478">
                    <a:moveTo>
                      <a:pt x="30" y="326"/>
                    </a:moveTo>
                    <a:cubicBezTo>
                      <a:pt x="30" y="87"/>
                      <a:pt x="30" y="87"/>
                      <a:pt x="30" y="87"/>
                    </a:cubicBezTo>
                    <a:cubicBezTo>
                      <a:pt x="30" y="56"/>
                      <a:pt x="55" y="30"/>
                      <a:pt x="87" y="30"/>
                    </a:cubicBezTo>
                    <a:cubicBezTo>
                      <a:pt x="650" y="30"/>
                      <a:pt x="650" y="30"/>
                      <a:pt x="650" y="30"/>
                    </a:cubicBezTo>
                    <a:cubicBezTo>
                      <a:pt x="682" y="30"/>
                      <a:pt x="707" y="56"/>
                      <a:pt x="707" y="87"/>
                    </a:cubicBezTo>
                    <a:cubicBezTo>
                      <a:pt x="707" y="391"/>
                      <a:pt x="707" y="391"/>
                      <a:pt x="707" y="391"/>
                    </a:cubicBezTo>
                    <a:cubicBezTo>
                      <a:pt x="707" y="423"/>
                      <a:pt x="682" y="448"/>
                      <a:pt x="650" y="448"/>
                    </a:cubicBezTo>
                    <a:cubicBezTo>
                      <a:pt x="390" y="448"/>
                      <a:pt x="390" y="448"/>
                      <a:pt x="390" y="448"/>
                    </a:cubicBezTo>
                    <a:cubicBezTo>
                      <a:pt x="390" y="478"/>
                      <a:pt x="390" y="478"/>
                      <a:pt x="390" y="478"/>
                    </a:cubicBezTo>
                    <a:cubicBezTo>
                      <a:pt x="650" y="478"/>
                      <a:pt x="650" y="478"/>
                      <a:pt x="650" y="478"/>
                    </a:cubicBezTo>
                    <a:cubicBezTo>
                      <a:pt x="698" y="478"/>
                      <a:pt x="737" y="439"/>
                      <a:pt x="737" y="391"/>
                    </a:cubicBezTo>
                    <a:cubicBezTo>
                      <a:pt x="737" y="87"/>
                      <a:pt x="737" y="87"/>
                      <a:pt x="737" y="87"/>
                    </a:cubicBezTo>
                    <a:cubicBezTo>
                      <a:pt x="737" y="39"/>
                      <a:pt x="698" y="0"/>
                      <a:pt x="650" y="0"/>
                    </a:cubicBezTo>
                    <a:cubicBezTo>
                      <a:pt x="87" y="0"/>
                      <a:pt x="87" y="0"/>
                      <a:pt x="87" y="0"/>
                    </a:cubicBezTo>
                    <a:cubicBezTo>
                      <a:pt x="39" y="0"/>
                      <a:pt x="0" y="39"/>
                      <a:pt x="0" y="87"/>
                    </a:cubicBezTo>
                    <a:cubicBezTo>
                      <a:pt x="0" y="326"/>
                      <a:pt x="0" y="326"/>
                      <a:pt x="0" y="326"/>
                    </a:cubicBezTo>
                    <a:lnTo>
                      <a:pt x="30" y="32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882" tIns="32941" rIns="65882" bIns="3294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58666">
                  <a:defRPr/>
                </a:pPr>
                <a:endParaRPr lang="en-US" sz="1439">
                  <a:solidFill>
                    <a:srgbClr val="1A1A1A"/>
                  </a:solidFill>
                  <a:latin typeface="Segoe UI"/>
                </a:endParaRPr>
              </a:p>
            </p:txBody>
          </p:sp>
          <p:sp>
            <p:nvSpPr>
              <p:cNvPr id="301" name="Freeform 6">
                <a:extLst>
                  <a:ext uri="{FF2B5EF4-FFF2-40B4-BE49-F238E27FC236}">
                    <a16:creationId xmlns:a16="http://schemas.microsoft.com/office/drawing/2014/main" id="{82261ABF-FFB0-4A4E-9631-6AA7F87EFAC7}"/>
                  </a:ext>
                </a:extLst>
              </p:cNvPr>
              <p:cNvSpPr>
                <a:spLocks noEditPoints="1"/>
              </p:cNvSpPr>
              <p:nvPr/>
            </p:nvSpPr>
            <p:spPr bwMode="auto">
              <a:xfrm>
                <a:off x="-1146792" y="943926"/>
                <a:ext cx="777873" cy="606426"/>
              </a:xfrm>
              <a:custGeom>
                <a:avLst/>
                <a:gdLst>
                  <a:gd name="T0" fmla="*/ 391 w 564"/>
                  <a:gd name="T1" fmla="*/ 147 h 433"/>
                  <a:gd name="T2" fmla="*/ 417 w 564"/>
                  <a:gd name="T3" fmla="*/ 173 h 433"/>
                  <a:gd name="T4" fmla="*/ 538 w 564"/>
                  <a:gd name="T5" fmla="*/ 173 h 433"/>
                  <a:gd name="T6" fmla="*/ 564 w 564"/>
                  <a:gd name="T7" fmla="*/ 147 h 433"/>
                  <a:gd name="T8" fmla="*/ 564 w 564"/>
                  <a:gd name="T9" fmla="*/ 26 h 433"/>
                  <a:gd name="T10" fmla="*/ 538 w 564"/>
                  <a:gd name="T11" fmla="*/ 0 h 433"/>
                  <a:gd name="T12" fmla="*/ 417 w 564"/>
                  <a:gd name="T13" fmla="*/ 0 h 433"/>
                  <a:gd name="T14" fmla="*/ 391 w 564"/>
                  <a:gd name="T15" fmla="*/ 26 h 433"/>
                  <a:gd name="T16" fmla="*/ 391 w 564"/>
                  <a:gd name="T17" fmla="*/ 65 h 433"/>
                  <a:gd name="T18" fmla="*/ 342 w 564"/>
                  <a:gd name="T19" fmla="*/ 65 h 433"/>
                  <a:gd name="T20" fmla="*/ 297 w 564"/>
                  <a:gd name="T21" fmla="*/ 97 h 433"/>
                  <a:gd name="T22" fmla="*/ 223 w 564"/>
                  <a:gd name="T23" fmla="*/ 322 h 433"/>
                  <a:gd name="T24" fmla="*/ 219 w 564"/>
                  <a:gd name="T25" fmla="*/ 325 h 433"/>
                  <a:gd name="T26" fmla="*/ 173 w 564"/>
                  <a:gd name="T27" fmla="*/ 325 h 433"/>
                  <a:gd name="T28" fmla="*/ 173 w 564"/>
                  <a:gd name="T29" fmla="*/ 286 h 433"/>
                  <a:gd name="T30" fmla="*/ 147 w 564"/>
                  <a:gd name="T31" fmla="*/ 260 h 433"/>
                  <a:gd name="T32" fmla="*/ 26 w 564"/>
                  <a:gd name="T33" fmla="*/ 260 h 433"/>
                  <a:gd name="T34" fmla="*/ 0 w 564"/>
                  <a:gd name="T35" fmla="*/ 286 h 433"/>
                  <a:gd name="T36" fmla="*/ 0 w 564"/>
                  <a:gd name="T37" fmla="*/ 407 h 433"/>
                  <a:gd name="T38" fmla="*/ 26 w 564"/>
                  <a:gd name="T39" fmla="*/ 433 h 433"/>
                  <a:gd name="T40" fmla="*/ 147 w 564"/>
                  <a:gd name="T41" fmla="*/ 433 h 433"/>
                  <a:gd name="T42" fmla="*/ 173 w 564"/>
                  <a:gd name="T43" fmla="*/ 407 h 433"/>
                  <a:gd name="T44" fmla="*/ 173 w 564"/>
                  <a:gd name="T45" fmla="*/ 368 h 433"/>
                  <a:gd name="T46" fmla="*/ 219 w 564"/>
                  <a:gd name="T47" fmla="*/ 368 h 433"/>
                  <a:gd name="T48" fmla="*/ 264 w 564"/>
                  <a:gd name="T49" fmla="*/ 336 h 433"/>
                  <a:gd name="T50" fmla="*/ 338 w 564"/>
                  <a:gd name="T51" fmla="*/ 111 h 433"/>
                  <a:gd name="T52" fmla="*/ 342 w 564"/>
                  <a:gd name="T53" fmla="*/ 108 h 433"/>
                  <a:gd name="T54" fmla="*/ 391 w 564"/>
                  <a:gd name="T55" fmla="*/ 108 h 433"/>
                  <a:gd name="T56" fmla="*/ 391 w 564"/>
                  <a:gd name="T57" fmla="*/ 147 h 433"/>
                  <a:gd name="T58" fmla="*/ 129 w 564"/>
                  <a:gd name="T59" fmla="*/ 390 h 433"/>
                  <a:gd name="T60" fmla="*/ 43 w 564"/>
                  <a:gd name="T61" fmla="*/ 390 h 433"/>
                  <a:gd name="T62" fmla="*/ 43 w 564"/>
                  <a:gd name="T63" fmla="*/ 303 h 433"/>
                  <a:gd name="T64" fmla="*/ 129 w 564"/>
                  <a:gd name="T65" fmla="*/ 303 h 433"/>
                  <a:gd name="T66" fmla="*/ 129 w 564"/>
                  <a:gd name="T67" fmla="*/ 390 h 4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64" h="433">
                    <a:moveTo>
                      <a:pt x="391" y="147"/>
                    </a:moveTo>
                    <a:cubicBezTo>
                      <a:pt x="391" y="162"/>
                      <a:pt x="403" y="173"/>
                      <a:pt x="417" y="173"/>
                    </a:cubicBezTo>
                    <a:cubicBezTo>
                      <a:pt x="538" y="173"/>
                      <a:pt x="538" y="173"/>
                      <a:pt x="538" y="173"/>
                    </a:cubicBezTo>
                    <a:cubicBezTo>
                      <a:pt x="552" y="173"/>
                      <a:pt x="564" y="162"/>
                      <a:pt x="564" y="147"/>
                    </a:cubicBezTo>
                    <a:cubicBezTo>
                      <a:pt x="564" y="26"/>
                      <a:pt x="564" y="26"/>
                      <a:pt x="564" y="26"/>
                    </a:cubicBezTo>
                    <a:cubicBezTo>
                      <a:pt x="564" y="11"/>
                      <a:pt x="552" y="0"/>
                      <a:pt x="538" y="0"/>
                    </a:cubicBezTo>
                    <a:cubicBezTo>
                      <a:pt x="417" y="0"/>
                      <a:pt x="417" y="0"/>
                      <a:pt x="417" y="0"/>
                    </a:cubicBezTo>
                    <a:cubicBezTo>
                      <a:pt x="403" y="0"/>
                      <a:pt x="391" y="11"/>
                      <a:pt x="391" y="26"/>
                    </a:cubicBezTo>
                    <a:cubicBezTo>
                      <a:pt x="391" y="65"/>
                      <a:pt x="391" y="65"/>
                      <a:pt x="391" y="65"/>
                    </a:cubicBezTo>
                    <a:cubicBezTo>
                      <a:pt x="342" y="65"/>
                      <a:pt x="342" y="65"/>
                      <a:pt x="342" y="65"/>
                    </a:cubicBezTo>
                    <a:cubicBezTo>
                      <a:pt x="322" y="65"/>
                      <a:pt x="304" y="78"/>
                      <a:pt x="297" y="97"/>
                    </a:cubicBezTo>
                    <a:cubicBezTo>
                      <a:pt x="223" y="322"/>
                      <a:pt x="223" y="322"/>
                      <a:pt x="223" y="322"/>
                    </a:cubicBezTo>
                    <a:cubicBezTo>
                      <a:pt x="222" y="324"/>
                      <a:pt x="221" y="325"/>
                      <a:pt x="219" y="325"/>
                    </a:cubicBezTo>
                    <a:cubicBezTo>
                      <a:pt x="173" y="325"/>
                      <a:pt x="173" y="325"/>
                      <a:pt x="173" y="325"/>
                    </a:cubicBezTo>
                    <a:cubicBezTo>
                      <a:pt x="173" y="286"/>
                      <a:pt x="173" y="286"/>
                      <a:pt x="173" y="286"/>
                    </a:cubicBezTo>
                    <a:cubicBezTo>
                      <a:pt x="173" y="272"/>
                      <a:pt x="161" y="260"/>
                      <a:pt x="147" y="260"/>
                    </a:cubicBezTo>
                    <a:cubicBezTo>
                      <a:pt x="26" y="260"/>
                      <a:pt x="26" y="260"/>
                      <a:pt x="26" y="260"/>
                    </a:cubicBezTo>
                    <a:cubicBezTo>
                      <a:pt x="11" y="260"/>
                      <a:pt x="0" y="272"/>
                      <a:pt x="0" y="286"/>
                    </a:cubicBezTo>
                    <a:cubicBezTo>
                      <a:pt x="0" y="407"/>
                      <a:pt x="0" y="407"/>
                      <a:pt x="0" y="407"/>
                    </a:cubicBezTo>
                    <a:cubicBezTo>
                      <a:pt x="0" y="422"/>
                      <a:pt x="11" y="433"/>
                      <a:pt x="26" y="433"/>
                    </a:cubicBezTo>
                    <a:cubicBezTo>
                      <a:pt x="147" y="433"/>
                      <a:pt x="147" y="433"/>
                      <a:pt x="147" y="433"/>
                    </a:cubicBezTo>
                    <a:cubicBezTo>
                      <a:pt x="161" y="433"/>
                      <a:pt x="173" y="422"/>
                      <a:pt x="173" y="407"/>
                    </a:cubicBezTo>
                    <a:cubicBezTo>
                      <a:pt x="173" y="368"/>
                      <a:pt x="173" y="368"/>
                      <a:pt x="173" y="368"/>
                    </a:cubicBezTo>
                    <a:cubicBezTo>
                      <a:pt x="219" y="368"/>
                      <a:pt x="219" y="368"/>
                      <a:pt x="219" y="368"/>
                    </a:cubicBezTo>
                    <a:cubicBezTo>
                      <a:pt x="239" y="368"/>
                      <a:pt x="257" y="355"/>
                      <a:pt x="264" y="336"/>
                    </a:cubicBezTo>
                    <a:cubicBezTo>
                      <a:pt x="338" y="111"/>
                      <a:pt x="338" y="111"/>
                      <a:pt x="338" y="111"/>
                    </a:cubicBezTo>
                    <a:cubicBezTo>
                      <a:pt x="339" y="109"/>
                      <a:pt x="340" y="108"/>
                      <a:pt x="342" y="108"/>
                    </a:cubicBezTo>
                    <a:cubicBezTo>
                      <a:pt x="391" y="108"/>
                      <a:pt x="391" y="108"/>
                      <a:pt x="391" y="108"/>
                    </a:cubicBezTo>
                    <a:lnTo>
                      <a:pt x="391" y="147"/>
                    </a:lnTo>
                    <a:close/>
                    <a:moveTo>
                      <a:pt x="129" y="390"/>
                    </a:moveTo>
                    <a:cubicBezTo>
                      <a:pt x="43" y="390"/>
                      <a:pt x="43" y="390"/>
                      <a:pt x="43" y="390"/>
                    </a:cubicBezTo>
                    <a:cubicBezTo>
                      <a:pt x="43" y="303"/>
                      <a:pt x="43" y="303"/>
                      <a:pt x="43" y="303"/>
                    </a:cubicBezTo>
                    <a:cubicBezTo>
                      <a:pt x="129" y="303"/>
                      <a:pt x="129" y="303"/>
                      <a:pt x="129" y="303"/>
                    </a:cubicBezTo>
                    <a:lnTo>
                      <a:pt x="129" y="39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882" tIns="32941" rIns="65882" bIns="3294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58666">
                  <a:defRPr/>
                </a:pPr>
                <a:endParaRPr lang="en-US" sz="1439">
                  <a:solidFill>
                    <a:srgbClr val="1A1A1A"/>
                  </a:solidFill>
                  <a:latin typeface="Segoe UI"/>
                </a:endParaRPr>
              </a:p>
            </p:txBody>
          </p:sp>
        </p:grpSp>
      </p:grpSp>
      <p:sp>
        <p:nvSpPr>
          <p:cNvPr id="158" name="Rectangle 157">
            <a:extLst>
              <a:ext uri="{FF2B5EF4-FFF2-40B4-BE49-F238E27FC236}">
                <a16:creationId xmlns:a16="http://schemas.microsoft.com/office/drawing/2014/main" id="{DB81F20E-7DD0-430C-826A-B592D878E23F}"/>
              </a:ext>
            </a:extLst>
          </p:cNvPr>
          <p:cNvSpPr/>
          <p:nvPr/>
        </p:nvSpPr>
        <p:spPr>
          <a:xfrm>
            <a:off x="7386145" y="996443"/>
            <a:ext cx="865793" cy="864158"/>
          </a:xfrm>
          <a:prstGeom prst="rect">
            <a:avLst/>
          </a:prstGeom>
        </p:spPr>
        <p:txBody>
          <a:bodyPr wrap="square" anchor="ctr">
            <a:noAutofit/>
          </a:bodyPr>
          <a:lstStyle/>
          <a:p>
            <a:pPr algn="ctr" defTabSz="685512">
              <a:defRPr/>
            </a:pPr>
            <a:r>
              <a:rPr lang="en-US" sz="675" kern="0" spc="-22">
                <a:solidFill>
                  <a:srgbClr val="0047BB"/>
                </a:solidFill>
                <a:latin typeface="Segoe UI Semibold"/>
                <a:cs typeface="Segoe UI" panose="020B0502040204020203" pitchFamily="34" charset="0"/>
              </a:rPr>
              <a:t>Process</a:t>
            </a:r>
            <a:br>
              <a:rPr lang="en-US" sz="675" kern="0" spc="-22">
                <a:solidFill>
                  <a:srgbClr val="0047BB"/>
                </a:solidFill>
                <a:latin typeface="Segoe UI Semibold"/>
                <a:cs typeface="Segoe UI" panose="020B0502040204020203" pitchFamily="34" charset="0"/>
              </a:rPr>
            </a:br>
            <a:r>
              <a:rPr lang="en-US" sz="675" kern="0" spc="-22">
                <a:solidFill>
                  <a:srgbClr val="0047BB"/>
                </a:solidFill>
                <a:latin typeface="Segoe UI Semibold"/>
                <a:cs typeface="Segoe UI" panose="020B0502040204020203" pitchFamily="34" charset="0"/>
              </a:rPr>
              <a:t>optimization</a:t>
            </a:r>
            <a:br>
              <a:rPr lang="en-US" sz="675" kern="0" spc="-22">
                <a:solidFill>
                  <a:srgbClr val="0047BB"/>
                </a:solidFill>
                <a:latin typeface="Segoe UI Semibold"/>
                <a:cs typeface="Segoe UI" panose="020B0502040204020203" pitchFamily="34" charset="0"/>
              </a:rPr>
            </a:br>
            <a:r>
              <a:rPr lang="en-US" sz="675" kern="0" spc="-22">
                <a:solidFill>
                  <a:srgbClr val="0047BB"/>
                </a:solidFill>
                <a:latin typeface="Segoe UI Semibold"/>
                <a:cs typeface="Segoe UI" panose="020B0502040204020203" pitchFamily="34" charset="0"/>
              </a:rPr>
              <a:t>automation, and visualization</a:t>
            </a:r>
          </a:p>
        </p:txBody>
      </p:sp>
      <p:sp>
        <p:nvSpPr>
          <p:cNvPr id="302" name="AI &amp; ML">
            <a:extLst>
              <a:ext uri="{FF2B5EF4-FFF2-40B4-BE49-F238E27FC236}">
                <a16:creationId xmlns:a16="http://schemas.microsoft.com/office/drawing/2014/main" id="{D77CC38E-CFB5-4599-9EA5-3F82B656AB9E}"/>
              </a:ext>
            </a:extLst>
          </p:cNvPr>
          <p:cNvSpPr txBox="1"/>
          <p:nvPr/>
        </p:nvSpPr>
        <p:spPr>
          <a:xfrm>
            <a:off x="8347614" y="1649634"/>
            <a:ext cx="548805" cy="83100"/>
          </a:xfrm>
          <a:prstGeom prst="rect">
            <a:avLst/>
          </a:prstGeom>
          <a:noFill/>
        </p:spPr>
        <p:txBody>
          <a:bodyPr wrap="none" lIns="0" tIns="0" rIns="0" bIns="0" rtlCol="0">
            <a:spAutoFit/>
          </a:bodyPr>
          <a:lstStyle/>
          <a:p>
            <a:pPr algn="ctr" defTabSz="685175">
              <a:lnSpc>
                <a:spcPct val="90000"/>
              </a:lnSpc>
              <a:spcBef>
                <a:spcPct val="0"/>
              </a:spcBef>
              <a:spcAft>
                <a:spcPts val="441"/>
              </a:spcAft>
              <a:defRPr/>
            </a:pPr>
            <a:r>
              <a:rPr lang="en-US" sz="600" kern="0" spc="-22">
                <a:solidFill>
                  <a:srgbClr val="3C3C41"/>
                </a:solidFill>
                <a:latin typeface="Segoe UI Semibold"/>
                <a:cs typeface="Segoe UI" panose="020B0502040204020203" pitchFamily="34" charset="0"/>
              </a:rPr>
              <a:t>Power Automate</a:t>
            </a:r>
          </a:p>
        </p:txBody>
      </p:sp>
      <p:grpSp>
        <p:nvGrpSpPr>
          <p:cNvPr id="507" name="Group 506">
            <a:extLst>
              <a:ext uri="{FF2B5EF4-FFF2-40B4-BE49-F238E27FC236}">
                <a16:creationId xmlns:a16="http://schemas.microsoft.com/office/drawing/2014/main" id="{C28EA49D-6547-41FB-AA05-E5B46BCA9FA0}"/>
              </a:ext>
            </a:extLst>
          </p:cNvPr>
          <p:cNvGrpSpPr/>
          <p:nvPr/>
        </p:nvGrpSpPr>
        <p:grpSpPr>
          <a:xfrm>
            <a:off x="6673217" y="2330086"/>
            <a:ext cx="2137962" cy="1761902"/>
            <a:chOff x="10250497" y="-5240269"/>
            <a:chExt cx="2851018" cy="2349534"/>
          </a:xfrm>
        </p:grpSpPr>
        <p:sp>
          <p:nvSpPr>
            <p:cNvPr id="267" name="TextBox 266">
              <a:extLst>
                <a:ext uri="{FF2B5EF4-FFF2-40B4-BE49-F238E27FC236}">
                  <a16:creationId xmlns:a16="http://schemas.microsoft.com/office/drawing/2014/main" id="{7426929C-5859-44F9-9D51-337C4CCD4979}"/>
                </a:ext>
              </a:extLst>
            </p:cNvPr>
            <p:cNvSpPr txBox="1"/>
            <p:nvPr/>
          </p:nvSpPr>
          <p:spPr>
            <a:xfrm>
              <a:off x="12864236" y="-4141330"/>
              <a:ext cx="237279" cy="110816"/>
            </a:xfrm>
            <a:prstGeom prst="rect">
              <a:avLst/>
            </a:prstGeom>
            <a:noFill/>
          </p:spPr>
          <p:txBody>
            <a:bodyPr wrap="none" lIns="0" tIns="0" rIns="0" bIns="0" rtlCol="0" anchor="ctr">
              <a:spAutoFit/>
            </a:bodyPr>
            <a:lstStyle/>
            <a:p>
              <a:pPr algn="ctr" defTabSz="685669">
                <a:lnSpc>
                  <a:spcPct val="90000"/>
                </a:lnSpc>
                <a:spcAft>
                  <a:spcPts val="450"/>
                </a:spcAft>
                <a:defRPr/>
              </a:pPr>
              <a:r>
                <a:rPr lang="en-US" sz="600">
                  <a:latin typeface="Segoe UI Semibold"/>
                </a:rPr>
                <a:t>Sales</a:t>
              </a:r>
            </a:p>
          </p:txBody>
        </p:sp>
        <p:sp>
          <p:nvSpPr>
            <p:cNvPr id="268" name="TextBox 267">
              <a:extLst>
                <a:ext uri="{FF2B5EF4-FFF2-40B4-BE49-F238E27FC236}">
                  <a16:creationId xmlns:a16="http://schemas.microsoft.com/office/drawing/2014/main" id="{44E85C00-B31A-4E7C-84E1-938CEEED2DD3}"/>
                </a:ext>
              </a:extLst>
            </p:cNvPr>
            <p:cNvSpPr txBox="1"/>
            <p:nvPr/>
          </p:nvSpPr>
          <p:spPr>
            <a:xfrm>
              <a:off x="11583033" y="-5240269"/>
              <a:ext cx="480969" cy="110816"/>
            </a:xfrm>
            <a:prstGeom prst="rect">
              <a:avLst/>
            </a:prstGeom>
            <a:noFill/>
          </p:spPr>
          <p:txBody>
            <a:bodyPr wrap="none" lIns="0" tIns="0" rIns="0" bIns="0" rtlCol="0" anchor="ctr">
              <a:spAutoFit/>
            </a:bodyPr>
            <a:lstStyle/>
            <a:p>
              <a:pPr algn="ctr" defTabSz="685669">
                <a:lnSpc>
                  <a:spcPct val="90000"/>
                </a:lnSpc>
                <a:spcAft>
                  <a:spcPts val="450"/>
                </a:spcAft>
                <a:defRPr/>
              </a:pPr>
              <a:r>
                <a:rPr lang="en-US" sz="600">
                  <a:latin typeface="Segoe UI Semibold"/>
                </a:rPr>
                <a:t>Marketing</a:t>
              </a:r>
            </a:p>
          </p:txBody>
        </p:sp>
        <p:sp>
          <p:nvSpPr>
            <p:cNvPr id="269" name="TextBox 268">
              <a:extLst>
                <a:ext uri="{FF2B5EF4-FFF2-40B4-BE49-F238E27FC236}">
                  <a16:creationId xmlns:a16="http://schemas.microsoft.com/office/drawing/2014/main" id="{19F74094-9E1F-4EB6-B22B-CC068C1B8724}"/>
                </a:ext>
              </a:extLst>
            </p:cNvPr>
            <p:cNvSpPr txBox="1"/>
            <p:nvPr/>
          </p:nvSpPr>
          <p:spPr>
            <a:xfrm>
              <a:off x="10591965" y="-4707284"/>
              <a:ext cx="356986" cy="110816"/>
            </a:xfrm>
            <a:prstGeom prst="rect">
              <a:avLst/>
            </a:prstGeom>
            <a:noFill/>
          </p:spPr>
          <p:txBody>
            <a:bodyPr wrap="none" lIns="0" tIns="0" rIns="0" bIns="0" rtlCol="0" anchor="ctr">
              <a:spAutoFit/>
            </a:bodyPr>
            <a:lstStyle/>
            <a:p>
              <a:pPr algn="ctr" defTabSz="685669">
                <a:lnSpc>
                  <a:spcPct val="90000"/>
                </a:lnSpc>
                <a:spcAft>
                  <a:spcPts val="450"/>
                </a:spcAft>
                <a:defRPr/>
              </a:pPr>
              <a:r>
                <a:rPr lang="en-US" sz="600">
                  <a:latin typeface="Segoe UI Semibold"/>
                </a:rPr>
                <a:t>Finance</a:t>
              </a:r>
            </a:p>
          </p:txBody>
        </p:sp>
        <p:sp>
          <p:nvSpPr>
            <p:cNvPr id="270" name="TextBox 269">
              <a:extLst>
                <a:ext uri="{FF2B5EF4-FFF2-40B4-BE49-F238E27FC236}">
                  <a16:creationId xmlns:a16="http://schemas.microsoft.com/office/drawing/2014/main" id="{6A04CC2E-D482-4971-8DB8-400D77F5ECA0}"/>
                </a:ext>
              </a:extLst>
            </p:cNvPr>
            <p:cNvSpPr txBox="1"/>
            <p:nvPr/>
          </p:nvSpPr>
          <p:spPr>
            <a:xfrm>
              <a:off x="12602265" y="-3629043"/>
              <a:ext cx="333471" cy="246256"/>
            </a:xfrm>
            <a:prstGeom prst="rect">
              <a:avLst/>
            </a:prstGeom>
            <a:noFill/>
          </p:spPr>
          <p:txBody>
            <a:bodyPr wrap="none" lIns="0" tIns="0" rIns="0" bIns="0" rtlCol="0" anchor="ctr">
              <a:spAutoFit/>
            </a:bodyPr>
            <a:lstStyle/>
            <a:p>
              <a:pPr defTabSz="685669">
                <a:defRPr/>
              </a:pPr>
              <a:r>
                <a:rPr lang="en-US" sz="600">
                  <a:latin typeface="Segoe UI Semibold"/>
                </a:rPr>
                <a:t>Field</a:t>
              </a:r>
              <a:br>
                <a:rPr lang="en-US" sz="600">
                  <a:latin typeface="Segoe UI Semibold"/>
                </a:rPr>
              </a:br>
              <a:r>
                <a:rPr lang="en-US" sz="600">
                  <a:latin typeface="Segoe UI Semibold"/>
                </a:rPr>
                <a:t>Service</a:t>
              </a:r>
            </a:p>
          </p:txBody>
        </p:sp>
        <p:sp>
          <p:nvSpPr>
            <p:cNvPr id="271" name="TextBox 270">
              <a:extLst>
                <a:ext uri="{FF2B5EF4-FFF2-40B4-BE49-F238E27FC236}">
                  <a16:creationId xmlns:a16="http://schemas.microsoft.com/office/drawing/2014/main" id="{81A468C8-0923-4A12-8960-FB9CE9E0F052}"/>
                </a:ext>
              </a:extLst>
            </p:cNvPr>
            <p:cNvSpPr txBox="1"/>
            <p:nvPr/>
          </p:nvSpPr>
          <p:spPr>
            <a:xfrm>
              <a:off x="10626024" y="-3548894"/>
              <a:ext cx="367269" cy="110816"/>
            </a:xfrm>
            <a:prstGeom prst="rect">
              <a:avLst/>
            </a:prstGeom>
            <a:noFill/>
          </p:spPr>
          <p:txBody>
            <a:bodyPr wrap="square" lIns="0" tIns="0" rIns="0" bIns="0" rtlCol="0" anchor="ctr">
              <a:spAutoFit/>
            </a:bodyPr>
            <a:lstStyle/>
            <a:p>
              <a:pPr algn="r" defTabSz="685669">
                <a:lnSpc>
                  <a:spcPct val="90000"/>
                </a:lnSpc>
                <a:spcAft>
                  <a:spcPts val="450"/>
                </a:spcAft>
                <a:defRPr/>
              </a:pPr>
              <a:r>
                <a:rPr lang="en-US" sz="600">
                  <a:latin typeface="Segoe UI Semibold"/>
                </a:rPr>
                <a:t>Talent</a:t>
              </a:r>
            </a:p>
          </p:txBody>
        </p:sp>
        <p:sp>
          <p:nvSpPr>
            <p:cNvPr id="272" name="TextBox 271">
              <a:extLst>
                <a:ext uri="{FF2B5EF4-FFF2-40B4-BE49-F238E27FC236}">
                  <a16:creationId xmlns:a16="http://schemas.microsoft.com/office/drawing/2014/main" id="{186DC90E-8D3A-4DC8-946D-B4D389C74A2C}"/>
                </a:ext>
              </a:extLst>
            </p:cNvPr>
            <p:cNvSpPr txBox="1"/>
            <p:nvPr/>
          </p:nvSpPr>
          <p:spPr>
            <a:xfrm>
              <a:off x="11316880" y="-3013863"/>
              <a:ext cx="962686" cy="123128"/>
            </a:xfrm>
            <a:prstGeom prst="rect">
              <a:avLst/>
            </a:prstGeom>
            <a:noFill/>
          </p:spPr>
          <p:txBody>
            <a:bodyPr wrap="square" lIns="0" tIns="0" rIns="0" bIns="0" rtlCol="0" anchor="ctr">
              <a:spAutoFit/>
            </a:bodyPr>
            <a:lstStyle/>
            <a:p>
              <a:pPr algn="ctr" defTabSz="685669">
                <a:defRPr/>
              </a:pPr>
              <a:r>
                <a:rPr lang="en-US" sz="600">
                  <a:latin typeface="Segoe UI Semibold"/>
                </a:rPr>
                <a:t>Supply Chain Mgmt</a:t>
              </a:r>
            </a:p>
          </p:txBody>
        </p:sp>
        <p:sp>
          <p:nvSpPr>
            <p:cNvPr id="324" name="TextBox 323">
              <a:extLst>
                <a:ext uri="{FF2B5EF4-FFF2-40B4-BE49-F238E27FC236}">
                  <a16:creationId xmlns:a16="http://schemas.microsoft.com/office/drawing/2014/main" id="{1A5805FA-0AC1-44E1-94F4-F16354C6EA9C}"/>
                </a:ext>
              </a:extLst>
            </p:cNvPr>
            <p:cNvSpPr txBox="1"/>
            <p:nvPr/>
          </p:nvSpPr>
          <p:spPr>
            <a:xfrm>
              <a:off x="12624306" y="-4762296"/>
              <a:ext cx="453180" cy="246256"/>
            </a:xfrm>
            <a:prstGeom prst="rect">
              <a:avLst/>
            </a:prstGeom>
            <a:noFill/>
          </p:spPr>
          <p:txBody>
            <a:bodyPr wrap="none" lIns="0" tIns="0" rIns="0" bIns="0" rtlCol="0" anchor="ctr">
              <a:spAutoFit/>
            </a:bodyPr>
            <a:lstStyle/>
            <a:p>
              <a:pPr defTabSz="685669">
                <a:defRPr/>
              </a:pPr>
              <a:r>
                <a:rPr lang="en-US" sz="600">
                  <a:latin typeface="Segoe UI Semibold"/>
                </a:rPr>
                <a:t>Customer</a:t>
              </a:r>
              <a:br>
                <a:rPr lang="en-US" sz="600">
                  <a:latin typeface="Segoe UI Semibold"/>
                </a:rPr>
              </a:br>
              <a:r>
                <a:rPr lang="en-US" sz="600">
                  <a:latin typeface="Segoe UI Semibold"/>
                </a:rPr>
                <a:t>Service</a:t>
              </a:r>
            </a:p>
          </p:txBody>
        </p:sp>
        <p:sp>
          <p:nvSpPr>
            <p:cNvPr id="325" name="TextBox 324">
              <a:extLst>
                <a:ext uri="{FF2B5EF4-FFF2-40B4-BE49-F238E27FC236}">
                  <a16:creationId xmlns:a16="http://schemas.microsoft.com/office/drawing/2014/main" id="{C703E112-C5BB-46DA-9B36-A85473AA8017}"/>
                </a:ext>
              </a:extLst>
            </p:cNvPr>
            <p:cNvSpPr txBox="1"/>
            <p:nvPr/>
          </p:nvSpPr>
          <p:spPr>
            <a:xfrm>
              <a:off x="10250497" y="-4059993"/>
              <a:ext cx="508760" cy="110816"/>
            </a:xfrm>
            <a:prstGeom prst="rect">
              <a:avLst/>
            </a:prstGeom>
            <a:noFill/>
          </p:spPr>
          <p:txBody>
            <a:bodyPr wrap="none" lIns="0" tIns="0" rIns="0" bIns="0" rtlCol="0" anchor="ctr">
              <a:spAutoFit/>
            </a:bodyPr>
            <a:lstStyle/>
            <a:p>
              <a:pPr algn="ctr" defTabSz="685669">
                <a:lnSpc>
                  <a:spcPct val="90000"/>
                </a:lnSpc>
                <a:spcAft>
                  <a:spcPts val="450"/>
                </a:spcAft>
                <a:defRPr/>
              </a:pPr>
              <a:r>
                <a:rPr lang="en-US" sz="600">
                  <a:latin typeface="Segoe UI Semibold"/>
                </a:rPr>
                <a:t>Commerce</a:t>
              </a:r>
            </a:p>
          </p:txBody>
        </p:sp>
      </p:grpSp>
      <p:sp>
        <p:nvSpPr>
          <p:cNvPr id="303" name="CENTER CIRCLE">
            <a:extLst>
              <a:ext uri="{FF2B5EF4-FFF2-40B4-BE49-F238E27FC236}">
                <a16:creationId xmlns:a16="http://schemas.microsoft.com/office/drawing/2014/main" id="{C030986A-75BE-41B7-9713-AEA3FBB96F47}"/>
              </a:ext>
            </a:extLst>
          </p:cNvPr>
          <p:cNvSpPr/>
          <p:nvPr/>
        </p:nvSpPr>
        <p:spPr bwMode="auto">
          <a:xfrm>
            <a:off x="7239674" y="2622146"/>
            <a:ext cx="1185547" cy="1185546"/>
          </a:xfrm>
          <a:prstGeom prst="ellipse">
            <a:avLst/>
          </a:prstGeom>
          <a:noFill/>
          <a:ln w="12700" cap="rnd" cmpd="sng" algn="ctr">
            <a:solidFill>
              <a:schemeClr val="bg1">
                <a:lumMod val="75000"/>
              </a:schemeClr>
            </a:solidFill>
            <a:prstDash val="solid"/>
            <a:headEnd type="oval" w="sm" len="sm"/>
            <a:tailEnd type="oval" w="sm" len="sm"/>
          </a:ln>
          <a:effectLst/>
        </p:spPr>
        <p:txBody>
          <a:bodyPr rot="0" spcFirstLastPara="0" vertOverflow="overflow" horzOverflow="overflow" vert="horz" wrap="square" lIns="137141" tIns="109713" rIns="137141" bIns="109713" numCol="1" spcCol="0" rtlCol="0" fromWordArt="0" anchor="t" anchorCtr="0" forceAA="0" compatLnSpc="1">
            <a:prstTxWarp prst="textNoShape">
              <a:avLst/>
            </a:prstTxWarp>
            <a:noAutofit/>
          </a:bodyPr>
          <a:lstStyle/>
          <a:p>
            <a:pPr algn="ctr" defTabSz="699220" fontAlgn="base">
              <a:lnSpc>
                <a:spcPct val="90000"/>
              </a:lnSpc>
              <a:spcBef>
                <a:spcPct val="0"/>
              </a:spcBef>
              <a:spcAft>
                <a:spcPct val="0"/>
              </a:spcAft>
              <a:defRPr/>
            </a:pPr>
            <a:endParaRPr lang="en-US">
              <a:gradFill>
                <a:gsLst>
                  <a:gs pos="0">
                    <a:srgbClr val="FFFFFF"/>
                  </a:gs>
                  <a:gs pos="100000">
                    <a:srgbClr val="FFFFFF"/>
                  </a:gs>
                </a:gsLst>
                <a:lin ang="5400000" scaled="0"/>
              </a:gradFill>
              <a:latin typeface="Segoe UI"/>
              <a:cs typeface="Segoe UI" pitchFamily="34" charset="0"/>
            </a:endParaRPr>
          </a:p>
        </p:txBody>
      </p:sp>
      <p:grpSp>
        <p:nvGrpSpPr>
          <p:cNvPr id="421" name="Group 10">
            <a:extLst>
              <a:ext uri="{FF2B5EF4-FFF2-40B4-BE49-F238E27FC236}">
                <a16:creationId xmlns:a16="http://schemas.microsoft.com/office/drawing/2014/main" id="{76E09A11-CA9B-4B2A-AE06-214EA30FF17A}"/>
              </a:ext>
            </a:extLst>
          </p:cNvPr>
          <p:cNvGrpSpPr/>
          <p:nvPr/>
        </p:nvGrpSpPr>
        <p:grpSpPr>
          <a:xfrm>
            <a:off x="8098135" y="3476647"/>
            <a:ext cx="297305" cy="297305"/>
            <a:chOff x="6468096" y="2468303"/>
            <a:chExt cx="1215994" cy="1215995"/>
          </a:xfrm>
        </p:grpSpPr>
        <p:sp>
          <p:nvSpPr>
            <p:cNvPr id="422" name="Oval 421">
              <a:extLst>
                <a:ext uri="{FF2B5EF4-FFF2-40B4-BE49-F238E27FC236}">
                  <a16:creationId xmlns:a16="http://schemas.microsoft.com/office/drawing/2014/main" id="{ECF43003-A7A3-43F7-B038-CD13C0A6F32F}"/>
                </a:ext>
              </a:extLst>
            </p:cNvPr>
            <p:cNvSpPr/>
            <p:nvPr/>
          </p:nvSpPr>
          <p:spPr bwMode="auto">
            <a:xfrm>
              <a:off x="6468096" y="2468303"/>
              <a:ext cx="1215994" cy="1215995"/>
            </a:xfrm>
            <a:prstGeom prst="ellipse">
              <a:avLst/>
            </a:prstGeom>
            <a:solidFill>
              <a:schemeClr val="bg1"/>
            </a:solidFill>
            <a:ln>
              <a:noFill/>
              <a:headEnd type="none" w="med" len="med"/>
              <a:tailEnd type="none" w="med" len="med"/>
            </a:ln>
            <a:effectLst>
              <a:outerShdw blurRad="63500" sx="103000" sy="103000" algn="ctr"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1" tIns="109713" rIns="137141" bIns="109713" numCol="1" spcCol="0" rtlCol="0" fromWordArt="0" anchor="t" anchorCtr="0" forceAA="0" compatLnSpc="1">
              <a:prstTxWarp prst="textNoShape">
                <a:avLst/>
              </a:prstTxWarp>
              <a:noAutofit/>
            </a:bodyPr>
            <a:lstStyle/>
            <a:p>
              <a:pPr algn="ctr" defTabSz="699220" fontAlgn="base">
                <a:lnSpc>
                  <a:spcPct val="90000"/>
                </a:lnSpc>
                <a:spcBef>
                  <a:spcPct val="0"/>
                </a:spcBef>
                <a:spcAft>
                  <a:spcPct val="0"/>
                </a:spcAft>
                <a:defRPr/>
              </a:pPr>
              <a:endParaRPr lang="en-US" err="1">
                <a:gradFill>
                  <a:gsLst>
                    <a:gs pos="0">
                      <a:srgbClr val="FFFFFF"/>
                    </a:gs>
                    <a:gs pos="100000">
                      <a:srgbClr val="FFFFFF"/>
                    </a:gs>
                  </a:gsLst>
                  <a:lin ang="5400000" scaled="0"/>
                </a:gradFill>
                <a:latin typeface="Segoe UI"/>
                <a:cs typeface="Segoe UI" pitchFamily="34" charset="0"/>
              </a:endParaRPr>
            </a:p>
          </p:txBody>
        </p:sp>
        <p:grpSp>
          <p:nvGrpSpPr>
            <p:cNvPr id="423" name="Group 40">
              <a:extLst>
                <a:ext uri="{FF2B5EF4-FFF2-40B4-BE49-F238E27FC236}">
                  <a16:creationId xmlns:a16="http://schemas.microsoft.com/office/drawing/2014/main" id="{678E0D27-7B3F-4D2F-81FB-3B1568102C5A}"/>
                </a:ext>
              </a:extLst>
            </p:cNvPr>
            <p:cNvGrpSpPr>
              <a:grpSpLocks noChangeAspect="1"/>
            </p:cNvGrpSpPr>
            <p:nvPr/>
          </p:nvGrpSpPr>
          <p:grpSpPr bwMode="auto">
            <a:xfrm>
              <a:off x="6728505" y="2709004"/>
              <a:ext cx="737016" cy="730157"/>
              <a:chOff x="3732" y="2054"/>
              <a:chExt cx="215" cy="213"/>
            </a:xfrm>
          </p:grpSpPr>
          <p:sp>
            <p:nvSpPr>
              <p:cNvPr id="424" name="Freeform 41">
                <a:extLst>
                  <a:ext uri="{FF2B5EF4-FFF2-40B4-BE49-F238E27FC236}">
                    <a16:creationId xmlns:a16="http://schemas.microsoft.com/office/drawing/2014/main" id="{54701ED5-0044-4212-9F91-750A47BA2701}"/>
                  </a:ext>
                </a:extLst>
              </p:cNvPr>
              <p:cNvSpPr>
                <a:spLocks noEditPoints="1"/>
              </p:cNvSpPr>
              <p:nvPr/>
            </p:nvSpPr>
            <p:spPr bwMode="auto">
              <a:xfrm>
                <a:off x="3732" y="2148"/>
                <a:ext cx="121" cy="119"/>
              </a:xfrm>
              <a:custGeom>
                <a:avLst/>
                <a:gdLst>
                  <a:gd name="T0" fmla="*/ 4 w 87"/>
                  <a:gd name="T1" fmla="*/ 51 h 87"/>
                  <a:gd name="T2" fmla="*/ 11 w 87"/>
                  <a:gd name="T3" fmla="*/ 52 h 87"/>
                  <a:gd name="T4" fmla="*/ 14 w 87"/>
                  <a:gd name="T5" fmla="*/ 60 h 87"/>
                  <a:gd name="T6" fmla="*/ 10 w 87"/>
                  <a:gd name="T7" fmla="*/ 66 h 87"/>
                  <a:gd name="T8" fmla="*/ 11 w 87"/>
                  <a:gd name="T9" fmla="*/ 72 h 87"/>
                  <a:gd name="T10" fmla="*/ 15 w 87"/>
                  <a:gd name="T11" fmla="*/ 76 h 87"/>
                  <a:gd name="T12" fmla="*/ 21 w 87"/>
                  <a:gd name="T13" fmla="*/ 77 h 87"/>
                  <a:gd name="T14" fmla="*/ 27 w 87"/>
                  <a:gd name="T15" fmla="*/ 73 h 87"/>
                  <a:gd name="T16" fmla="*/ 35 w 87"/>
                  <a:gd name="T17" fmla="*/ 76 h 87"/>
                  <a:gd name="T18" fmla="*/ 36 w 87"/>
                  <a:gd name="T19" fmla="*/ 83 h 87"/>
                  <a:gd name="T20" fmla="*/ 41 w 87"/>
                  <a:gd name="T21" fmla="*/ 87 h 87"/>
                  <a:gd name="T22" fmla="*/ 46 w 87"/>
                  <a:gd name="T23" fmla="*/ 87 h 87"/>
                  <a:gd name="T24" fmla="*/ 51 w 87"/>
                  <a:gd name="T25" fmla="*/ 83 h 87"/>
                  <a:gd name="T26" fmla="*/ 53 w 87"/>
                  <a:gd name="T27" fmla="*/ 76 h 87"/>
                  <a:gd name="T28" fmla="*/ 61 w 87"/>
                  <a:gd name="T29" fmla="*/ 73 h 87"/>
                  <a:gd name="T30" fmla="*/ 66 w 87"/>
                  <a:gd name="T31" fmla="*/ 77 h 87"/>
                  <a:gd name="T32" fmla="*/ 72 w 87"/>
                  <a:gd name="T33" fmla="*/ 76 h 87"/>
                  <a:gd name="T34" fmla="*/ 76 w 87"/>
                  <a:gd name="T35" fmla="*/ 72 h 87"/>
                  <a:gd name="T36" fmla="*/ 77 w 87"/>
                  <a:gd name="T37" fmla="*/ 66 h 87"/>
                  <a:gd name="T38" fmla="*/ 73 w 87"/>
                  <a:gd name="T39" fmla="*/ 60 h 87"/>
                  <a:gd name="T40" fmla="*/ 76 w 87"/>
                  <a:gd name="T41" fmla="*/ 52 h 87"/>
                  <a:gd name="T42" fmla="*/ 83 w 87"/>
                  <a:gd name="T43" fmla="*/ 51 h 87"/>
                  <a:gd name="T44" fmla="*/ 87 w 87"/>
                  <a:gd name="T45" fmla="*/ 46 h 87"/>
                  <a:gd name="T46" fmla="*/ 87 w 87"/>
                  <a:gd name="T47" fmla="*/ 41 h 87"/>
                  <a:gd name="T48" fmla="*/ 83 w 87"/>
                  <a:gd name="T49" fmla="*/ 36 h 87"/>
                  <a:gd name="T50" fmla="*/ 76 w 87"/>
                  <a:gd name="T51" fmla="*/ 35 h 87"/>
                  <a:gd name="T52" fmla="*/ 73 w 87"/>
                  <a:gd name="T53" fmla="*/ 26 h 87"/>
                  <a:gd name="T54" fmla="*/ 77 w 87"/>
                  <a:gd name="T55" fmla="*/ 21 h 87"/>
                  <a:gd name="T56" fmla="*/ 76 w 87"/>
                  <a:gd name="T57" fmla="*/ 15 h 87"/>
                  <a:gd name="T58" fmla="*/ 72 w 87"/>
                  <a:gd name="T59" fmla="*/ 11 h 87"/>
                  <a:gd name="T60" fmla="*/ 66 w 87"/>
                  <a:gd name="T61" fmla="*/ 10 h 87"/>
                  <a:gd name="T62" fmla="*/ 61 w 87"/>
                  <a:gd name="T63" fmla="*/ 14 h 87"/>
                  <a:gd name="T64" fmla="*/ 52 w 87"/>
                  <a:gd name="T65" fmla="*/ 11 h 87"/>
                  <a:gd name="T66" fmla="*/ 51 w 87"/>
                  <a:gd name="T67" fmla="*/ 4 h 87"/>
                  <a:gd name="T68" fmla="*/ 46 w 87"/>
                  <a:gd name="T69" fmla="*/ 0 h 87"/>
                  <a:gd name="T70" fmla="*/ 41 w 87"/>
                  <a:gd name="T71" fmla="*/ 0 h 87"/>
                  <a:gd name="T72" fmla="*/ 36 w 87"/>
                  <a:gd name="T73" fmla="*/ 4 h 87"/>
                  <a:gd name="T74" fmla="*/ 35 w 87"/>
                  <a:gd name="T75" fmla="*/ 11 h 87"/>
                  <a:gd name="T76" fmla="*/ 27 w 87"/>
                  <a:gd name="T77" fmla="*/ 14 h 87"/>
                  <a:gd name="T78" fmla="*/ 21 w 87"/>
                  <a:gd name="T79" fmla="*/ 10 h 87"/>
                  <a:gd name="T80" fmla="*/ 15 w 87"/>
                  <a:gd name="T81" fmla="*/ 11 h 87"/>
                  <a:gd name="T82" fmla="*/ 11 w 87"/>
                  <a:gd name="T83" fmla="*/ 15 h 87"/>
                  <a:gd name="T84" fmla="*/ 11 w 87"/>
                  <a:gd name="T85" fmla="*/ 21 h 87"/>
                  <a:gd name="T86" fmla="*/ 14 w 87"/>
                  <a:gd name="T87" fmla="*/ 27 h 87"/>
                  <a:gd name="T88" fmla="*/ 11 w 87"/>
                  <a:gd name="T89" fmla="*/ 35 h 87"/>
                  <a:gd name="T90" fmla="*/ 4 w 87"/>
                  <a:gd name="T91" fmla="*/ 36 h 87"/>
                  <a:gd name="T92" fmla="*/ 0 w 87"/>
                  <a:gd name="T93" fmla="*/ 41 h 87"/>
                  <a:gd name="T94" fmla="*/ 0 w 87"/>
                  <a:gd name="T95" fmla="*/ 46 h 87"/>
                  <a:gd name="T96" fmla="*/ 4 w 87"/>
                  <a:gd name="T97" fmla="*/ 51 h 87"/>
                  <a:gd name="T98" fmla="*/ 44 w 87"/>
                  <a:gd name="T99" fmla="*/ 27 h 87"/>
                  <a:gd name="T100" fmla="*/ 60 w 87"/>
                  <a:gd name="T101" fmla="*/ 43 h 87"/>
                  <a:gd name="T102" fmla="*/ 44 w 87"/>
                  <a:gd name="T103" fmla="*/ 59 h 87"/>
                  <a:gd name="T104" fmla="*/ 28 w 87"/>
                  <a:gd name="T105" fmla="*/ 43 h 87"/>
                  <a:gd name="T106" fmla="*/ 44 w 87"/>
                  <a:gd name="T107" fmla="*/ 2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87" h="87">
                    <a:moveTo>
                      <a:pt x="4" y="51"/>
                    </a:moveTo>
                    <a:cubicBezTo>
                      <a:pt x="11" y="52"/>
                      <a:pt x="11" y="52"/>
                      <a:pt x="11" y="52"/>
                    </a:cubicBezTo>
                    <a:cubicBezTo>
                      <a:pt x="12" y="55"/>
                      <a:pt x="13" y="58"/>
                      <a:pt x="14" y="60"/>
                    </a:cubicBezTo>
                    <a:cubicBezTo>
                      <a:pt x="10" y="66"/>
                      <a:pt x="10" y="66"/>
                      <a:pt x="10" y="66"/>
                    </a:cubicBezTo>
                    <a:cubicBezTo>
                      <a:pt x="9" y="68"/>
                      <a:pt x="9" y="70"/>
                      <a:pt x="11" y="72"/>
                    </a:cubicBezTo>
                    <a:cubicBezTo>
                      <a:pt x="15" y="76"/>
                      <a:pt x="15" y="76"/>
                      <a:pt x="15" y="76"/>
                    </a:cubicBezTo>
                    <a:cubicBezTo>
                      <a:pt x="17" y="78"/>
                      <a:pt x="19" y="78"/>
                      <a:pt x="21" y="77"/>
                    </a:cubicBezTo>
                    <a:cubicBezTo>
                      <a:pt x="27" y="73"/>
                      <a:pt x="27" y="73"/>
                      <a:pt x="27" y="73"/>
                    </a:cubicBezTo>
                    <a:cubicBezTo>
                      <a:pt x="29" y="74"/>
                      <a:pt x="32" y="75"/>
                      <a:pt x="35" y="76"/>
                    </a:cubicBezTo>
                    <a:cubicBezTo>
                      <a:pt x="36" y="83"/>
                      <a:pt x="36" y="83"/>
                      <a:pt x="36" y="83"/>
                    </a:cubicBezTo>
                    <a:cubicBezTo>
                      <a:pt x="36" y="85"/>
                      <a:pt x="39" y="87"/>
                      <a:pt x="41" y="87"/>
                    </a:cubicBezTo>
                    <a:cubicBezTo>
                      <a:pt x="46" y="87"/>
                      <a:pt x="46" y="87"/>
                      <a:pt x="46" y="87"/>
                    </a:cubicBezTo>
                    <a:cubicBezTo>
                      <a:pt x="49" y="87"/>
                      <a:pt x="51" y="85"/>
                      <a:pt x="51" y="83"/>
                    </a:cubicBezTo>
                    <a:cubicBezTo>
                      <a:pt x="53" y="76"/>
                      <a:pt x="53" y="76"/>
                      <a:pt x="53" y="76"/>
                    </a:cubicBezTo>
                    <a:cubicBezTo>
                      <a:pt x="55" y="75"/>
                      <a:pt x="58" y="74"/>
                      <a:pt x="61" y="73"/>
                    </a:cubicBezTo>
                    <a:cubicBezTo>
                      <a:pt x="66" y="77"/>
                      <a:pt x="66" y="77"/>
                      <a:pt x="66" y="77"/>
                    </a:cubicBezTo>
                    <a:cubicBezTo>
                      <a:pt x="68" y="78"/>
                      <a:pt x="71" y="78"/>
                      <a:pt x="72" y="76"/>
                    </a:cubicBezTo>
                    <a:cubicBezTo>
                      <a:pt x="76" y="72"/>
                      <a:pt x="76" y="72"/>
                      <a:pt x="76" y="72"/>
                    </a:cubicBezTo>
                    <a:cubicBezTo>
                      <a:pt x="78" y="70"/>
                      <a:pt x="78" y="68"/>
                      <a:pt x="77" y="66"/>
                    </a:cubicBezTo>
                    <a:cubicBezTo>
                      <a:pt x="73" y="60"/>
                      <a:pt x="73" y="60"/>
                      <a:pt x="73" y="60"/>
                    </a:cubicBezTo>
                    <a:cubicBezTo>
                      <a:pt x="75" y="58"/>
                      <a:pt x="76" y="55"/>
                      <a:pt x="76" y="52"/>
                    </a:cubicBezTo>
                    <a:cubicBezTo>
                      <a:pt x="83" y="51"/>
                      <a:pt x="83" y="51"/>
                      <a:pt x="83" y="51"/>
                    </a:cubicBezTo>
                    <a:cubicBezTo>
                      <a:pt x="85" y="51"/>
                      <a:pt x="87" y="49"/>
                      <a:pt x="87" y="46"/>
                    </a:cubicBezTo>
                    <a:cubicBezTo>
                      <a:pt x="87" y="41"/>
                      <a:pt x="87" y="41"/>
                      <a:pt x="87" y="41"/>
                    </a:cubicBezTo>
                    <a:cubicBezTo>
                      <a:pt x="87" y="38"/>
                      <a:pt x="85" y="36"/>
                      <a:pt x="83" y="36"/>
                    </a:cubicBezTo>
                    <a:cubicBezTo>
                      <a:pt x="76" y="35"/>
                      <a:pt x="76" y="35"/>
                      <a:pt x="76" y="35"/>
                    </a:cubicBezTo>
                    <a:cubicBezTo>
                      <a:pt x="76" y="32"/>
                      <a:pt x="75" y="29"/>
                      <a:pt x="73" y="26"/>
                    </a:cubicBezTo>
                    <a:cubicBezTo>
                      <a:pt x="77" y="21"/>
                      <a:pt x="77" y="21"/>
                      <a:pt x="77" y="21"/>
                    </a:cubicBezTo>
                    <a:cubicBezTo>
                      <a:pt x="78" y="19"/>
                      <a:pt x="78" y="16"/>
                      <a:pt x="76" y="15"/>
                    </a:cubicBezTo>
                    <a:cubicBezTo>
                      <a:pt x="72" y="11"/>
                      <a:pt x="72" y="11"/>
                      <a:pt x="72" y="11"/>
                    </a:cubicBezTo>
                    <a:cubicBezTo>
                      <a:pt x="71" y="9"/>
                      <a:pt x="68" y="9"/>
                      <a:pt x="66" y="10"/>
                    </a:cubicBezTo>
                    <a:cubicBezTo>
                      <a:pt x="61" y="14"/>
                      <a:pt x="61" y="14"/>
                      <a:pt x="61" y="14"/>
                    </a:cubicBezTo>
                    <a:cubicBezTo>
                      <a:pt x="58" y="13"/>
                      <a:pt x="55" y="11"/>
                      <a:pt x="52" y="11"/>
                    </a:cubicBezTo>
                    <a:cubicBezTo>
                      <a:pt x="51" y="4"/>
                      <a:pt x="51" y="4"/>
                      <a:pt x="51" y="4"/>
                    </a:cubicBezTo>
                    <a:cubicBezTo>
                      <a:pt x="51" y="2"/>
                      <a:pt x="49" y="0"/>
                      <a:pt x="46" y="0"/>
                    </a:cubicBezTo>
                    <a:cubicBezTo>
                      <a:pt x="41" y="0"/>
                      <a:pt x="41" y="0"/>
                      <a:pt x="41" y="0"/>
                    </a:cubicBezTo>
                    <a:cubicBezTo>
                      <a:pt x="39" y="0"/>
                      <a:pt x="36" y="2"/>
                      <a:pt x="36" y="4"/>
                    </a:cubicBezTo>
                    <a:cubicBezTo>
                      <a:pt x="35" y="11"/>
                      <a:pt x="35" y="11"/>
                      <a:pt x="35" y="11"/>
                    </a:cubicBezTo>
                    <a:cubicBezTo>
                      <a:pt x="32" y="11"/>
                      <a:pt x="29" y="13"/>
                      <a:pt x="27" y="14"/>
                    </a:cubicBezTo>
                    <a:cubicBezTo>
                      <a:pt x="21" y="10"/>
                      <a:pt x="21" y="10"/>
                      <a:pt x="21" y="10"/>
                    </a:cubicBezTo>
                    <a:cubicBezTo>
                      <a:pt x="19" y="9"/>
                      <a:pt x="17" y="9"/>
                      <a:pt x="15" y="11"/>
                    </a:cubicBezTo>
                    <a:cubicBezTo>
                      <a:pt x="11" y="15"/>
                      <a:pt x="11" y="15"/>
                      <a:pt x="11" y="15"/>
                    </a:cubicBezTo>
                    <a:cubicBezTo>
                      <a:pt x="9" y="16"/>
                      <a:pt x="9" y="19"/>
                      <a:pt x="11" y="21"/>
                    </a:cubicBezTo>
                    <a:cubicBezTo>
                      <a:pt x="14" y="27"/>
                      <a:pt x="14" y="27"/>
                      <a:pt x="14" y="27"/>
                    </a:cubicBezTo>
                    <a:cubicBezTo>
                      <a:pt x="13" y="29"/>
                      <a:pt x="12" y="32"/>
                      <a:pt x="11" y="35"/>
                    </a:cubicBezTo>
                    <a:cubicBezTo>
                      <a:pt x="4" y="36"/>
                      <a:pt x="4" y="36"/>
                      <a:pt x="4" y="36"/>
                    </a:cubicBezTo>
                    <a:cubicBezTo>
                      <a:pt x="2" y="36"/>
                      <a:pt x="0" y="38"/>
                      <a:pt x="0" y="41"/>
                    </a:cubicBezTo>
                    <a:cubicBezTo>
                      <a:pt x="0" y="46"/>
                      <a:pt x="0" y="46"/>
                      <a:pt x="0" y="46"/>
                    </a:cubicBezTo>
                    <a:cubicBezTo>
                      <a:pt x="0" y="49"/>
                      <a:pt x="2" y="51"/>
                      <a:pt x="4" y="51"/>
                    </a:cubicBezTo>
                    <a:close/>
                    <a:moveTo>
                      <a:pt x="44" y="27"/>
                    </a:moveTo>
                    <a:cubicBezTo>
                      <a:pt x="52" y="27"/>
                      <a:pt x="60" y="35"/>
                      <a:pt x="60" y="43"/>
                    </a:cubicBezTo>
                    <a:cubicBezTo>
                      <a:pt x="60" y="52"/>
                      <a:pt x="52" y="59"/>
                      <a:pt x="44" y="59"/>
                    </a:cubicBezTo>
                    <a:cubicBezTo>
                      <a:pt x="35" y="59"/>
                      <a:pt x="28" y="52"/>
                      <a:pt x="28" y="43"/>
                    </a:cubicBezTo>
                    <a:cubicBezTo>
                      <a:pt x="28" y="35"/>
                      <a:pt x="35" y="27"/>
                      <a:pt x="44" y="27"/>
                    </a:cubicBezTo>
                    <a:close/>
                  </a:path>
                </a:pathLst>
              </a:custGeom>
              <a:solidFill>
                <a:srgbClr val="30E5D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85669">
                  <a:defRPr/>
                </a:pPr>
                <a:endParaRPr lang="en-IN" sz="1350">
                  <a:solidFill>
                    <a:srgbClr val="3C3C41"/>
                  </a:solidFill>
                  <a:latin typeface="Segoe UI"/>
                </a:endParaRPr>
              </a:p>
            </p:txBody>
          </p:sp>
          <p:sp>
            <p:nvSpPr>
              <p:cNvPr id="425" name="Freeform 42">
                <a:extLst>
                  <a:ext uri="{FF2B5EF4-FFF2-40B4-BE49-F238E27FC236}">
                    <a16:creationId xmlns:a16="http://schemas.microsoft.com/office/drawing/2014/main" id="{E7696B9B-5144-44D9-B685-6B22301946AF}"/>
                  </a:ext>
                </a:extLst>
              </p:cNvPr>
              <p:cNvSpPr>
                <a:spLocks/>
              </p:cNvSpPr>
              <p:nvPr/>
            </p:nvSpPr>
            <p:spPr bwMode="auto">
              <a:xfrm>
                <a:off x="3854" y="2175"/>
                <a:ext cx="77" cy="78"/>
              </a:xfrm>
              <a:custGeom>
                <a:avLst/>
                <a:gdLst>
                  <a:gd name="T0" fmla="*/ 34 w 56"/>
                  <a:gd name="T1" fmla="*/ 44 h 57"/>
                  <a:gd name="T2" fmla="*/ 34 w 56"/>
                  <a:gd name="T3" fmla="*/ 23 h 57"/>
                  <a:gd name="T4" fmla="*/ 28 w 56"/>
                  <a:gd name="T5" fmla="*/ 23 h 57"/>
                  <a:gd name="T6" fmla="*/ 26 w 56"/>
                  <a:gd name="T7" fmla="*/ 21 h 57"/>
                  <a:gd name="T8" fmla="*/ 26 w 56"/>
                  <a:gd name="T9" fmla="*/ 20 h 57"/>
                  <a:gd name="T10" fmla="*/ 39 w 56"/>
                  <a:gd name="T11" fmla="*/ 1 h 57"/>
                  <a:gd name="T12" fmla="*/ 41 w 56"/>
                  <a:gd name="T13" fmla="*/ 0 h 57"/>
                  <a:gd name="T14" fmla="*/ 41 w 56"/>
                  <a:gd name="T15" fmla="*/ 0 h 57"/>
                  <a:gd name="T16" fmla="*/ 42 w 56"/>
                  <a:gd name="T17" fmla="*/ 1 h 57"/>
                  <a:gd name="T18" fmla="*/ 55 w 56"/>
                  <a:gd name="T19" fmla="*/ 20 h 57"/>
                  <a:gd name="T20" fmla="*/ 55 w 56"/>
                  <a:gd name="T21" fmla="*/ 23 h 57"/>
                  <a:gd name="T22" fmla="*/ 54 w 56"/>
                  <a:gd name="T23" fmla="*/ 23 h 57"/>
                  <a:gd name="T24" fmla="*/ 47 w 56"/>
                  <a:gd name="T25" fmla="*/ 23 h 57"/>
                  <a:gd name="T26" fmla="*/ 47 w 56"/>
                  <a:gd name="T27" fmla="*/ 51 h 57"/>
                  <a:gd name="T28" fmla="*/ 41 w 56"/>
                  <a:gd name="T29" fmla="*/ 57 h 57"/>
                  <a:gd name="T30" fmla="*/ 3 w 56"/>
                  <a:gd name="T31" fmla="*/ 57 h 57"/>
                  <a:gd name="T32" fmla="*/ 0 w 56"/>
                  <a:gd name="T33" fmla="*/ 54 h 57"/>
                  <a:gd name="T34" fmla="*/ 0 w 56"/>
                  <a:gd name="T35" fmla="*/ 54 h 57"/>
                  <a:gd name="T36" fmla="*/ 0 w 56"/>
                  <a:gd name="T37" fmla="*/ 47 h 57"/>
                  <a:gd name="T38" fmla="*/ 3 w 56"/>
                  <a:gd name="T39" fmla="*/ 44 h 57"/>
                  <a:gd name="T40" fmla="*/ 3 w 56"/>
                  <a:gd name="T41" fmla="*/ 44 h 57"/>
                  <a:gd name="T42" fmla="*/ 34 w 56"/>
                  <a:gd name="T43" fmla="*/ 44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6" h="57">
                    <a:moveTo>
                      <a:pt x="34" y="44"/>
                    </a:moveTo>
                    <a:cubicBezTo>
                      <a:pt x="34" y="23"/>
                      <a:pt x="34" y="23"/>
                      <a:pt x="34" y="23"/>
                    </a:cubicBezTo>
                    <a:cubicBezTo>
                      <a:pt x="28" y="23"/>
                      <a:pt x="28" y="23"/>
                      <a:pt x="28" y="23"/>
                    </a:cubicBezTo>
                    <a:cubicBezTo>
                      <a:pt x="27" y="23"/>
                      <a:pt x="26" y="23"/>
                      <a:pt x="26" y="21"/>
                    </a:cubicBezTo>
                    <a:cubicBezTo>
                      <a:pt x="26" y="21"/>
                      <a:pt x="26" y="21"/>
                      <a:pt x="26" y="20"/>
                    </a:cubicBezTo>
                    <a:cubicBezTo>
                      <a:pt x="39" y="1"/>
                      <a:pt x="39" y="1"/>
                      <a:pt x="39" y="1"/>
                    </a:cubicBezTo>
                    <a:cubicBezTo>
                      <a:pt x="39" y="1"/>
                      <a:pt x="40" y="0"/>
                      <a:pt x="41" y="0"/>
                    </a:cubicBezTo>
                    <a:cubicBezTo>
                      <a:pt x="41" y="0"/>
                      <a:pt x="41" y="0"/>
                      <a:pt x="41" y="0"/>
                    </a:cubicBezTo>
                    <a:cubicBezTo>
                      <a:pt x="41" y="0"/>
                      <a:pt x="42" y="1"/>
                      <a:pt x="42" y="1"/>
                    </a:cubicBezTo>
                    <a:cubicBezTo>
                      <a:pt x="55" y="20"/>
                      <a:pt x="55" y="20"/>
                      <a:pt x="55" y="20"/>
                    </a:cubicBezTo>
                    <a:cubicBezTo>
                      <a:pt x="56" y="21"/>
                      <a:pt x="56" y="23"/>
                      <a:pt x="55" y="23"/>
                    </a:cubicBezTo>
                    <a:cubicBezTo>
                      <a:pt x="54" y="23"/>
                      <a:pt x="54" y="23"/>
                      <a:pt x="54" y="23"/>
                    </a:cubicBezTo>
                    <a:cubicBezTo>
                      <a:pt x="47" y="23"/>
                      <a:pt x="47" y="23"/>
                      <a:pt x="47" y="23"/>
                    </a:cubicBezTo>
                    <a:cubicBezTo>
                      <a:pt x="47" y="51"/>
                      <a:pt x="47" y="51"/>
                      <a:pt x="47" y="51"/>
                    </a:cubicBezTo>
                    <a:cubicBezTo>
                      <a:pt x="47" y="54"/>
                      <a:pt x="44" y="57"/>
                      <a:pt x="41" y="57"/>
                    </a:cubicBezTo>
                    <a:cubicBezTo>
                      <a:pt x="3" y="57"/>
                      <a:pt x="3" y="57"/>
                      <a:pt x="3" y="57"/>
                    </a:cubicBezTo>
                    <a:cubicBezTo>
                      <a:pt x="1" y="57"/>
                      <a:pt x="0" y="56"/>
                      <a:pt x="0" y="54"/>
                    </a:cubicBezTo>
                    <a:cubicBezTo>
                      <a:pt x="0" y="54"/>
                      <a:pt x="0" y="54"/>
                      <a:pt x="0" y="54"/>
                    </a:cubicBezTo>
                    <a:cubicBezTo>
                      <a:pt x="0" y="47"/>
                      <a:pt x="0" y="47"/>
                      <a:pt x="0" y="47"/>
                    </a:cubicBezTo>
                    <a:cubicBezTo>
                      <a:pt x="0" y="46"/>
                      <a:pt x="1" y="44"/>
                      <a:pt x="3" y="44"/>
                    </a:cubicBezTo>
                    <a:cubicBezTo>
                      <a:pt x="3" y="44"/>
                      <a:pt x="3" y="44"/>
                      <a:pt x="3" y="44"/>
                    </a:cubicBezTo>
                    <a:lnTo>
                      <a:pt x="34" y="44"/>
                    </a:lnTo>
                    <a:close/>
                  </a:path>
                </a:pathLst>
              </a:custGeom>
              <a:solidFill>
                <a:srgbClr val="3C3C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85669">
                  <a:defRPr/>
                </a:pPr>
                <a:endParaRPr lang="en-IN" sz="1350">
                  <a:solidFill>
                    <a:srgbClr val="3C3C41"/>
                  </a:solidFill>
                  <a:latin typeface="Segoe UI"/>
                </a:endParaRPr>
              </a:p>
            </p:txBody>
          </p:sp>
          <p:sp>
            <p:nvSpPr>
              <p:cNvPr id="426" name="Freeform 43">
                <a:extLst>
                  <a:ext uri="{FF2B5EF4-FFF2-40B4-BE49-F238E27FC236}">
                    <a16:creationId xmlns:a16="http://schemas.microsoft.com/office/drawing/2014/main" id="{160368D9-2831-47A0-9416-A006776FDC56}"/>
                  </a:ext>
                </a:extLst>
              </p:cNvPr>
              <p:cNvSpPr>
                <a:spLocks noEditPoints="1"/>
              </p:cNvSpPr>
              <p:nvPr/>
            </p:nvSpPr>
            <p:spPr bwMode="auto">
              <a:xfrm>
                <a:off x="3826" y="2054"/>
                <a:ext cx="121" cy="118"/>
              </a:xfrm>
              <a:custGeom>
                <a:avLst/>
                <a:gdLst>
                  <a:gd name="T0" fmla="*/ 83 w 87"/>
                  <a:gd name="T1" fmla="*/ 51 h 86"/>
                  <a:gd name="T2" fmla="*/ 87 w 87"/>
                  <a:gd name="T3" fmla="*/ 46 h 86"/>
                  <a:gd name="T4" fmla="*/ 87 w 87"/>
                  <a:gd name="T5" fmla="*/ 40 h 86"/>
                  <a:gd name="T6" fmla="*/ 83 w 87"/>
                  <a:gd name="T7" fmla="*/ 35 h 86"/>
                  <a:gd name="T8" fmla="*/ 76 w 87"/>
                  <a:gd name="T9" fmla="*/ 34 h 86"/>
                  <a:gd name="T10" fmla="*/ 73 w 87"/>
                  <a:gd name="T11" fmla="*/ 26 h 86"/>
                  <a:gd name="T12" fmla="*/ 77 w 87"/>
                  <a:gd name="T13" fmla="*/ 21 h 86"/>
                  <a:gd name="T14" fmla="*/ 76 w 87"/>
                  <a:gd name="T15" fmla="*/ 14 h 86"/>
                  <a:gd name="T16" fmla="*/ 72 w 87"/>
                  <a:gd name="T17" fmla="*/ 10 h 86"/>
                  <a:gd name="T18" fmla="*/ 66 w 87"/>
                  <a:gd name="T19" fmla="*/ 10 h 86"/>
                  <a:gd name="T20" fmla="*/ 61 w 87"/>
                  <a:gd name="T21" fmla="*/ 14 h 86"/>
                  <a:gd name="T22" fmla="*/ 53 w 87"/>
                  <a:gd name="T23" fmla="*/ 10 h 86"/>
                  <a:gd name="T24" fmla="*/ 51 w 87"/>
                  <a:gd name="T25" fmla="*/ 4 h 86"/>
                  <a:gd name="T26" fmla="*/ 47 w 87"/>
                  <a:gd name="T27" fmla="*/ 0 h 86"/>
                  <a:gd name="T28" fmla="*/ 41 w 87"/>
                  <a:gd name="T29" fmla="*/ 0 h 86"/>
                  <a:gd name="T30" fmla="*/ 36 w 87"/>
                  <a:gd name="T31" fmla="*/ 4 h 86"/>
                  <a:gd name="T32" fmla="*/ 35 w 87"/>
                  <a:gd name="T33" fmla="*/ 10 h 86"/>
                  <a:gd name="T34" fmla="*/ 27 w 87"/>
                  <a:gd name="T35" fmla="*/ 14 h 86"/>
                  <a:gd name="T36" fmla="*/ 21 w 87"/>
                  <a:gd name="T37" fmla="*/ 10 h 86"/>
                  <a:gd name="T38" fmla="*/ 15 w 87"/>
                  <a:gd name="T39" fmla="*/ 10 h 86"/>
                  <a:gd name="T40" fmla="*/ 11 w 87"/>
                  <a:gd name="T41" fmla="*/ 14 h 86"/>
                  <a:gd name="T42" fmla="*/ 11 w 87"/>
                  <a:gd name="T43" fmla="*/ 21 h 86"/>
                  <a:gd name="T44" fmla="*/ 14 w 87"/>
                  <a:gd name="T45" fmla="*/ 26 h 86"/>
                  <a:gd name="T46" fmla="*/ 11 w 87"/>
                  <a:gd name="T47" fmla="*/ 34 h 86"/>
                  <a:gd name="T48" fmla="*/ 5 w 87"/>
                  <a:gd name="T49" fmla="*/ 35 h 86"/>
                  <a:gd name="T50" fmla="*/ 0 w 87"/>
                  <a:gd name="T51" fmla="*/ 40 h 86"/>
                  <a:gd name="T52" fmla="*/ 0 w 87"/>
                  <a:gd name="T53" fmla="*/ 46 h 86"/>
                  <a:gd name="T54" fmla="*/ 5 w 87"/>
                  <a:gd name="T55" fmla="*/ 51 h 86"/>
                  <a:gd name="T56" fmla="*/ 11 w 87"/>
                  <a:gd name="T57" fmla="*/ 52 h 86"/>
                  <a:gd name="T58" fmla="*/ 14 w 87"/>
                  <a:gd name="T59" fmla="*/ 60 h 86"/>
                  <a:gd name="T60" fmla="*/ 11 w 87"/>
                  <a:gd name="T61" fmla="*/ 65 h 86"/>
                  <a:gd name="T62" fmla="*/ 11 w 87"/>
                  <a:gd name="T63" fmla="*/ 72 h 86"/>
                  <a:gd name="T64" fmla="*/ 15 w 87"/>
                  <a:gd name="T65" fmla="*/ 76 h 86"/>
                  <a:gd name="T66" fmla="*/ 21 w 87"/>
                  <a:gd name="T67" fmla="*/ 76 h 86"/>
                  <a:gd name="T68" fmla="*/ 27 w 87"/>
                  <a:gd name="T69" fmla="*/ 72 h 86"/>
                  <a:gd name="T70" fmla="*/ 35 w 87"/>
                  <a:gd name="T71" fmla="*/ 76 h 86"/>
                  <a:gd name="T72" fmla="*/ 36 w 87"/>
                  <a:gd name="T73" fmla="*/ 82 h 86"/>
                  <a:gd name="T74" fmla="*/ 41 w 87"/>
                  <a:gd name="T75" fmla="*/ 86 h 86"/>
                  <a:gd name="T76" fmla="*/ 46 w 87"/>
                  <a:gd name="T77" fmla="*/ 86 h 86"/>
                  <a:gd name="T78" fmla="*/ 51 w 87"/>
                  <a:gd name="T79" fmla="*/ 82 h 86"/>
                  <a:gd name="T80" fmla="*/ 53 w 87"/>
                  <a:gd name="T81" fmla="*/ 76 h 86"/>
                  <a:gd name="T82" fmla="*/ 61 w 87"/>
                  <a:gd name="T83" fmla="*/ 72 h 86"/>
                  <a:gd name="T84" fmla="*/ 66 w 87"/>
                  <a:gd name="T85" fmla="*/ 76 h 86"/>
                  <a:gd name="T86" fmla="*/ 72 w 87"/>
                  <a:gd name="T87" fmla="*/ 76 h 86"/>
                  <a:gd name="T88" fmla="*/ 76 w 87"/>
                  <a:gd name="T89" fmla="*/ 72 h 86"/>
                  <a:gd name="T90" fmla="*/ 77 w 87"/>
                  <a:gd name="T91" fmla="*/ 65 h 86"/>
                  <a:gd name="T92" fmla="*/ 73 w 87"/>
                  <a:gd name="T93" fmla="*/ 60 h 86"/>
                  <a:gd name="T94" fmla="*/ 77 w 87"/>
                  <a:gd name="T95" fmla="*/ 52 h 86"/>
                  <a:gd name="T96" fmla="*/ 83 w 87"/>
                  <a:gd name="T97" fmla="*/ 51 h 86"/>
                  <a:gd name="T98" fmla="*/ 44 w 87"/>
                  <a:gd name="T99" fmla="*/ 59 h 86"/>
                  <a:gd name="T100" fmla="*/ 28 w 87"/>
                  <a:gd name="T101" fmla="*/ 43 h 86"/>
                  <a:gd name="T102" fmla="*/ 44 w 87"/>
                  <a:gd name="T103" fmla="*/ 27 h 86"/>
                  <a:gd name="T104" fmla="*/ 60 w 87"/>
                  <a:gd name="T105" fmla="*/ 43 h 86"/>
                  <a:gd name="T106" fmla="*/ 44 w 87"/>
                  <a:gd name="T107" fmla="*/ 59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87" h="86">
                    <a:moveTo>
                      <a:pt x="83" y="51"/>
                    </a:moveTo>
                    <a:cubicBezTo>
                      <a:pt x="85" y="50"/>
                      <a:pt x="87" y="48"/>
                      <a:pt x="87" y="46"/>
                    </a:cubicBezTo>
                    <a:cubicBezTo>
                      <a:pt x="87" y="40"/>
                      <a:pt x="87" y="40"/>
                      <a:pt x="87" y="40"/>
                    </a:cubicBezTo>
                    <a:cubicBezTo>
                      <a:pt x="87" y="38"/>
                      <a:pt x="85" y="36"/>
                      <a:pt x="83" y="35"/>
                    </a:cubicBezTo>
                    <a:cubicBezTo>
                      <a:pt x="76" y="34"/>
                      <a:pt x="76" y="34"/>
                      <a:pt x="76" y="34"/>
                    </a:cubicBezTo>
                    <a:cubicBezTo>
                      <a:pt x="76" y="31"/>
                      <a:pt x="75" y="29"/>
                      <a:pt x="73" y="26"/>
                    </a:cubicBezTo>
                    <a:cubicBezTo>
                      <a:pt x="77" y="21"/>
                      <a:pt x="77" y="21"/>
                      <a:pt x="77" y="21"/>
                    </a:cubicBezTo>
                    <a:cubicBezTo>
                      <a:pt x="78" y="19"/>
                      <a:pt x="78" y="16"/>
                      <a:pt x="76" y="14"/>
                    </a:cubicBezTo>
                    <a:cubicBezTo>
                      <a:pt x="72" y="10"/>
                      <a:pt x="72" y="10"/>
                      <a:pt x="72" y="10"/>
                    </a:cubicBezTo>
                    <a:cubicBezTo>
                      <a:pt x="71" y="9"/>
                      <a:pt x="68" y="8"/>
                      <a:pt x="66" y="10"/>
                    </a:cubicBezTo>
                    <a:cubicBezTo>
                      <a:pt x="61" y="14"/>
                      <a:pt x="61" y="14"/>
                      <a:pt x="61" y="14"/>
                    </a:cubicBezTo>
                    <a:cubicBezTo>
                      <a:pt x="58" y="12"/>
                      <a:pt x="55" y="11"/>
                      <a:pt x="53" y="10"/>
                    </a:cubicBezTo>
                    <a:cubicBezTo>
                      <a:pt x="51" y="4"/>
                      <a:pt x="51" y="4"/>
                      <a:pt x="51" y="4"/>
                    </a:cubicBezTo>
                    <a:cubicBezTo>
                      <a:pt x="51" y="1"/>
                      <a:pt x="49" y="0"/>
                      <a:pt x="47" y="0"/>
                    </a:cubicBezTo>
                    <a:cubicBezTo>
                      <a:pt x="41" y="0"/>
                      <a:pt x="41" y="0"/>
                      <a:pt x="41" y="0"/>
                    </a:cubicBezTo>
                    <a:cubicBezTo>
                      <a:pt x="39" y="0"/>
                      <a:pt x="37" y="1"/>
                      <a:pt x="36" y="4"/>
                    </a:cubicBezTo>
                    <a:cubicBezTo>
                      <a:pt x="35" y="10"/>
                      <a:pt x="35" y="10"/>
                      <a:pt x="35" y="10"/>
                    </a:cubicBezTo>
                    <a:cubicBezTo>
                      <a:pt x="32" y="11"/>
                      <a:pt x="29" y="12"/>
                      <a:pt x="27" y="14"/>
                    </a:cubicBezTo>
                    <a:cubicBezTo>
                      <a:pt x="21" y="10"/>
                      <a:pt x="21" y="10"/>
                      <a:pt x="21" y="10"/>
                    </a:cubicBezTo>
                    <a:cubicBezTo>
                      <a:pt x="19" y="8"/>
                      <a:pt x="17" y="9"/>
                      <a:pt x="15" y="10"/>
                    </a:cubicBezTo>
                    <a:cubicBezTo>
                      <a:pt x="11" y="14"/>
                      <a:pt x="11" y="14"/>
                      <a:pt x="11" y="14"/>
                    </a:cubicBezTo>
                    <a:cubicBezTo>
                      <a:pt x="9" y="16"/>
                      <a:pt x="9" y="19"/>
                      <a:pt x="11" y="21"/>
                    </a:cubicBezTo>
                    <a:cubicBezTo>
                      <a:pt x="14" y="26"/>
                      <a:pt x="14" y="26"/>
                      <a:pt x="14" y="26"/>
                    </a:cubicBezTo>
                    <a:cubicBezTo>
                      <a:pt x="13" y="29"/>
                      <a:pt x="12" y="31"/>
                      <a:pt x="11" y="34"/>
                    </a:cubicBezTo>
                    <a:cubicBezTo>
                      <a:pt x="5" y="35"/>
                      <a:pt x="5" y="35"/>
                      <a:pt x="5" y="35"/>
                    </a:cubicBezTo>
                    <a:cubicBezTo>
                      <a:pt x="2" y="36"/>
                      <a:pt x="0" y="38"/>
                      <a:pt x="0" y="40"/>
                    </a:cubicBezTo>
                    <a:cubicBezTo>
                      <a:pt x="0" y="46"/>
                      <a:pt x="0" y="46"/>
                      <a:pt x="0" y="46"/>
                    </a:cubicBezTo>
                    <a:cubicBezTo>
                      <a:pt x="0" y="48"/>
                      <a:pt x="2" y="50"/>
                      <a:pt x="5" y="51"/>
                    </a:cubicBezTo>
                    <a:cubicBezTo>
                      <a:pt x="11" y="52"/>
                      <a:pt x="11" y="52"/>
                      <a:pt x="11" y="52"/>
                    </a:cubicBezTo>
                    <a:cubicBezTo>
                      <a:pt x="12" y="55"/>
                      <a:pt x="13" y="57"/>
                      <a:pt x="14" y="60"/>
                    </a:cubicBezTo>
                    <a:cubicBezTo>
                      <a:pt x="11" y="65"/>
                      <a:pt x="11" y="65"/>
                      <a:pt x="11" y="65"/>
                    </a:cubicBezTo>
                    <a:cubicBezTo>
                      <a:pt x="9" y="67"/>
                      <a:pt x="9" y="70"/>
                      <a:pt x="11" y="72"/>
                    </a:cubicBezTo>
                    <a:cubicBezTo>
                      <a:pt x="15" y="76"/>
                      <a:pt x="15" y="76"/>
                      <a:pt x="15" y="76"/>
                    </a:cubicBezTo>
                    <a:cubicBezTo>
                      <a:pt x="17" y="77"/>
                      <a:pt x="19" y="78"/>
                      <a:pt x="21" y="76"/>
                    </a:cubicBezTo>
                    <a:cubicBezTo>
                      <a:pt x="27" y="72"/>
                      <a:pt x="27" y="72"/>
                      <a:pt x="27" y="72"/>
                    </a:cubicBezTo>
                    <a:cubicBezTo>
                      <a:pt x="29" y="74"/>
                      <a:pt x="32" y="75"/>
                      <a:pt x="35" y="76"/>
                    </a:cubicBezTo>
                    <a:cubicBezTo>
                      <a:pt x="36" y="82"/>
                      <a:pt x="36" y="82"/>
                      <a:pt x="36" y="82"/>
                    </a:cubicBezTo>
                    <a:cubicBezTo>
                      <a:pt x="36" y="85"/>
                      <a:pt x="39" y="86"/>
                      <a:pt x="41" y="86"/>
                    </a:cubicBezTo>
                    <a:cubicBezTo>
                      <a:pt x="46" y="86"/>
                      <a:pt x="46" y="86"/>
                      <a:pt x="46" y="86"/>
                    </a:cubicBezTo>
                    <a:cubicBezTo>
                      <a:pt x="49" y="86"/>
                      <a:pt x="51" y="85"/>
                      <a:pt x="51" y="82"/>
                    </a:cubicBezTo>
                    <a:cubicBezTo>
                      <a:pt x="53" y="76"/>
                      <a:pt x="53" y="76"/>
                      <a:pt x="53" y="76"/>
                    </a:cubicBezTo>
                    <a:cubicBezTo>
                      <a:pt x="55" y="75"/>
                      <a:pt x="58" y="74"/>
                      <a:pt x="61" y="72"/>
                    </a:cubicBezTo>
                    <a:cubicBezTo>
                      <a:pt x="66" y="76"/>
                      <a:pt x="66" y="76"/>
                      <a:pt x="66" y="76"/>
                    </a:cubicBezTo>
                    <a:cubicBezTo>
                      <a:pt x="68" y="77"/>
                      <a:pt x="71" y="77"/>
                      <a:pt x="72" y="76"/>
                    </a:cubicBezTo>
                    <a:cubicBezTo>
                      <a:pt x="76" y="72"/>
                      <a:pt x="76" y="72"/>
                      <a:pt x="76" y="72"/>
                    </a:cubicBezTo>
                    <a:cubicBezTo>
                      <a:pt x="78" y="70"/>
                      <a:pt x="78" y="67"/>
                      <a:pt x="77" y="65"/>
                    </a:cubicBezTo>
                    <a:cubicBezTo>
                      <a:pt x="73" y="60"/>
                      <a:pt x="73" y="60"/>
                      <a:pt x="73" y="60"/>
                    </a:cubicBezTo>
                    <a:cubicBezTo>
                      <a:pt x="75" y="57"/>
                      <a:pt x="76" y="55"/>
                      <a:pt x="77" y="52"/>
                    </a:cubicBezTo>
                    <a:lnTo>
                      <a:pt x="83" y="51"/>
                    </a:lnTo>
                    <a:close/>
                    <a:moveTo>
                      <a:pt x="44" y="59"/>
                    </a:moveTo>
                    <a:cubicBezTo>
                      <a:pt x="35" y="59"/>
                      <a:pt x="28" y="52"/>
                      <a:pt x="28" y="43"/>
                    </a:cubicBezTo>
                    <a:cubicBezTo>
                      <a:pt x="28" y="34"/>
                      <a:pt x="35" y="27"/>
                      <a:pt x="44" y="27"/>
                    </a:cubicBezTo>
                    <a:cubicBezTo>
                      <a:pt x="53" y="27"/>
                      <a:pt x="60" y="34"/>
                      <a:pt x="60" y="43"/>
                    </a:cubicBezTo>
                    <a:cubicBezTo>
                      <a:pt x="60" y="52"/>
                      <a:pt x="53" y="59"/>
                      <a:pt x="44" y="59"/>
                    </a:cubicBezTo>
                    <a:close/>
                  </a:path>
                </a:pathLst>
              </a:custGeom>
              <a:solidFill>
                <a:srgbClr val="30E5D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85669">
                  <a:defRPr/>
                </a:pPr>
                <a:endParaRPr lang="en-IN" sz="1350">
                  <a:solidFill>
                    <a:srgbClr val="3C3C41"/>
                  </a:solidFill>
                  <a:latin typeface="Segoe UI"/>
                </a:endParaRPr>
              </a:p>
            </p:txBody>
          </p:sp>
          <p:sp>
            <p:nvSpPr>
              <p:cNvPr id="427" name="Freeform 44">
                <a:extLst>
                  <a:ext uri="{FF2B5EF4-FFF2-40B4-BE49-F238E27FC236}">
                    <a16:creationId xmlns:a16="http://schemas.microsoft.com/office/drawing/2014/main" id="{A71F1CF4-C5F9-47B6-8C9E-8E6014C41FF2}"/>
                  </a:ext>
                </a:extLst>
              </p:cNvPr>
              <p:cNvSpPr>
                <a:spLocks/>
              </p:cNvSpPr>
              <p:nvPr/>
            </p:nvSpPr>
            <p:spPr bwMode="auto">
              <a:xfrm>
                <a:off x="3749" y="2067"/>
                <a:ext cx="77" cy="78"/>
              </a:xfrm>
              <a:custGeom>
                <a:avLst/>
                <a:gdLst>
                  <a:gd name="T0" fmla="*/ 21 w 56"/>
                  <a:gd name="T1" fmla="*/ 13 h 57"/>
                  <a:gd name="T2" fmla="*/ 21 w 56"/>
                  <a:gd name="T3" fmla="*/ 34 h 57"/>
                  <a:gd name="T4" fmla="*/ 28 w 56"/>
                  <a:gd name="T5" fmla="*/ 34 h 57"/>
                  <a:gd name="T6" fmla="*/ 30 w 56"/>
                  <a:gd name="T7" fmla="*/ 36 h 57"/>
                  <a:gd name="T8" fmla="*/ 29 w 56"/>
                  <a:gd name="T9" fmla="*/ 37 h 57"/>
                  <a:gd name="T10" fmla="*/ 16 w 56"/>
                  <a:gd name="T11" fmla="*/ 56 h 57"/>
                  <a:gd name="T12" fmla="*/ 15 w 56"/>
                  <a:gd name="T13" fmla="*/ 57 h 57"/>
                  <a:gd name="T14" fmla="*/ 15 w 56"/>
                  <a:gd name="T15" fmla="*/ 57 h 57"/>
                  <a:gd name="T16" fmla="*/ 13 w 56"/>
                  <a:gd name="T17" fmla="*/ 56 h 57"/>
                  <a:gd name="T18" fmla="*/ 0 w 56"/>
                  <a:gd name="T19" fmla="*/ 37 h 57"/>
                  <a:gd name="T20" fmla="*/ 1 w 56"/>
                  <a:gd name="T21" fmla="*/ 34 h 57"/>
                  <a:gd name="T22" fmla="*/ 2 w 56"/>
                  <a:gd name="T23" fmla="*/ 34 h 57"/>
                  <a:gd name="T24" fmla="*/ 8 w 56"/>
                  <a:gd name="T25" fmla="*/ 34 h 57"/>
                  <a:gd name="T26" fmla="*/ 8 w 56"/>
                  <a:gd name="T27" fmla="*/ 7 h 57"/>
                  <a:gd name="T28" fmla="*/ 15 w 56"/>
                  <a:gd name="T29" fmla="*/ 0 h 57"/>
                  <a:gd name="T30" fmla="*/ 15 w 56"/>
                  <a:gd name="T31" fmla="*/ 0 h 57"/>
                  <a:gd name="T32" fmla="*/ 53 w 56"/>
                  <a:gd name="T33" fmla="*/ 0 h 57"/>
                  <a:gd name="T34" fmla="*/ 56 w 56"/>
                  <a:gd name="T35" fmla="*/ 3 h 57"/>
                  <a:gd name="T36" fmla="*/ 56 w 56"/>
                  <a:gd name="T37" fmla="*/ 3 h 57"/>
                  <a:gd name="T38" fmla="*/ 56 w 56"/>
                  <a:gd name="T39" fmla="*/ 10 h 57"/>
                  <a:gd name="T40" fmla="*/ 53 w 56"/>
                  <a:gd name="T41" fmla="*/ 13 h 57"/>
                  <a:gd name="T42" fmla="*/ 53 w 56"/>
                  <a:gd name="T43" fmla="*/ 13 h 57"/>
                  <a:gd name="T44" fmla="*/ 21 w 56"/>
                  <a:gd name="T45" fmla="*/ 13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6" h="57">
                    <a:moveTo>
                      <a:pt x="21" y="13"/>
                    </a:moveTo>
                    <a:cubicBezTo>
                      <a:pt x="21" y="34"/>
                      <a:pt x="21" y="34"/>
                      <a:pt x="21" y="34"/>
                    </a:cubicBezTo>
                    <a:cubicBezTo>
                      <a:pt x="28" y="34"/>
                      <a:pt x="28" y="34"/>
                      <a:pt x="28" y="34"/>
                    </a:cubicBezTo>
                    <a:cubicBezTo>
                      <a:pt x="29" y="34"/>
                      <a:pt x="30" y="35"/>
                      <a:pt x="30" y="36"/>
                    </a:cubicBezTo>
                    <a:cubicBezTo>
                      <a:pt x="30" y="36"/>
                      <a:pt x="29" y="37"/>
                      <a:pt x="29" y="37"/>
                    </a:cubicBezTo>
                    <a:cubicBezTo>
                      <a:pt x="16" y="56"/>
                      <a:pt x="16" y="56"/>
                      <a:pt x="16" y="56"/>
                    </a:cubicBezTo>
                    <a:cubicBezTo>
                      <a:pt x="16" y="57"/>
                      <a:pt x="15" y="57"/>
                      <a:pt x="15" y="57"/>
                    </a:cubicBezTo>
                    <a:cubicBezTo>
                      <a:pt x="15" y="57"/>
                      <a:pt x="15" y="57"/>
                      <a:pt x="15" y="57"/>
                    </a:cubicBezTo>
                    <a:cubicBezTo>
                      <a:pt x="14" y="57"/>
                      <a:pt x="14" y="57"/>
                      <a:pt x="13" y="56"/>
                    </a:cubicBezTo>
                    <a:cubicBezTo>
                      <a:pt x="0" y="37"/>
                      <a:pt x="0" y="37"/>
                      <a:pt x="0" y="37"/>
                    </a:cubicBezTo>
                    <a:cubicBezTo>
                      <a:pt x="0" y="36"/>
                      <a:pt x="0" y="35"/>
                      <a:pt x="1" y="34"/>
                    </a:cubicBezTo>
                    <a:cubicBezTo>
                      <a:pt x="1" y="34"/>
                      <a:pt x="1" y="34"/>
                      <a:pt x="2" y="34"/>
                    </a:cubicBezTo>
                    <a:cubicBezTo>
                      <a:pt x="8" y="34"/>
                      <a:pt x="8" y="34"/>
                      <a:pt x="8" y="34"/>
                    </a:cubicBezTo>
                    <a:cubicBezTo>
                      <a:pt x="8" y="7"/>
                      <a:pt x="8" y="7"/>
                      <a:pt x="8" y="7"/>
                    </a:cubicBezTo>
                    <a:cubicBezTo>
                      <a:pt x="8" y="3"/>
                      <a:pt x="11" y="0"/>
                      <a:pt x="15" y="0"/>
                    </a:cubicBezTo>
                    <a:cubicBezTo>
                      <a:pt x="15" y="0"/>
                      <a:pt x="15" y="0"/>
                      <a:pt x="15" y="0"/>
                    </a:cubicBezTo>
                    <a:cubicBezTo>
                      <a:pt x="53" y="0"/>
                      <a:pt x="53" y="0"/>
                      <a:pt x="53" y="0"/>
                    </a:cubicBezTo>
                    <a:cubicBezTo>
                      <a:pt x="54" y="0"/>
                      <a:pt x="56" y="2"/>
                      <a:pt x="56" y="3"/>
                    </a:cubicBezTo>
                    <a:cubicBezTo>
                      <a:pt x="56" y="3"/>
                      <a:pt x="56" y="3"/>
                      <a:pt x="56" y="3"/>
                    </a:cubicBezTo>
                    <a:cubicBezTo>
                      <a:pt x="56" y="10"/>
                      <a:pt x="56" y="10"/>
                      <a:pt x="56" y="10"/>
                    </a:cubicBezTo>
                    <a:cubicBezTo>
                      <a:pt x="56" y="12"/>
                      <a:pt x="54" y="13"/>
                      <a:pt x="53" y="13"/>
                    </a:cubicBezTo>
                    <a:cubicBezTo>
                      <a:pt x="53" y="13"/>
                      <a:pt x="53" y="13"/>
                      <a:pt x="53" y="13"/>
                    </a:cubicBezTo>
                    <a:lnTo>
                      <a:pt x="21" y="13"/>
                    </a:lnTo>
                    <a:close/>
                  </a:path>
                </a:pathLst>
              </a:custGeom>
              <a:solidFill>
                <a:srgbClr val="3C3C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85669">
                  <a:defRPr/>
                </a:pPr>
                <a:endParaRPr lang="en-IN" sz="1350">
                  <a:solidFill>
                    <a:srgbClr val="3C3C41"/>
                  </a:solidFill>
                  <a:latin typeface="Segoe UI"/>
                </a:endParaRPr>
              </a:p>
            </p:txBody>
          </p:sp>
        </p:grpSp>
      </p:grpSp>
      <p:grpSp>
        <p:nvGrpSpPr>
          <p:cNvPr id="428" name="Group 11">
            <a:extLst>
              <a:ext uri="{FF2B5EF4-FFF2-40B4-BE49-F238E27FC236}">
                <a16:creationId xmlns:a16="http://schemas.microsoft.com/office/drawing/2014/main" id="{AD83275D-6B0C-461B-9B33-74638629FA97}"/>
              </a:ext>
            </a:extLst>
          </p:cNvPr>
          <p:cNvGrpSpPr/>
          <p:nvPr/>
        </p:nvGrpSpPr>
        <p:grpSpPr>
          <a:xfrm>
            <a:off x="7683795" y="3649601"/>
            <a:ext cx="297305" cy="297305"/>
            <a:chOff x="8381990" y="2468301"/>
            <a:chExt cx="1215994" cy="1215994"/>
          </a:xfrm>
        </p:grpSpPr>
        <p:sp>
          <p:nvSpPr>
            <p:cNvPr id="429" name="Oval 428">
              <a:extLst>
                <a:ext uri="{FF2B5EF4-FFF2-40B4-BE49-F238E27FC236}">
                  <a16:creationId xmlns:a16="http://schemas.microsoft.com/office/drawing/2014/main" id="{A2557EE6-C330-46F3-B920-28918E3275B3}"/>
                </a:ext>
              </a:extLst>
            </p:cNvPr>
            <p:cNvSpPr/>
            <p:nvPr/>
          </p:nvSpPr>
          <p:spPr bwMode="auto">
            <a:xfrm>
              <a:off x="8381990" y="2468301"/>
              <a:ext cx="1215994" cy="1215994"/>
            </a:xfrm>
            <a:prstGeom prst="ellipse">
              <a:avLst/>
            </a:prstGeom>
            <a:solidFill>
              <a:schemeClr val="bg1"/>
            </a:solidFill>
            <a:ln>
              <a:noFill/>
              <a:headEnd type="none" w="med" len="med"/>
              <a:tailEnd type="none" w="med" len="med"/>
            </a:ln>
            <a:effectLst>
              <a:outerShdw blurRad="63500" sx="103000" sy="103000" algn="ctr"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1" tIns="109713" rIns="137141" bIns="109713" numCol="1" spcCol="0" rtlCol="0" fromWordArt="0" anchor="t" anchorCtr="0" forceAA="0" compatLnSpc="1">
              <a:prstTxWarp prst="textNoShape">
                <a:avLst/>
              </a:prstTxWarp>
              <a:noAutofit/>
            </a:bodyPr>
            <a:lstStyle/>
            <a:p>
              <a:pPr algn="ctr" defTabSz="699220" fontAlgn="base">
                <a:lnSpc>
                  <a:spcPct val="90000"/>
                </a:lnSpc>
                <a:spcBef>
                  <a:spcPct val="0"/>
                </a:spcBef>
                <a:spcAft>
                  <a:spcPct val="0"/>
                </a:spcAft>
                <a:defRPr/>
              </a:pPr>
              <a:endParaRPr lang="en-US" err="1">
                <a:gradFill>
                  <a:gsLst>
                    <a:gs pos="0">
                      <a:srgbClr val="FFFFFF"/>
                    </a:gs>
                    <a:gs pos="100000">
                      <a:srgbClr val="FFFFFF"/>
                    </a:gs>
                  </a:gsLst>
                  <a:lin ang="5400000" scaled="0"/>
                </a:gradFill>
                <a:latin typeface="Segoe UI"/>
                <a:cs typeface="Segoe UI" pitchFamily="34" charset="0"/>
              </a:endParaRPr>
            </a:p>
          </p:txBody>
        </p:sp>
        <p:grpSp>
          <p:nvGrpSpPr>
            <p:cNvPr id="430" name="Group 34">
              <a:extLst>
                <a:ext uri="{FF2B5EF4-FFF2-40B4-BE49-F238E27FC236}">
                  <a16:creationId xmlns:a16="http://schemas.microsoft.com/office/drawing/2014/main" id="{A99D0520-322B-4011-9AEE-D1EA8DC0E92F}"/>
                </a:ext>
              </a:extLst>
            </p:cNvPr>
            <p:cNvGrpSpPr>
              <a:grpSpLocks noChangeAspect="1"/>
            </p:cNvGrpSpPr>
            <p:nvPr/>
          </p:nvGrpSpPr>
          <p:grpSpPr bwMode="auto">
            <a:xfrm>
              <a:off x="8631923" y="2705364"/>
              <a:ext cx="725423" cy="727371"/>
              <a:chOff x="4872" y="2267"/>
              <a:chExt cx="373" cy="374"/>
            </a:xfrm>
          </p:grpSpPr>
          <p:sp>
            <p:nvSpPr>
              <p:cNvPr id="431" name="Freeform 35">
                <a:extLst>
                  <a:ext uri="{FF2B5EF4-FFF2-40B4-BE49-F238E27FC236}">
                    <a16:creationId xmlns:a16="http://schemas.microsoft.com/office/drawing/2014/main" id="{5919B5E3-AF18-4246-B981-EEB6A7BD4C0F}"/>
                  </a:ext>
                </a:extLst>
              </p:cNvPr>
              <p:cNvSpPr>
                <a:spLocks/>
              </p:cNvSpPr>
              <p:nvPr/>
            </p:nvSpPr>
            <p:spPr bwMode="auto">
              <a:xfrm>
                <a:off x="5058" y="2267"/>
                <a:ext cx="187" cy="185"/>
              </a:xfrm>
              <a:custGeom>
                <a:avLst/>
                <a:gdLst>
                  <a:gd name="T0" fmla="*/ 147 w 160"/>
                  <a:gd name="T1" fmla="*/ 64 h 160"/>
                  <a:gd name="T2" fmla="*/ 139 w 160"/>
                  <a:gd name="T3" fmla="*/ 44 h 160"/>
                  <a:gd name="T4" fmla="*/ 145 w 160"/>
                  <a:gd name="T5" fmla="*/ 31 h 160"/>
                  <a:gd name="T6" fmla="*/ 129 w 160"/>
                  <a:gd name="T7" fmla="*/ 15 h 160"/>
                  <a:gd name="T8" fmla="*/ 116 w 160"/>
                  <a:gd name="T9" fmla="*/ 21 h 160"/>
                  <a:gd name="T10" fmla="*/ 96 w 160"/>
                  <a:gd name="T11" fmla="*/ 13 h 160"/>
                  <a:gd name="T12" fmla="*/ 92 w 160"/>
                  <a:gd name="T13" fmla="*/ 0 h 160"/>
                  <a:gd name="T14" fmla="*/ 69 w 160"/>
                  <a:gd name="T15" fmla="*/ 0 h 160"/>
                  <a:gd name="T16" fmla="*/ 64 w 160"/>
                  <a:gd name="T17" fmla="*/ 13 h 160"/>
                  <a:gd name="T18" fmla="*/ 44 w 160"/>
                  <a:gd name="T19" fmla="*/ 21 h 160"/>
                  <a:gd name="T20" fmla="*/ 32 w 160"/>
                  <a:gd name="T21" fmla="*/ 15 h 160"/>
                  <a:gd name="T22" fmla="*/ 16 w 160"/>
                  <a:gd name="T23" fmla="*/ 31 h 160"/>
                  <a:gd name="T24" fmla="*/ 22 w 160"/>
                  <a:gd name="T25" fmla="*/ 44 h 160"/>
                  <a:gd name="T26" fmla="*/ 14 w 160"/>
                  <a:gd name="T27" fmla="*/ 64 h 160"/>
                  <a:gd name="T28" fmla="*/ 0 w 160"/>
                  <a:gd name="T29" fmla="*/ 68 h 160"/>
                  <a:gd name="T30" fmla="*/ 0 w 160"/>
                  <a:gd name="T31" fmla="*/ 91 h 160"/>
                  <a:gd name="T32" fmla="*/ 14 w 160"/>
                  <a:gd name="T33" fmla="*/ 96 h 160"/>
                  <a:gd name="T34" fmla="*/ 22 w 160"/>
                  <a:gd name="T35" fmla="*/ 116 h 160"/>
                  <a:gd name="T36" fmla="*/ 16 w 160"/>
                  <a:gd name="T37" fmla="*/ 128 h 160"/>
                  <a:gd name="T38" fmla="*/ 32 w 160"/>
                  <a:gd name="T39" fmla="*/ 144 h 160"/>
                  <a:gd name="T40" fmla="*/ 44 w 160"/>
                  <a:gd name="T41" fmla="*/ 138 h 160"/>
                  <a:gd name="T42" fmla="*/ 64 w 160"/>
                  <a:gd name="T43" fmla="*/ 146 h 160"/>
                  <a:gd name="T44" fmla="*/ 69 w 160"/>
                  <a:gd name="T45" fmla="*/ 160 h 160"/>
                  <a:gd name="T46" fmla="*/ 92 w 160"/>
                  <a:gd name="T47" fmla="*/ 160 h 160"/>
                  <a:gd name="T48" fmla="*/ 96 w 160"/>
                  <a:gd name="T49" fmla="*/ 146 h 160"/>
                  <a:gd name="T50" fmla="*/ 116 w 160"/>
                  <a:gd name="T51" fmla="*/ 138 h 160"/>
                  <a:gd name="T52" fmla="*/ 129 w 160"/>
                  <a:gd name="T53" fmla="*/ 144 h 160"/>
                  <a:gd name="T54" fmla="*/ 145 w 160"/>
                  <a:gd name="T55" fmla="*/ 128 h 160"/>
                  <a:gd name="T56" fmla="*/ 139 w 160"/>
                  <a:gd name="T57" fmla="*/ 116 h 160"/>
                  <a:gd name="T58" fmla="*/ 147 w 160"/>
                  <a:gd name="T59" fmla="*/ 96 h 160"/>
                  <a:gd name="T60" fmla="*/ 160 w 160"/>
                  <a:gd name="T61" fmla="*/ 91 h 160"/>
                  <a:gd name="T62" fmla="*/ 160 w 160"/>
                  <a:gd name="T63" fmla="*/ 68 h 160"/>
                  <a:gd name="T64" fmla="*/ 147 w 160"/>
                  <a:gd name="T65" fmla="*/ 64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0" h="160">
                    <a:moveTo>
                      <a:pt x="147" y="64"/>
                    </a:moveTo>
                    <a:cubicBezTo>
                      <a:pt x="145" y="57"/>
                      <a:pt x="142" y="50"/>
                      <a:pt x="139" y="44"/>
                    </a:cubicBezTo>
                    <a:cubicBezTo>
                      <a:pt x="145" y="31"/>
                      <a:pt x="145" y="31"/>
                      <a:pt x="145" y="31"/>
                    </a:cubicBezTo>
                    <a:cubicBezTo>
                      <a:pt x="129" y="15"/>
                      <a:pt x="129" y="15"/>
                      <a:pt x="129" y="15"/>
                    </a:cubicBezTo>
                    <a:cubicBezTo>
                      <a:pt x="116" y="21"/>
                      <a:pt x="116" y="21"/>
                      <a:pt x="116" y="21"/>
                    </a:cubicBezTo>
                    <a:cubicBezTo>
                      <a:pt x="110" y="18"/>
                      <a:pt x="103" y="15"/>
                      <a:pt x="96" y="13"/>
                    </a:cubicBezTo>
                    <a:cubicBezTo>
                      <a:pt x="92" y="0"/>
                      <a:pt x="92" y="0"/>
                      <a:pt x="92" y="0"/>
                    </a:cubicBezTo>
                    <a:cubicBezTo>
                      <a:pt x="69" y="0"/>
                      <a:pt x="69" y="0"/>
                      <a:pt x="69" y="0"/>
                    </a:cubicBezTo>
                    <a:cubicBezTo>
                      <a:pt x="64" y="13"/>
                      <a:pt x="64" y="13"/>
                      <a:pt x="64" y="13"/>
                    </a:cubicBezTo>
                    <a:cubicBezTo>
                      <a:pt x="57" y="15"/>
                      <a:pt x="51" y="18"/>
                      <a:pt x="44" y="21"/>
                    </a:cubicBezTo>
                    <a:cubicBezTo>
                      <a:pt x="32" y="15"/>
                      <a:pt x="32" y="15"/>
                      <a:pt x="32" y="15"/>
                    </a:cubicBezTo>
                    <a:cubicBezTo>
                      <a:pt x="16" y="31"/>
                      <a:pt x="16" y="31"/>
                      <a:pt x="16" y="31"/>
                    </a:cubicBezTo>
                    <a:cubicBezTo>
                      <a:pt x="22" y="44"/>
                      <a:pt x="22" y="44"/>
                      <a:pt x="22" y="44"/>
                    </a:cubicBezTo>
                    <a:cubicBezTo>
                      <a:pt x="18" y="50"/>
                      <a:pt x="15" y="57"/>
                      <a:pt x="14" y="64"/>
                    </a:cubicBezTo>
                    <a:cubicBezTo>
                      <a:pt x="0" y="68"/>
                      <a:pt x="0" y="68"/>
                      <a:pt x="0" y="68"/>
                    </a:cubicBezTo>
                    <a:cubicBezTo>
                      <a:pt x="0" y="91"/>
                      <a:pt x="0" y="91"/>
                      <a:pt x="0" y="91"/>
                    </a:cubicBezTo>
                    <a:cubicBezTo>
                      <a:pt x="14" y="96"/>
                      <a:pt x="14" y="96"/>
                      <a:pt x="14" y="96"/>
                    </a:cubicBezTo>
                    <a:cubicBezTo>
                      <a:pt x="15" y="103"/>
                      <a:pt x="18" y="109"/>
                      <a:pt x="22" y="116"/>
                    </a:cubicBezTo>
                    <a:cubicBezTo>
                      <a:pt x="16" y="128"/>
                      <a:pt x="16" y="128"/>
                      <a:pt x="16" y="128"/>
                    </a:cubicBezTo>
                    <a:cubicBezTo>
                      <a:pt x="32" y="144"/>
                      <a:pt x="32" y="144"/>
                      <a:pt x="32" y="144"/>
                    </a:cubicBezTo>
                    <a:cubicBezTo>
                      <a:pt x="44" y="138"/>
                      <a:pt x="44" y="138"/>
                      <a:pt x="44" y="138"/>
                    </a:cubicBezTo>
                    <a:cubicBezTo>
                      <a:pt x="51" y="142"/>
                      <a:pt x="57" y="145"/>
                      <a:pt x="64" y="146"/>
                    </a:cubicBezTo>
                    <a:cubicBezTo>
                      <a:pt x="69" y="160"/>
                      <a:pt x="69" y="160"/>
                      <a:pt x="69" y="160"/>
                    </a:cubicBezTo>
                    <a:cubicBezTo>
                      <a:pt x="92" y="160"/>
                      <a:pt x="92" y="160"/>
                      <a:pt x="92" y="160"/>
                    </a:cubicBezTo>
                    <a:cubicBezTo>
                      <a:pt x="96" y="146"/>
                      <a:pt x="96" y="146"/>
                      <a:pt x="96" y="146"/>
                    </a:cubicBezTo>
                    <a:cubicBezTo>
                      <a:pt x="103" y="145"/>
                      <a:pt x="110" y="142"/>
                      <a:pt x="116" y="138"/>
                    </a:cubicBezTo>
                    <a:cubicBezTo>
                      <a:pt x="129" y="144"/>
                      <a:pt x="129" y="144"/>
                      <a:pt x="129" y="144"/>
                    </a:cubicBezTo>
                    <a:cubicBezTo>
                      <a:pt x="145" y="128"/>
                      <a:pt x="145" y="128"/>
                      <a:pt x="145" y="128"/>
                    </a:cubicBezTo>
                    <a:cubicBezTo>
                      <a:pt x="139" y="116"/>
                      <a:pt x="139" y="116"/>
                      <a:pt x="139" y="116"/>
                    </a:cubicBezTo>
                    <a:cubicBezTo>
                      <a:pt x="142" y="109"/>
                      <a:pt x="145" y="103"/>
                      <a:pt x="147" y="96"/>
                    </a:cubicBezTo>
                    <a:cubicBezTo>
                      <a:pt x="160" y="91"/>
                      <a:pt x="160" y="91"/>
                      <a:pt x="160" y="91"/>
                    </a:cubicBezTo>
                    <a:cubicBezTo>
                      <a:pt x="160" y="68"/>
                      <a:pt x="160" y="68"/>
                      <a:pt x="160" y="68"/>
                    </a:cubicBezTo>
                    <a:lnTo>
                      <a:pt x="147" y="64"/>
                    </a:ln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85669">
                  <a:defRPr/>
                </a:pPr>
                <a:endParaRPr lang="en-IN" sz="1350">
                  <a:solidFill>
                    <a:srgbClr val="3C3C41"/>
                  </a:solidFill>
                  <a:latin typeface="Segoe UI"/>
                </a:endParaRPr>
              </a:p>
            </p:txBody>
          </p:sp>
          <p:sp>
            <p:nvSpPr>
              <p:cNvPr id="432" name="Freeform 36">
                <a:extLst>
                  <a:ext uri="{FF2B5EF4-FFF2-40B4-BE49-F238E27FC236}">
                    <a16:creationId xmlns:a16="http://schemas.microsoft.com/office/drawing/2014/main" id="{A6BF267D-FAC7-4AE7-A236-3D4F70324C37}"/>
                  </a:ext>
                </a:extLst>
              </p:cNvPr>
              <p:cNvSpPr>
                <a:spLocks/>
              </p:cNvSpPr>
              <p:nvPr/>
            </p:nvSpPr>
            <p:spPr bwMode="auto">
              <a:xfrm>
                <a:off x="5110" y="2325"/>
                <a:ext cx="84" cy="68"/>
              </a:xfrm>
              <a:custGeom>
                <a:avLst/>
                <a:gdLst>
                  <a:gd name="T0" fmla="*/ 84 w 84"/>
                  <a:gd name="T1" fmla="*/ 18 h 68"/>
                  <a:gd name="T2" fmla="*/ 65 w 84"/>
                  <a:gd name="T3" fmla="*/ 0 h 68"/>
                  <a:gd name="T4" fmla="*/ 33 w 84"/>
                  <a:gd name="T5" fmla="*/ 31 h 68"/>
                  <a:gd name="T6" fmla="*/ 19 w 84"/>
                  <a:gd name="T7" fmla="*/ 18 h 68"/>
                  <a:gd name="T8" fmla="*/ 0 w 84"/>
                  <a:gd name="T9" fmla="*/ 37 h 68"/>
                  <a:gd name="T10" fmla="*/ 33 w 84"/>
                  <a:gd name="T11" fmla="*/ 68 h 68"/>
                  <a:gd name="T12" fmla="*/ 33 w 84"/>
                  <a:gd name="T13" fmla="*/ 68 h 68"/>
                  <a:gd name="T14" fmla="*/ 33 w 84"/>
                  <a:gd name="T15" fmla="*/ 68 h 68"/>
                  <a:gd name="T16" fmla="*/ 84 w 84"/>
                  <a:gd name="T17" fmla="*/ 18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4" h="68">
                    <a:moveTo>
                      <a:pt x="84" y="18"/>
                    </a:moveTo>
                    <a:lnTo>
                      <a:pt x="65" y="0"/>
                    </a:lnTo>
                    <a:lnTo>
                      <a:pt x="33" y="31"/>
                    </a:lnTo>
                    <a:lnTo>
                      <a:pt x="19" y="18"/>
                    </a:lnTo>
                    <a:lnTo>
                      <a:pt x="0" y="37"/>
                    </a:lnTo>
                    <a:lnTo>
                      <a:pt x="33" y="68"/>
                    </a:lnTo>
                    <a:lnTo>
                      <a:pt x="33" y="68"/>
                    </a:lnTo>
                    <a:lnTo>
                      <a:pt x="33" y="68"/>
                    </a:lnTo>
                    <a:lnTo>
                      <a:pt x="84" y="1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85669">
                  <a:defRPr/>
                </a:pPr>
                <a:endParaRPr lang="en-IN" sz="1350">
                  <a:solidFill>
                    <a:srgbClr val="3C3C41"/>
                  </a:solidFill>
                  <a:latin typeface="Segoe UI"/>
                </a:endParaRPr>
              </a:p>
            </p:txBody>
          </p:sp>
          <p:sp>
            <p:nvSpPr>
              <p:cNvPr id="433" name="Freeform 37">
                <a:extLst>
                  <a:ext uri="{FF2B5EF4-FFF2-40B4-BE49-F238E27FC236}">
                    <a16:creationId xmlns:a16="http://schemas.microsoft.com/office/drawing/2014/main" id="{320E24A4-760E-437C-A669-7BE907ED5CA8}"/>
                  </a:ext>
                </a:extLst>
              </p:cNvPr>
              <p:cNvSpPr>
                <a:spLocks noEditPoints="1"/>
              </p:cNvSpPr>
              <p:nvPr/>
            </p:nvSpPr>
            <p:spPr bwMode="auto">
              <a:xfrm>
                <a:off x="4872" y="2394"/>
                <a:ext cx="250" cy="247"/>
              </a:xfrm>
              <a:custGeom>
                <a:avLst/>
                <a:gdLst>
                  <a:gd name="T0" fmla="*/ 194 w 214"/>
                  <a:gd name="T1" fmla="*/ 124 h 214"/>
                  <a:gd name="T2" fmla="*/ 194 w 214"/>
                  <a:gd name="T3" fmla="*/ 89 h 214"/>
                  <a:gd name="T4" fmla="*/ 214 w 214"/>
                  <a:gd name="T5" fmla="*/ 74 h 214"/>
                  <a:gd name="T6" fmla="*/ 206 w 214"/>
                  <a:gd name="T7" fmla="*/ 54 h 214"/>
                  <a:gd name="T8" fmla="*/ 181 w 214"/>
                  <a:gd name="T9" fmla="*/ 57 h 214"/>
                  <a:gd name="T10" fmla="*/ 156 w 214"/>
                  <a:gd name="T11" fmla="*/ 33 h 214"/>
                  <a:gd name="T12" fmla="*/ 160 w 214"/>
                  <a:gd name="T13" fmla="*/ 8 h 214"/>
                  <a:gd name="T14" fmla="*/ 139 w 214"/>
                  <a:gd name="T15" fmla="*/ 0 h 214"/>
                  <a:gd name="T16" fmla="*/ 125 w 214"/>
                  <a:gd name="T17" fmla="*/ 20 h 214"/>
                  <a:gd name="T18" fmla="*/ 89 w 214"/>
                  <a:gd name="T19" fmla="*/ 20 h 214"/>
                  <a:gd name="T20" fmla="*/ 75 w 214"/>
                  <a:gd name="T21" fmla="*/ 0 h 214"/>
                  <a:gd name="T22" fmla="*/ 54 w 214"/>
                  <a:gd name="T23" fmla="*/ 8 h 214"/>
                  <a:gd name="T24" fmla="*/ 58 w 214"/>
                  <a:gd name="T25" fmla="*/ 33 h 214"/>
                  <a:gd name="T26" fmla="*/ 33 w 214"/>
                  <a:gd name="T27" fmla="*/ 58 h 214"/>
                  <a:gd name="T28" fmla="*/ 8 w 214"/>
                  <a:gd name="T29" fmla="*/ 54 h 214"/>
                  <a:gd name="T30" fmla="*/ 0 w 214"/>
                  <a:gd name="T31" fmla="*/ 75 h 214"/>
                  <a:gd name="T32" fmla="*/ 20 w 214"/>
                  <a:gd name="T33" fmla="*/ 89 h 214"/>
                  <a:gd name="T34" fmla="*/ 20 w 214"/>
                  <a:gd name="T35" fmla="*/ 125 h 214"/>
                  <a:gd name="T36" fmla="*/ 0 w 214"/>
                  <a:gd name="T37" fmla="*/ 139 h 214"/>
                  <a:gd name="T38" fmla="*/ 9 w 214"/>
                  <a:gd name="T39" fmla="*/ 160 h 214"/>
                  <a:gd name="T40" fmla="*/ 33 w 214"/>
                  <a:gd name="T41" fmla="*/ 156 h 214"/>
                  <a:gd name="T42" fmla="*/ 58 w 214"/>
                  <a:gd name="T43" fmla="*/ 181 h 214"/>
                  <a:gd name="T44" fmla="*/ 54 w 214"/>
                  <a:gd name="T45" fmla="*/ 206 h 214"/>
                  <a:gd name="T46" fmla="*/ 75 w 214"/>
                  <a:gd name="T47" fmla="*/ 214 h 214"/>
                  <a:gd name="T48" fmla="*/ 90 w 214"/>
                  <a:gd name="T49" fmla="*/ 194 h 214"/>
                  <a:gd name="T50" fmla="*/ 125 w 214"/>
                  <a:gd name="T51" fmla="*/ 194 h 214"/>
                  <a:gd name="T52" fmla="*/ 140 w 214"/>
                  <a:gd name="T53" fmla="*/ 214 h 214"/>
                  <a:gd name="T54" fmla="*/ 160 w 214"/>
                  <a:gd name="T55" fmla="*/ 205 h 214"/>
                  <a:gd name="T56" fmla="*/ 157 w 214"/>
                  <a:gd name="T57" fmla="*/ 181 h 214"/>
                  <a:gd name="T58" fmla="*/ 181 w 214"/>
                  <a:gd name="T59" fmla="*/ 156 h 214"/>
                  <a:gd name="T60" fmla="*/ 206 w 214"/>
                  <a:gd name="T61" fmla="*/ 160 h 214"/>
                  <a:gd name="T62" fmla="*/ 214 w 214"/>
                  <a:gd name="T63" fmla="*/ 139 h 214"/>
                  <a:gd name="T64" fmla="*/ 194 w 214"/>
                  <a:gd name="T65" fmla="*/ 124 h 214"/>
                  <a:gd name="T66" fmla="*/ 86 w 214"/>
                  <a:gd name="T67" fmla="*/ 158 h 214"/>
                  <a:gd name="T68" fmla="*/ 56 w 214"/>
                  <a:gd name="T69" fmla="*/ 86 h 214"/>
                  <a:gd name="T70" fmla="*/ 128 w 214"/>
                  <a:gd name="T71" fmla="*/ 55 h 214"/>
                  <a:gd name="T72" fmla="*/ 159 w 214"/>
                  <a:gd name="T73" fmla="*/ 128 h 214"/>
                  <a:gd name="T74" fmla="*/ 86 w 214"/>
                  <a:gd name="T75" fmla="*/ 158 h 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14" h="214">
                    <a:moveTo>
                      <a:pt x="194" y="124"/>
                    </a:moveTo>
                    <a:cubicBezTo>
                      <a:pt x="197" y="112"/>
                      <a:pt x="197" y="100"/>
                      <a:pt x="194" y="89"/>
                    </a:cubicBezTo>
                    <a:cubicBezTo>
                      <a:pt x="214" y="74"/>
                      <a:pt x="214" y="74"/>
                      <a:pt x="214" y="74"/>
                    </a:cubicBezTo>
                    <a:cubicBezTo>
                      <a:pt x="206" y="54"/>
                      <a:pt x="206" y="54"/>
                      <a:pt x="206" y="54"/>
                    </a:cubicBezTo>
                    <a:cubicBezTo>
                      <a:pt x="181" y="57"/>
                      <a:pt x="181" y="57"/>
                      <a:pt x="181" y="57"/>
                    </a:cubicBezTo>
                    <a:cubicBezTo>
                      <a:pt x="175" y="48"/>
                      <a:pt x="166" y="39"/>
                      <a:pt x="156" y="33"/>
                    </a:cubicBezTo>
                    <a:cubicBezTo>
                      <a:pt x="160" y="8"/>
                      <a:pt x="160" y="8"/>
                      <a:pt x="160" y="8"/>
                    </a:cubicBezTo>
                    <a:cubicBezTo>
                      <a:pt x="139" y="0"/>
                      <a:pt x="139" y="0"/>
                      <a:pt x="139" y="0"/>
                    </a:cubicBezTo>
                    <a:cubicBezTo>
                      <a:pt x="125" y="20"/>
                      <a:pt x="125" y="20"/>
                      <a:pt x="125" y="20"/>
                    </a:cubicBezTo>
                    <a:cubicBezTo>
                      <a:pt x="113" y="17"/>
                      <a:pt x="101" y="17"/>
                      <a:pt x="89" y="20"/>
                    </a:cubicBezTo>
                    <a:cubicBezTo>
                      <a:pt x="75" y="0"/>
                      <a:pt x="75" y="0"/>
                      <a:pt x="75" y="0"/>
                    </a:cubicBezTo>
                    <a:cubicBezTo>
                      <a:pt x="54" y="8"/>
                      <a:pt x="54" y="8"/>
                      <a:pt x="54" y="8"/>
                    </a:cubicBezTo>
                    <a:cubicBezTo>
                      <a:pt x="58" y="33"/>
                      <a:pt x="58" y="33"/>
                      <a:pt x="58" y="33"/>
                    </a:cubicBezTo>
                    <a:cubicBezTo>
                      <a:pt x="48" y="39"/>
                      <a:pt x="40" y="48"/>
                      <a:pt x="33" y="58"/>
                    </a:cubicBezTo>
                    <a:cubicBezTo>
                      <a:pt x="8" y="54"/>
                      <a:pt x="8" y="54"/>
                      <a:pt x="8" y="54"/>
                    </a:cubicBezTo>
                    <a:cubicBezTo>
                      <a:pt x="0" y="75"/>
                      <a:pt x="0" y="75"/>
                      <a:pt x="0" y="75"/>
                    </a:cubicBezTo>
                    <a:cubicBezTo>
                      <a:pt x="20" y="89"/>
                      <a:pt x="20" y="89"/>
                      <a:pt x="20" y="89"/>
                    </a:cubicBezTo>
                    <a:cubicBezTo>
                      <a:pt x="17" y="101"/>
                      <a:pt x="18" y="113"/>
                      <a:pt x="20" y="125"/>
                    </a:cubicBezTo>
                    <a:cubicBezTo>
                      <a:pt x="0" y="139"/>
                      <a:pt x="0" y="139"/>
                      <a:pt x="0" y="139"/>
                    </a:cubicBezTo>
                    <a:cubicBezTo>
                      <a:pt x="9" y="160"/>
                      <a:pt x="9" y="160"/>
                      <a:pt x="9" y="160"/>
                    </a:cubicBezTo>
                    <a:cubicBezTo>
                      <a:pt x="33" y="156"/>
                      <a:pt x="33" y="156"/>
                      <a:pt x="33" y="156"/>
                    </a:cubicBezTo>
                    <a:cubicBezTo>
                      <a:pt x="40" y="166"/>
                      <a:pt x="48" y="174"/>
                      <a:pt x="58" y="181"/>
                    </a:cubicBezTo>
                    <a:cubicBezTo>
                      <a:pt x="54" y="206"/>
                      <a:pt x="54" y="206"/>
                      <a:pt x="54" y="206"/>
                    </a:cubicBezTo>
                    <a:cubicBezTo>
                      <a:pt x="75" y="214"/>
                      <a:pt x="75" y="214"/>
                      <a:pt x="75" y="214"/>
                    </a:cubicBezTo>
                    <a:cubicBezTo>
                      <a:pt x="90" y="194"/>
                      <a:pt x="90" y="194"/>
                      <a:pt x="90" y="194"/>
                    </a:cubicBezTo>
                    <a:cubicBezTo>
                      <a:pt x="102" y="197"/>
                      <a:pt x="114" y="196"/>
                      <a:pt x="125" y="194"/>
                    </a:cubicBezTo>
                    <a:cubicBezTo>
                      <a:pt x="140" y="214"/>
                      <a:pt x="140" y="214"/>
                      <a:pt x="140" y="214"/>
                    </a:cubicBezTo>
                    <a:cubicBezTo>
                      <a:pt x="160" y="205"/>
                      <a:pt x="160" y="205"/>
                      <a:pt x="160" y="205"/>
                    </a:cubicBezTo>
                    <a:cubicBezTo>
                      <a:pt x="157" y="181"/>
                      <a:pt x="157" y="181"/>
                      <a:pt x="157" y="181"/>
                    </a:cubicBezTo>
                    <a:cubicBezTo>
                      <a:pt x="166" y="174"/>
                      <a:pt x="175" y="166"/>
                      <a:pt x="181" y="156"/>
                    </a:cubicBezTo>
                    <a:cubicBezTo>
                      <a:pt x="206" y="160"/>
                      <a:pt x="206" y="160"/>
                      <a:pt x="206" y="160"/>
                    </a:cubicBezTo>
                    <a:cubicBezTo>
                      <a:pt x="214" y="139"/>
                      <a:pt x="214" y="139"/>
                      <a:pt x="214" y="139"/>
                    </a:cubicBezTo>
                    <a:lnTo>
                      <a:pt x="194" y="124"/>
                    </a:lnTo>
                    <a:close/>
                    <a:moveTo>
                      <a:pt x="86" y="158"/>
                    </a:moveTo>
                    <a:cubicBezTo>
                      <a:pt x="58" y="147"/>
                      <a:pt x="44" y="114"/>
                      <a:pt x="56" y="86"/>
                    </a:cubicBezTo>
                    <a:cubicBezTo>
                      <a:pt x="67" y="57"/>
                      <a:pt x="100" y="44"/>
                      <a:pt x="128" y="55"/>
                    </a:cubicBezTo>
                    <a:cubicBezTo>
                      <a:pt x="157" y="67"/>
                      <a:pt x="170" y="100"/>
                      <a:pt x="159" y="128"/>
                    </a:cubicBezTo>
                    <a:cubicBezTo>
                      <a:pt x="147" y="156"/>
                      <a:pt x="114" y="170"/>
                      <a:pt x="86" y="158"/>
                    </a:cubicBezTo>
                    <a:close/>
                  </a:path>
                </a:pathLst>
              </a:custGeom>
              <a:solidFill>
                <a:srgbClr val="3C3C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85669">
                  <a:defRPr/>
                </a:pPr>
                <a:endParaRPr lang="en-IN" sz="1350">
                  <a:solidFill>
                    <a:srgbClr val="3C3C41"/>
                  </a:solidFill>
                  <a:latin typeface="Segoe UI"/>
                </a:endParaRPr>
              </a:p>
            </p:txBody>
          </p:sp>
        </p:grpSp>
      </p:grpSp>
      <p:grpSp>
        <p:nvGrpSpPr>
          <p:cNvPr id="314" name="Group 8">
            <a:extLst>
              <a:ext uri="{FF2B5EF4-FFF2-40B4-BE49-F238E27FC236}">
                <a16:creationId xmlns:a16="http://schemas.microsoft.com/office/drawing/2014/main" id="{A6511662-350A-41BD-8E55-EADFC7DFFD40}"/>
              </a:ext>
            </a:extLst>
          </p:cNvPr>
          <p:cNvGrpSpPr/>
          <p:nvPr/>
        </p:nvGrpSpPr>
        <p:grpSpPr>
          <a:xfrm>
            <a:off x="7683795" y="2468593"/>
            <a:ext cx="297305" cy="297305"/>
            <a:chOff x="2640314" y="2468301"/>
            <a:chExt cx="1215994" cy="1215994"/>
          </a:xfrm>
        </p:grpSpPr>
        <p:sp>
          <p:nvSpPr>
            <p:cNvPr id="315" name="Oval 314">
              <a:extLst>
                <a:ext uri="{FF2B5EF4-FFF2-40B4-BE49-F238E27FC236}">
                  <a16:creationId xmlns:a16="http://schemas.microsoft.com/office/drawing/2014/main" id="{73EC43A0-D9F6-4E6A-9693-62E5CDADCAD7}"/>
                </a:ext>
              </a:extLst>
            </p:cNvPr>
            <p:cNvSpPr/>
            <p:nvPr/>
          </p:nvSpPr>
          <p:spPr bwMode="auto">
            <a:xfrm>
              <a:off x="2640314" y="2468301"/>
              <a:ext cx="1215994" cy="1215994"/>
            </a:xfrm>
            <a:prstGeom prst="ellipse">
              <a:avLst/>
            </a:prstGeom>
            <a:solidFill>
              <a:schemeClr val="bg1"/>
            </a:solidFill>
            <a:ln>
              <a:noFill/>
              <a:headEnd type="none" w="med" len="med"/>
              <a:tailEnd type="none" w="med" len="med"/>
            </a:ln>
            <a:effectLst>
              <a:outerShdw blurRad="63500" sx="103000" sy="103000" algn="ctr"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1" tIns="109713" rIns="137141" bIns="109713" numCol="1" spcCol="0" rtlCol="0" fromWordArt="0" anchor="t" anchorCtr="0" forceAA="0" compatLnSpc="1">
              <a:prstTxWarp prst="textNoShape">
                <a:avLst/>
              </a:prstTxWarp>
              <a:noAutofit/>
            </a:bodyPr>
            <a:lstStyle/>
            <a:p>
              <a:pPr algn="ctr" defTabSz="699220" fontAlgn="base">
                <a:lnSpc>
                  <a:spcPct val="90000"/>
                </a:lnSpc>
                <a:spcBef>
                  <a:spcPct val="0"/>
                </a:spcBef>
                <a:spcAft>
                  <a:spcPct val="0"/>
                </a:spcAft>
                <a:defRPr/>
              </a:pPr>
              <a:endParaRPr lang="en-US" err="1">
                <a:gradFill>
                  <a:gsLst>
                    <a:gs pos="0">
                      <a:srgbClr val="FFFFFF"/>
                    </a:gs>
                    <a:gs pos="100000">
                      <a:srgbClr val="FFFFFF"/>
                    </a:gs>
                  </a:gsLst>
                  <a:lin ang="5400000" scaled="0"/>
                </a:gradFill>
                <a:latin typeface="Segoe UI"/>
                <a:cs typeface="Segoe UI" pitchFamily="34" charset="0"/>
              </a:endParaRPr>
            </a:p>
          </p:txBody>
        </p:sp>
        <p:grpSp>
          <p:nvGrpSpPr>
            <p:cNvPr id="316" name="Group 11">
              <a:extLst>
                <a:ext uri="{FF2B5EF4-FFF2-40B4-BE49-F238E27FC236}">
                  <a16:creationId xmlns:a16="http://schemas.microsoft.com/office/drawing/2014/main" id="{5A763810-ABED-4D6B-984D-D490B2AA9224}"/>
                </a:ext>
              </a:extLst>
            </p:cNvPr>
            <p:cNvGrpSpPr>
              <a:grpSpLocks noChangeAspect="1"/>
            </p:cNvGrpSpPr>
            <p:nvPr/>
          </p:nvGrpSpPr>
          <p:grpSpPr bwMode="auto">
            <a:xfrm>
              <a:off x="2897303" y="2695814"/>
              <a:ext cx="652359" cy="646826"/>
              <a:chOff x="2529" y="-539"/>
              <a:chExt cx="353" cy="350"/>
            </a:xfrm>
          </p:grpSpPr>
          <p:sp>
            <p:nvSpPr>
              <p:cNvPr id="317" name="Freeform 12">
                <a:extLst>
                  <a:ext uri="{FF2B5EF4-FFF2-40B4-BE49-F238E27FC236}">
                    <a16:creationId xmlns:a16="http://schemas.microsoft.com/office/drawing/2014/main" id="{65BDEF47-6EB8-4A62-B218-FA740A16602B}"/>
                  </a:ext>
                </a:extLst>
              </p:cNvPr>
              <p:cNvSpPr>
                <a:spLocks/>
              </p:cNvSpPr>
              <p:nvPr/>
            </p:nvSpPr>
            <p:spPr bwMode="auto">
              <a:xfrm>
                <a:off x="2623" y="-369"/>
                <a:ext cx="23" cy="180"/>
              </a:xfrm>
              <a:custGeom>
                <a:avLst/>
                <a:gdLst>
                  <a:gd name="T0" fmla="*/ 0 w 23"/>
                  <a:gd name="T1" fmla="*/ 23 h 180"/>
                  <a:gd name="T2" fmla="*/ 0 w 23"/>
                  <a:gd name="T3" fmla="*/ 180 h 180"/>
                  <a:gd name="T4" fmla="*/ 23 w 23"/>
                  <a:gd name="T5" fmla="*/ 180 h 180"/>
                  <a:gd name="T6" fmla="*/ 23 w 23"/>
                  <a:gd name="T7" fmla="*/ 0 h 180"/>
                  <a:gd name="T8" fmla="*/ 0 w 23"/>
                  <a:gd name="T9" fmla="*/ 23 h 180"/>
                </a:gdLst>
                <a:ahLst/>
                <a:cxnLst>
                  <a:cxn ang="0">
                    <a:pos x="T0" y="T1"/>
                  </a:cxn>
                  <a:cxn ang="0">
                    <a:pos x="T2" y="T3"/>
                  </a:cxn>
                  <a:cxn ang="0">
                    <a:pos x="T4" y="T5"/>
                  </a:cxn>
                  <a:cxn ang="0">
                    <a:pos x="T6" y="T7"/>
                  </a:cxn>
                  <a:cxn ang="0">
                    <a:pos x="T8" y="T9"/>
                  </a:cxn>
                </a:cxnLst>
                <a:rect l="0" t="0" r="r" b="b"/>
                <a:pathLst>
                  <a:path w="23" h="180">
                    <a:moveTo>
                      <a:pt x="0" y="23"/>
                    </a:moveTo>
                    <a:lnTo>
                      <a:pt x="0" y="180"/>
                    </a:lnTo>
                    <a:lnTo>
                      <a:pt x="23" y="180"/>
                    </a:lnTo>
                    <a:lnTo>
                      <a:pt x="23" y="0"/>
                    </a:lnTo>
                    <a:lnTo>
                      <a:pt x="0" y="23"/>
                    </a:lnTo>
                    <a:close/>
                  </a:path>
                </a:pathLst>
              </a:custGeom>
              <a:solidFill>
                <a:srgbClr val="3C3C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85669">
                  <a:defRPr/>
                </a:pPr>
                <a:endParaRPr lang="en-IN" sz="1350">
                  <a:solidFill>
                    <a:srgbClr val="3C3C41"/>
                  </a:solidFill>
                  <a:latin typeface="Segoe UI"/>
                </a:endParaRPr>
              </a:p>
            </p:txBody>
          </p:sp>
          <p:sp>
            <p:nvSpPr>
              <p:cNvPr id="318" name="Freeform 13">
                <a:extLst>
                  <a:ext uri="{FF2B5EF4-FFF2-40B4-BE49-F238E27FC236}">
                    <a16:creationId xmlns:a16="http://schemas.microsoft.com/office/drawing/2014/main" id="{D2E53107-EFC8-447C-8E43-85C0B3BCA908}"/>
                  </a:ext>
                </a:extLst>
              </p:cNvPr>
              <p:cNvSpPr>
                <a:spLocks/>
              </p:cNvSpPr>
              <p:nvPr/>
            </p:nvSpPr>
            <p:spPr bwMode="auto">
              <a:xfrm>
                <a:off x="2529" y="-276"/>
                <a:ext cx="23" cy="87"/>
              </a:xfrm>
              <a:custGeom>
                <a:avLst/>
                <a:gdLst>
                  <a:gd name="T0" fmla="*/ 0 w 23"/>
                  <a:gd name="T1" fmla="*/ 23 h 87"/>
                  <a:gd name="T2" fmla="*/ 0 w 23"/>
                  <a:gd name="T3" fmla="*/ 87 h 87"/>
                  <a:gd name="T4" fmla="*/ 23 w 23"/>
                  <a:gd name="T5" fmla="*/ 87 h 87"/>
                  <a:gd name="T6" fmla="*/ 23 w 23"/>
                  <a:gd name="T7" fmla="*/ 0 h 87"/>
                  <a:gd name="T8" fmla="*/ 0 w 23"/>
                  <a:gd name="T9" fmla="*/ 23 h 87"/>
                </a:gdLst>
                <a:ahLst/>
                <a:cxnLst>
                  <a:cxn ang="0">
                    <a:pos x="T0" y="T1"/>
                  </a:cxn>
                  <a:cxn ang="0">
                    <a:pos x="T2" y="T3"/>
                  </a:cxn>
                  <a:cxn ang="0">
                    <a:pos x="T4" y="T5"/>
                  </a:cxn>
                  <a:cxn ang="0">
                    <a:pos x="T6" y="T7"/>
                  </a:cxn>
                  <a:cxn ang="0">
                    <a:pos x="T8" y="T9"/>
                  </a:cxn>
                </a:cxnLst>
                <a:rect l="0" t="0" r="r" b="b"/>
                <a:pathLst>
                  <a:path w="23" h="87">
                    <a:moveTo>
                      <a:pt x="0" y="23"/>
                    </a:moveTo>
                    <a:lnTo>
                      <a:pt x="0" y="87"/>
                    </a:lnTo>
                    <a:lnTo>
                      <a:pt x="23" y="87"/>
                    </a:lnTo>
                    <a:lnTo>
                      <a:pt x="23" y="0"/>
                    </a:lnTo>
                    <a:lnTo>
                      <a:pt x="0" y="23"/>
                    </a:lnTo>
                    <a:close/>
                  </a:path>
                </a:pathLst>
              </a:custGeom>
              <a:solidFill>
                <a:srgbClr val="3C3C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85669">
                  <a:defRPr/>
                </a:pPr>
                <a:endParaRPr lang="en-IN" sz="1350">
                  <a:solidFill>
                    <a:srgbClr val="3C3C41"/>
                  </a:solidFill>
                  <a:latin typeface="Segoe UI"/>
                </a:endParaRPr>
              </a:p>
            </p:txBody>
          </p:sp>
          <p:sp>
            <p:nvSpPr>
              <p:cNvPr id="319" name="Freeform 14">
                <a:extLst>
                  <a:ext uri="{FF2B5EF4-FFF2-40B4-BE49-F238E27FC236}">
                    <a16:creationId xmlns:a16="http://schemas.microsoft.com/office/drawing/2014/main" id="{1883AA11-2200-45D2-B5F3-304367E6C538}"/>
                  </a:ext>
                </a:extLst>
              </p:cNvPr>
              <p:cNvSpPr>
                <a:spLocks/>
              </p:cNvSpPr>
              <p:nvPr/>
            </p:nvSpPr>
            <p:spPr bwMode="auto">
              <a:xfrm>
                <a:off x="2670" y="-416"/>
                <a:ext cx="23" cy="227"/>
              </a:xfrm>
              <a:custGeom>
                <a:avLst/>
                <a:gdLst>
                  <a:gd name="T0" fmla="*/ 0 w 23"/>
                  <a:gd name="T1" fmla="*/ 23 h 227"/>
                  <a:gd name="T2" fmla="*/ 0 w 23"/>
                  <a:gd name="T3" fmla="*/ 227 h 227"/>
                  <a:gd name="T4" fmla="*/ 23 w 23"/>
                  <a:gd name="T5" fmla="*/ 227 h 227"/>
                  <a:gd name="T6" fmla="*/ 23 w 23"/>
                  <a:gd name="T7" fmla="*/ 0 h 227"/>
                  <a:gd name="T8" fmla="*/ 0 w 23"/>
                  <a:gd name="T9" fmla="*/ 23 h 227"/>
                </a:gdLst>
                <a:ahLst/>
                <a:cxnLst>
                  <a:cxn ang="0">
                    <a:pos x="T0" y="T1"/>
                  </a:cxn>
                  <a:cxn ang="0">
                    <a:pos x="T2" y="T3"/>
                  </a:cxn>
                  <a:cxn ang="0">
                    <a:pos x="T4" y="T5"/>
                  </a:cxn>
                  <a:cxn ang="0">
                    <a:pos x="T6" y="T7"/>
                  </a:cxn>
                  <a:cxn ang="0">
                    <a:pos x="T8" y="T9"/>
                  </a:cxn>
                </a:cxnLst>
                <a:rect l="0" t="0" r="r" b="b"/>
                <a:pathLst>
                  <a:path w="23" h="227">
                    <a:moveTo>
                      <a:pt x="0" y="23"/>
                    </a:moveTo>
                    <a:lnTo>
                      <a:pt x="0" y="227"/>
                    </a:lnTo>
                    <a:lnTo>
                      <a:pt x="23" y="227"/>
                    </a:lnTo>
                    <a:lnTo>
                      <a:pt x="23" y="0"/>
                    </a:lnTo>
                    <a:lnTo>
                      <a:pt x="0" y="23"/>
                    </a:lnTo>
                    <a:close/>
                  </a:path>
                </a:pathLst>
              </a:custGeom>
              <a:solidFill>
                <a:srgbClr val="3C3C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85669">
                  <a:defRPr/>
                </a:pPr>
                <a:endParaRPr lang="en-IN" sz="1350">
                  <a:solidFill>
                    <a:srgbClr val="3C3C41"/>
                  </a:solidFill>
                  <a:latin typeface="Segoe UI"/>
                </a:endParaRPr>
              </a:p>
            </p:txBody>
          </p:sp>
          <p:sp>
            <p:nvSpPr>
              <p:cNvPr id="320" name="Freeform 15">
                <a:extLst>
                  <a:ext uri="{FF2B5EF4-FFF2-40B4-BE49-F238E27FC236}">
                    <a16:creationId xmlns:a16="http://schemas.microsoft.com/office/drawing/2014/main" id="{83B2D011-E0B4-4ECB-8E1A-AFFAF118B104}"/>
                  </a:ext>
                </a:extLst>
              </p:cNvPr>
              <p:cNvSpPr>
                <a:spLocks/>
              </p:cNvSpPr>
              <p:nvPr/>
            </p:nvSpPr>
            <p:spPr bwMode="auto">
              <a:xfrm>
                <a:off x="2575" y="-323"/>
                <a:ext cx="25" cy="134"/>
              </a:xfrm>
              <a:custGeom>
                <a:avLst/>
                <a:gdLst>
                  <a:gd name="T0" fmla="*/ 0 w 25"/>
                  <a:gd name="T1" fmla="*/ 24 h 134"/>
                  <a:gd name="T2" fmla="*/ 0 w 25"/>
                  <a:gd name="T3" fmla="*/ 134 h 134"/>
                  <a:gd name="T4" fmla="*/ 25 w 25"/>
                  <a:gd name="T5" fmla="*/ 134 h 134"/>
                  <a:gd name="T6" fmla="*/ 25 w 25"/>
                  <a:gd name="T7" fmla="*/ 0 h 134"/>
                  <a:gd name="T8" fmla="*/ 0 w 25"/>
                  <a:gd name="T9" fmla="*/ 24 h 134"/>
                </a:gdLst>
                <a:ahLst/>
                <a:cxnLst>
                  <a:cxn ang="0">
                    <a:pos x="T0" y="T1"/>
                  </a:cxn>
                  <a:cxn ang="0">
                    <a:pos x="T2" y="T3"/>
                  </a:cxn>
                  <a:cxn ang="0">
                    <a:pos x="T4" y="T5"/>
                  </a:cxn>
                  <a:cxn ang="0">
                    <a:pos x="T6" y="T7"/>
                  </a:cxn>
                  <a:cxn ang="0">
                    <a:pos x="T8" y="T9"/>
                  </a:cxn>
                </a:cxnLst>
                <a:rect l="0" t="0" r="r" b="b"/>
                <a:pathLst>
                  <a:path w="25" h="134">
                    <a:moveTo>
                      <a:pt x="0" y="24"/>
                    </a:moveTo>
                    <a:lnTo>
                      <a:pt x="0" y="134"/>
                    </a:lnTo>
                    <a:lnTo>
                      <a:pt x="25" y="134"/>
                    </a:lnTo>
                    <a:lnTo>
                      <a:pt x="25" y="0"/>
                    </a:lnTo>
                    <a:lnTo>
                      <a:pt x="0" y="24"/>
                    </a:lnTo>
                    <a:close/>
                  </a:path>
                </a:pathLst>
              </a:custGeom>
              <a:solidFill>
                <a:srgbClr val="3C3C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85669">
                  <a:defRPr/>
                </a:pPr>
                <a:endParaRPr lang="en-IN" sz="1350">
                  <a:solidFill>
                    <a:srgbClr val="3C3C41"/>
                  </a:solidFill>
                  <a:latin typeface="Segoe UI"/>
                </a:endParaRPr>
              </a:p>
            </p:txBody>
          </p:sp>
          <p:sp>
            <p:nvSpPr>
              <p:cNvPr id="321" name="Freeform 16">
                <a:extLst>
                  <a:ext uri="{FF2B5EF4-FFF2-40B4-BE49-F238E27FC236}">
                    <a16:creationId xmlns:a16="http://schemas.microsoft.com/office/drawing/2014/main" id="{E557A4F3-249A-4D08-BE63-E8771079CA82}"/>
                  </a:ext>
                </a:extLst>
              </p:cNvPr>
              <p:cNvSpPr>
                <a:spLocks/>
              </p:cNvSpPr>
              <p:nvPr/>
            </p:nvSpPr>
            <p:spPr bwMode="auto">
              <a:xfrm>
                <a:off x="2811" y="-438"/>
                <a:ext cx="24" cy="249"/>
              </a:xfrm>
              <a:custGeom>
                <a:avLst/>
                <a:gdLst>
                  <a:gd name="T0" fmla="*/ 0 w 24"/>
                  <a:gd name="T1" fmla="*/ 23 h 249"/>
                  <a:gd name="T2" fmla="*/ 0 w 24"/>
                  <a:gd name="T3" fmla="*/ 249 h 249"/>
                  <a:gd name="T4" fmla="*/ 24 w 24"/>
                  <a:gd name="T5" fmla="*/ 249 h 249"/>
                  <a:gd name="T6" fmla="*/ 24 w 24"/>
                  <a:gd name="T7" fmla="*/ 0 h 249"/>
                  <a:gd name="T8" fmla="*/ 0 w 24"/>
                  <a:gd name="T9" fmla="*/ 23 h 249"/>
                </a:gdLst>
                <a:ahLst/>
                <a:cxnLst>
                  <a:cxn ang="0">
                    <a:pos x="T0" y="T1"/>
                  </a:cxn>
                  <a:cxn ang="0">
                    <a:pos x="T2" y="T3"/>
                  </a:cxn>
                  <a:cxn ang="0">
                    <a:pos x="T4" y="T5"/>
                  </a:cxn>
                  <a:cxn ang="0">
                    <a:pos x="T6" y="T7"/>
                  </a:cxn>
                  <a:cxn ang="0">
                    <a:pos x="T8" y="T9"/>
                  </a:cxn>
                </a:cxnLst>
                <a:rect l="0" t="0" r="r" b="b"/>
                <a:pathLst>
                  <a:path w="24" h="249">
                    <a:moveTo>
                      <a:pt x="0" y="23"/>
                    </a:moveTo>
                    <a:lnTo>
                      <a:pt x="0" y="249"/>
                    </a:lnTo>
                    <a:lnTo>
                      <a:pt x="24" y="249"/>
                    </a:lnTo>
                    <a:lnTo>
                      <a:pt x="24" y="0"/>
                    </a:lnTo>
                    <a:lnTo>
                      <a:pt x="0" y="23"/>
                    </a:lnTo>
                    <a:close/>
                  </a:path>
                </a:pathLst>
              </a:custGeom>
              <a:solidFill>
                <a:srgbClr val="3C3C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85669">
                  <a:defRPr/>
                </a:pPr>
                <a:endParaRPr lang="en-IN" sz="1350">
                  <a:solidFill>
                    <a:srgbClr val="3C3C41"/>
                  </a:solidFill>
                  <a:latin typeface="Segoe UI"/>
                </a:endParaRPr>
              </a:p>
            </p:txBody>
          </p:sp>
          <p:sp>
            <p:nvSpPr>
              <p:cNvPr id="322" name="Freeform 17">
                <a:extLst>
                  <a:ext uri="{FF2B5EF4-FFF2-40B4-BE49-F238E27FC236}">
                    <a16:creationId xmlns:a16="http://schemas.microsoft.com/office/drawing/2014/main" id="{A4AD1E5F-973D-454C-9BD1-E378E2B3E2E4}"/>
                  </a:ext>
                </a:extLst>
              </p:cNvPr>
              <p:cNvSpPr>
                <a:spLocks/>
              </p:cNvSpPr>
              <p:nvPr/>
            </p:nvSpPr>
            <p:spPr bwMode="auto">
              <a:xfrm>
                <a:off x="2764" y="-391"/>
                <a:ext cx="23" cy="202"/>
              </a:xfrm>
              <a:custGeom>
                <a:avLst/>
                <a:gdLst>
                  <a:gd name="T0" fmla="*/ 0 w 23"/>
                  <a:gd name="T1" fmla="*/ 23 h 202"/>
                  <a:gd name="T2" fmla="*/ 0 w 23"/>
                  <a:gd name="T3" fmla="*/ 202 h 202"/>
                  <a:gd name="T4" fmla="*/ 23 w 23"/>
                  <a:gd name="T5" fmla="*/ 202 h 202"/>
                  <a:gd name="T6" fmla="*/ 23 w 23"/>
                  <a:gd name="T7" fmla="*/ 0 h 202"/>
                  <a:gd name="T8" fmla="*/ 0 w 23"/>
                  <a:gd name="T9" fmla="*/ 23 h 202"/>
                </a:gdLst>
                <a:ahLst/>
                <a:cxnLst>
                  <a:cxn ang="0">
                    <a:pos x="T0" y="T1"/>
                  </a:cxn>
                  <a:cxn ang="0">
                    <a:pos x="T2" y="T3"/>
                  </a:cxn>
                  <a:cxn ang="0">
                    <a:pos x="T4" y="T5"/>
                  </a:cxn>
                  <a:cxn ang="0">
                    <a:pos x="T6" y="T7"/>
                  </a:cxn>
                  <a:cxn ang="0">
                    <a:pos x="T8" y="T9"/>
                  </a:cxn>
                </a:cxnLst>
                <a:rect l="0" t="0" r="r" b="b"/>
                <a:pathLst>
                  <a:path w="23" h="202">
                    <a:moveTo>
                      <a:pt x="0" y="23"/>
                    </a:moveTo>
                    <a:lnTo>
                      <a:pt x="0" y="202"/>
                    </a:lnTo>
                    <a:lnTo>
                      <a:pt x="23" y="202"/>
                    </a:lnTo>
                    <a:lnTo>
                      <a:pt x="23" y="0"/>
                    </a:lnTo>
                    <a:lnTo>
                      <a:pt x="0" y="23"/>
                    </a:lnTo>
                    <a:close/>
                  </a:path>
                </a:pathLst>
              </a:custGeom>
              <a:solidFill>
                <a:srgbClr val="3C3C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85669">
                  <a:defRPr/>
                </a:pPr>
                <a:endParaRPr lang="en-IN" sz="1350">
                  <a:solidFill>
                    <a:srgbClr val="3C3C41"/>
                  </a:solidFill>
                  <a:latin typeface="Segoe UI"/>
                </a:endParaRPr>
              </a:p>
            </p:txBody>
          </p:sp>
          <p:sp>
            <p:nvSpPr>
              <p:cNvPr id="323" name="Freeform 18">
                <a:extLst>
                  <a:ext uri="{FF2B5EF4-FFF2-40B4-BE49-F238E27FC236}">
                    <a16:creationId xmlns:a16="http://schemas.microsoft.com/office/drawing/2014/main" id="{C611CEF0-ED7B-44D0-BE20-CD070746797B}"/>
                  </a:ext>
                </a:extLst>
              </p:cNvPr>
              <p:cNvSpPr>
                <a:spLocks/>
              </p:cNvSpPr>
              <p:nvPr/>
            </p:nvSpPr>
            <p:spPr bwMode="auto">
              <a:xfrm>
                <a:off x="2717" y="-415"/>
                <a:ext cx="24" cy="226"/>
              </a:xfrm>
              <a:custGeom>
                <a:avLst/>
                <a:gdLst>
                  <a:gd name="T0" fmla="*/ 0 w 24"/>
                  <a:gd name="T1" fmla="*/ 0 h 226"/>
                  <a:gd name="T2" fmla="*/ 0 w 24"/>
                  <a:gd name="T3" fmla="*/ 226 h 226"/>
                  <a:gd name="T4" fmla="*/ 24 w 24"/>
                  <a:gd name="T5" fmla="*/ 226 h 226"/>
                  <a:gd name="T6" fmla="*/ 24 w 24"/>
                  <a:gd name="T7" fmla="*/ 24 h 226"/>
                  <a:gd name="T8" fmla="*/ 0 w 24"/>
                  <a:gd name="T9" fmla="*/ 0 h 226"/>
                </a:gdLst>
                <a:ahLst/>
                <a:cxnLst>
                  <a:cxn ang="0">
                    <a:pos x="T0" y="T1"/>
                  </a:cxn>
                  <a:cxn ang="0">
                    <a:pos x="T2" y="T3"/>
                  </a:cxn>
                  <a:cxn ang="0">
                    <a:pos x="T4" y="T5"/>
                  </a:cxn>
                  <a:cxn ang="0">
                    <a:pos x="T6" y="T7"/>
                  </a:cxn>
                  <a:cxn ang="0">
                    <a:pos x="T8" y="T9"/>
                  </a:cxn>
                </a:cxnLst>
                <a:rect l="0" t="0" r="r" b="b"/>
                <a:pathLst>
                  <a:path w="24" h="226">
                    <a:moveTo>
                      <a:pt x="0" y="0"/>
                    </a:moveTo>
                    <a:lnTo>
                      <a:pt x="0" y="226"/>
                    </a:lnTo>
                    <a:lnTo>
                      <a:pt x="24" y="226"/>
                    </a:lnTo>
                    <a:lnTo>
                      <a:pt x="24" y="24"/>
                    </a:lnTo>
                    <a:lnTo>
                      <a:pt x="0" y="0"/>
                    </a:lnTo>
                    <a:close/>
                  </a:path>
                </a:pathLst>
              </a:custGeom>
              <a:solidFill>
                <a:srgbClr val="3C3C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85669">
                  <a:defRPr/>
                </a:pPr>
                <a:endParaRPr lang="en-IN" sz="1350">
                  <a:solidFill>
                    <a:srgbClr val="3C3C41"/>
                  </a:solidFill>
                  <a:latin typeface="Segoe UI"/>
                </a:endParaRPr>
              </a:p>
            </p:txBody>
          </p:sp>
          <p:sp>
            <p:nvSpPr>
              <p:cNvPr id="326" name="Freeform 19">
                <a:extLst>
                  <a:ext uri="{FF2B5EF4-FFF2-40B4-BE49-F238E27FC236}">
                    <a16:creationId xmlns:a16="http://schemas.microsoft.com/office/drawing/2014/main" id="{042882D5-2097-405E-A08E-206D5746E109}"/>
                  </a:ext>
                </a:extLst>
              </p:cNvPr>
              <p:cNvSpPr>
                <a:spLocks/>
              </p:cNvSpPr>
              <p:nvPr/>
            </p:nvSpPr>
            <p:spPr bwMode="auto">
              <a:xfrm>
                <a:off x="2858" y="-445"/>
                <a:ext cx="24" cy="256"/>
              </a:xfrm>
              <a:custGeom>
                <a:avLst/>
                <a:gdLst>
                  <a:gd name="T0" fmla="*/ 0 w 24"/>
                  <a:gd name="T1" fmla="*/ 0 h 256"/>
                  <a:gd name="T2" fmla="*/ 0 w 24"/>
                  <a:gd name="T3" fmla="*/ 256 h 256"/>
                  <a:gd name="T4" fmla="*/ 24 w 24"/>
                  <a:gd name="T5" fmla="*/ 256 h 256"/>
                  <a:gd name="T6" fmla="*/ 24 w 24"/>
                  <a:gd name="T7" fmla="*/ 24 h 256"/>
                  <a:gd name="T8" fmla="*/ 0 w 24"/>
                  <a:gd name="T9" fmla="*/ 0 h 256"/>
                </a:gdLst>
                <a:ahLst/>
                <a:cxnLst>
                  <a:cxn ang="0">
                    <a:pos x="T0" y="T1"/>
                  </a:cxn>
                  <a:cxn ang="0">
                    <a:pos x="T2" y="T3"/>
                  </a:cxn>
                  <a:cxn ang="0">
                    <a:pos x="T4" y="T5"/>
                  </a:cxn>
                  <a:cxn ang="0">
                    <a:pos x="T6" y="T7"/>
                  </a:cxn>
                  <a:cxn ang="0">
                    <a:pos x="T8" y="T9"/>
                  </a:cxn>
                </a:cxnLst>
                <a:rect l="0" t="0" r="r" b="b"/>
                <a:pathLst>
                  <a:path w="24" h="256">
                    <a:moveTo>
                      <a:pt x="0" y="0"/>
                    </a:moveTo>
                    <a:lnTo>
                      <a:pt x="0" y="256"/>
                    </a:lnTo>
                    <a:lnTo>
                      <a:pt x="24" y="256"/>
                    </a:lnTo>
                    <a:lnTo>
                      <a:pt x="24" y="24"/>
                    </a:lnTo>
                    <a:lnTo>
                      <a:pt x="0" y="0"/>
                    </a:lnTo>
                    <a:close/>
                  </a:path>
                </a:pathLst>
              </a:custGeom>
              <a:solidFill>
                <a:srgbClr val="3C3C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85669">
                  <a:defRPr/>
                </a:pPr>
                <a:endParaRPr lang="en-IN" sz="1350">
                  <a:solidFill>
                    <a:srgbClr val="3C3C41"/>
                  </a:solidFill>
                  <a:latin typeface="Segoe UI"/>
                </a:endParaRPr>
              </a:p>
            </p:txBody>
          </p:sp>
          <p:sp>
            <p:nvSpPr>
              <p:cNvPr id="327" name="Freeform 20">
                <a:extLst>
                  <a:ext uri="{FF2B5EF4-FFF2-40B4-BE49-F238E27FC236}">
                    <a16:creationId xmlns:a16="http://schemas.microsoft.com/office/drawing/2014/main" id="{A932DF15-4592-40F7-8A63-45C396B4DEF4}"/>
                  </a:ext>
                </a:extLst>
              </p:cNvPr>
              <p:cNvSpPr>
                <a:spLocks/>
              </p:cNvSpPr>
              <p:nvPr/>
            </p:nvSpPr>
            <p:spPr bwMode="auto">
              <a:xfrm>
                <a:off x="2529" y="-539"/>
                <a:ext cx="353" cy="248"/>
              </a:xfrm>
              <a:custGeom>
                <a:avLst/>
                <a:gdLst>
                  <a:gd name="T0" fmla="*/ 353 w 353"/>
                  <a:gd name="T1" fmla="*/ 0 h 248"/>
                  <a:gd name="T2" fmla="*/ 270 w 353"/>
                  <a:gd name="T3" fmla="*/ 0 h 248"/>
                  <a:gd name="T4" fmla="*/ 303 w 353"/>
                  <a:gd name="T5" fmla="*/ 33 h 248"/>
                  <a:gd name="T6" fmla="*/ 235 w 353"/>
                  <a:gd name="T7" fmla="*/ 101 h 248"/>
                  <a:gd name="T8" fmla="*/ 175 w 353"/>
                  <a:gd name="T9" fmla="*/ 42 h 248"/>
                  <a:gd name="T10" fmla="*/ 0 w 353"/>
                  <a:gd name="T11" fmla="*/ 216 h 248"/>
                  <a:gd name="T12" fmla="*/ 0 w 353"/>
                  <a:gd name="T13" fmla="*/ 248 h 248"/>
                  <a:gd name="T14" fmla="*/ 175 w 353"/>
                  <a:gd name="T15" fmla="*/ 74 h 248"/>
                  <a:gd name="T16" fmla="*/ 235 w 353"/>
                  <a:gd name="T17" fmla="*/ 133 h 248"/>
                  <a:gd name="T18" fmla="*/ 320 w 353"/>
                  <a:gd name="T19" fmla="*/ 49 h 248"/>
                  <a:gd name="T20" fmla="*/ 353 w 353"/>
                  <a:gd name="T21" fmla="*/ 82 h 248"/>
                  <a:gd name="T22" fmla="*/ 353 w 353"/>
                  <a:gd name="T23" fmla="*/ 0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53" h="248">
                    <a:moveTo>
                      <a:pt x="353" y="0"/>
                    </a:moveTo>
                    <a:lnTo>
                      <a:pt x="270" y="0"/>
                    </a:lnTo>
                    <a:lnTo>
                      <a:pt x="303" y="33"/>
                    </a:lnTo>
                    <a:lnTo>
                      <a:pt x="235" y="101"/>
                    </a:lnTo>
                    <a:lnTo>
                      <a:pt x="175" y="42"/>
                    </a:lnTo>
                    <a:lnTo>
                      <a:pt x="0" y="216"/>
                    </a:lnTo>
                    <a:lnTo>
                      <a:pt x="0" y="248"/>
                    </a:lnTo>
                    <a:lnTo>
                      <a:pt x="175" y="74"/>
                    </a:lnTo>
                    <a:lnTo>
                      <a:pt x="235" y="133"/>
                    </a:lnTo>
                    <a:lnTo>
                      <a:pt x="320" y="49"/>
                    </a:lnTo>
                    <a:lnTo>
                      <a:pt x="353" y="82"/>
                    </a:lnTo>
                    <a:lnTo>
                      <a:pt x="353" y="0"/>
                    </a:lnTo>
                    <a:close/>
                  </a:path>
                </a:pathLst>
              </a:custGeom>
              <a:solidFill>
                <a:srgbClr val="30E3C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85669">
                  <a:defRPr/>
                </a:pPr>
                <a:endParaRPr lang="en-IN" sz="1350">
                  <a:solidFill>
                    <a:srgbClr val="3C3C41"/>
                  </a:solidFill>
                  <a:latin typeface="Segoe UI"/>
                </a:endParaRPr>
              </a:p>
            </p:txBody>
          </p:sp>
        </p:grpSp>
      </p:grpSp>
      <p:grpSp>
        <p:nvGrpSpPr>
          <p:cNvPr id="328" name="Group 9">
            <a:extLst>
              <a:ext uri="{FF2B5EF4-FFF2-40B4-BE49-F238E27FC236}">
                <a16:creationId xmlns:a16="http://schemas.microsoft.com/office/drawing/2014/main" id="{BB277E4D-3DD2-4E7D-885A-2840B4858DC6}"/>
              </a:ext>
            </a:extLst>
          </p:cNvPr>
          <p:cNvGrpSpPr/>
          <p:nvPr/>
        </p:nvGrpSpPr>
        <p:grpSpPr>
          <a:xfrm>
            <a:off x="7269456" y="2649940"/>
            <a:ext cx="297305" cy="297305"/>
            <a:chOff x="4554206" y="2468301"/>
            <a:chExt cx="1215994" cy="1215994"/>
          </a:xfrm>
        </p:grpSpPr>
        <p:sp>
          <p:nvSpPr>
            <p:cNvPr id="329" name="Oval 328">
              <a:extLst>
                <a:ext uri="{FF2B5EF4-FFF2-40B4-BE49-F238E27FC236}">
                  <a16:creationId xmlns:a16="http://schemas.microsoft.com/office/drawing/2014/main" id="{C1CBEA30-97D3-4A70-AE2B-439C8F1D9F34}"/>
                </a:ext>
              </a:extLst>
            </p:cNvPr>
            <p:cNvSpPr/>
            <p:nvPr/>
          </p:nvSpPr>
          <p:spPr bwMode="auto">
            <a:xfrm>
              <a:off x="4554206" y="2468301"/>
              <a:ext cx="1215994" cy="1215994"/>
            </a:xfrm>
            <a:prstGeom prst="ellipse">
              <a:avLst/>
            </a:prstGeom>
            <a:solidFill>
              <a:schemeClr val="bg1"/>
            </a:solidFill>
            <a:ln>
              <a:noFill/>
              <a:headEnd type="none" w="med" len="med"/>
              <a:tailEnd type="none" w="med" len="med"/>
            </a:ln>
            <a:effectLst>
              <a:outerShdw blurRad="63500" sx="103000" sy="103000" algn="ctr"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1" tIns="109713" rIns="137141" bIns="109713" numCol="1" spcCol="0" rtlCol="0" fromWordArt="0" anchor="t" anchorCtr="0" forceAA="0" compatLnSpc="1">
              <a:prstTxWarp prst="textNoShape">
                <a:avLst/>
              </a:prstTxWarp>
              <a:noAutofit/>
            </a:bodyPr>
            <a:lstStyle/>
            <a:p>
              <a:pPr algn="ctr" defTabSz="699220" fontAlgn="base">
                <a:lnSpc>
                  <a:spcPct val="90000"/>
                </a:lnSpc>
                <a:spcBef>
                  <a:spcPct val="0"/>
                </a:spcBef>
                <a:spcAft>
                  <a:spcPct val="0"/>
                </a:spcAft>
                <a:defRPr/>
              </a:pPr>
              <a:endParaRPr lang="en-US" err="1">
                <a:gradFill>
                  <a:gsLst>
                    <a:gs pos="0">
                      <a:srgbClr val="FFFFFF"/>
                    </a:gs>
                    <a:gs pos="100000">
                      <a:srgbClr val="FFFFFF"/>
                    </a:gs>
                  </a:gsLst>
                  <a:lin ang="5400000" scaled="0"/>
                </a:gradFill>
                <a:latin typeface="Segoe UI"/>
                <a:cs typeface="Segoe UI" pitchFamily="34" charset="0"/>
              </a:endParaRPr>
            </a:p>
          </p:txBody>
        </p:sp>
        <p:grpSp>
          <p:nvGrpSpPr>
            <p:cNvPr id="330" name="Group 329">
              <a:extLst>
                <a:ext uri="{FF2B5EF4-FFF2-40B4-BE49-F238E27FC236}">
                  <a16:creationId xmlns:a16="http://schemas.microsoft.com/office/drawing/2014/main" id="{EC3033F4-0E79-49E6-98B5-D4C9CDE4E1D5}"/>
                </a:ext>
              </a:extLst>
            </p:cNvPr>
            <p:cNvGrpSpPr/>
            <p:nvPr/>
          </p:nvGrpSpPr>
          <p:grpSpPr>
            <a:xfrm>
              <a:off x="4781068" y="2639517"/>
              <a:ext cx="762272" cy="759262"/>
              <a:chOff x="-699366" y="-1199615"/>
              <a:chExt cx="538163" cy="536034"/>
            </a:xfrm>
          </p:grpSpPr>
          <p:sp>
            <p:nvSpPr>
              <p:cNvPr id="331" name="Rectangle 24">
                <a:extLst>
                  <a:ext uri="{FF2B5EF4-FFF2-40B4-BE49-F238E27FC236}">
                    <a16:creationId xmlns:a16="http://schemas.microsoft.com/office/drawing/2014/main" id="{53FD64AF-D04E-46DE-814E-BF937FD5A3B0}"/>
                  </a:ext>
                </a:extLst>
              </p:cNvPr>
              <p:cNvSpPr>
                <a:spLocks noChangeArrowheads="1"/>
              </p:cNvSpPr>
              <p:nvPr/>
            </p:nvSpPr>
            <p:spPr bwMode="auto">
              <a:xfrm>
                <a:off x="-521566" y="-1019182"/>
                <a:ext cx="68263" cy="223838"/>
              </a:xfrm>
              <a:prstGeom prst="rect">
                <a:avLst/>
              </a:prstGeom>
              <a:solidFill>
                <a:schemeClr val="accent3"/>
              </a:solidFill>
              <a:ln>
                <a:noFill/>
              </a:ln>
            </p:spPr>
            <p:txBody>
              <a:bodyPr vert="horz" wrap="square" lIns="68570" tIns="34285" rIns="68570" bIns="34285" numCol="1" anchor="t" anchorCtr="0" compatLnSpc="1">
                <a:prstTxWarp prst="textNoShape">
                  <a:avLst/>
                </a:prstTxWarp>
              </a:bodyPr>
              <a:lstStyle/>
              <a:p>
                <a:pPr defTabSz="685669">
                  <a:defRPr/>
                </a:pPr>
                <a:endParaRPr lang="en-IN" sz="1350">
                  <a:solidFill>
                    <a:srgbClr val="3C3C41"/>
                  </a:solidFill>
                  <a:latin typeface="Segoe UI"/>
                </a:endParaRPr>
              </a:p>
            </p:txBody>
          </p:sp>
          <p:sp>
            <p:nvSpPr>
              <p:cNvPr id="332" name="Rectangle 25">
                <a:extLst>
                  <a:ext uri="{FF2B5EF4-FFF2-40B4-BE49-F238E27FC236}">
                    <a16:creationId xmlns:a16="http://schemas.microsoft.com/office/drawing/2014/main" id="{C394F0C0-09A6-43B7-985B-2EF3B6B8A766}"/>
                  </a:ext>
                </a:extLst>
              </p:cNvPr>
              <p:cNvSpPr>
                <a:spLocks noChangeArrowheads="1"/>
              </p:cNvSpPr>
              <p:nvPr/>
            </p:nvSpPr>
            <p:spPr bwMode="auto">
              <a:xfrm>
                <a:off x="-296141" y="-1019182"/>
                <a:ext cx="66675" cy="223838"/>
              </a:xfrm>
              <a:prstGeom prst="rect">
                <a:avLst/>
              </a:prstGeom>
              <a:solidFill>
                <a:schemeClr val="accent3"/>
              </a:solidFill>
              <a:ln>
                <a:noFill/>
              </a:ln>
            </p:spPr>
            <p:txBody>
              <a:bodyPr vert="horz" wrap="square" lIns="68570" tIns="34285" rIns="68570" bIns="34285" numCol="1" anchor="t" anchorCtr="0" compatLnSpc="1">
                <a:prstTxWarp prst="textNoShape">
                  <a:avLst/>
                </a:prstTxWarp>
              </a:bodyPr>
              <a:lstStyle/>
              <a:p>
                <a:pPr defTabSz="685669">
                  <a:defRPr/>
                </a:pPr>
                <a:endParaRPr lang="en-IN" sz="1350">
                  <a:solidFill>
                    <a:srgbClr val="3C3C41"/>
                  </a:solidFill>
                  <a:latin typeface="Segoe UI"/>
                </a:endParaRPr>
              </a:p>
            </p:txBody>
          </p:sp>
          <p:sp>
            <p:nvSpPr>
              <p:cNvPr id="333" name="Rectangle 26">
                <a:extLst>
                  <a:ext uri="{FF2B5EF4-FFF2-40B4-BE49-F238E27FC236}">
                    <a16:creationId xmlns:a16="http://schemas.microsoft.com/office/drawing/2014/main" id="{5110C1F1-44BE-454E-8718-FC9F9C24AA97}"/>
                  </a:ext>
                </a:extLst>
              </p:cNvPr>
              <p:cNvSpPr>
                <a:spLocks noChangeArrowheads="1"/>
              </p:cNvSpPr>
              <p:nvPr/>
            </p:nvSpPr>
            <p:spPr bwMode="auto">
              <a:xfrm>
                <a:off x="-632691" y="-1019182"/>
                <a:ext cx="68263" cy="223838"/>
              </a:xfrm>
              <a:prstGeom prst="rect">
                <a:avLst/>
              </a:prstGeom>
              <a:solidFill>
                <a:schemeClr val="accent3"/>
              </a:solidFill>
              <a:ln>
                <a:noFill/>
              </a:ln>
            </p:spPr>
            <p:txBody>
              <a:bodyPr vert="horz" wrap="square" lIns="68570" tIns="34285" rIns="68570" bIns="34285" numCol="1" anchor="t" anchorCtr="0" compatLnSpc="1">
                <a:prstTxWarp prst="textNoShape">
                  <a:avLst/>
                </a:prstTxWarp>
              </a:bodyPr>
              <a:lstStyle/>
              <a:p>
                <a:pPr defTabSz="685669">
                  <a:defRPr/>
                </a:pPr>
                <a:endParaRPr lang="en-IN" sz="1350">
                  <a:solidFill>
                    <a:srgbClr val="3C3C41"/>
                  </a:solidFill>
                  <a:latin typeface="Segoe UI"/>
                </a:endParaRPr>
              </a:p>
            </p:txBody>
          </p:sp>
          <p:sp>
            <p:nvSpPr>
              <p:cNvPr id="334" name="Rectangle 27">
                <a:extLst>
                  <a:ext uri="{FF2B5EF4-FFF2-40B4-BE49-F238E27FC236}">
                    <a16:creationId xmlns:a16="http://schemas.microsoft.com/office/drawing/2014/main" id="{0205A18B-C33E-4540-9A96-4A2AB28A4AF4}"/>
                  </a:ext>
                </a:extLst>
              </p:cNvPr>
              <p:cNvSpPr>
                <a:spLocks noChangeArrowheads="1"/>
              </p:cNvSpPr>
              <p:nvPr/>
            </p:nvSpPr>
            <p:spPr bwMode="auto">
              <a:xfrm>
                <a:off x="-407266" y="-1019182"/>
                <a:ext cx="66675" cy="223838"/>
              </a:xfrm>
              <a:prstGeom prst="rect">
                <a:avLst/>
              </a:prstGeom>
              <a:solidFill>
                <a:schemeClr val="accent3"/>
              </a:solidFill>
              <a:ln>
                <a:noFill/>
              </a:ln>
            </p:spPr>
            <p:txBody>
              <a:bodyPr vert="horz" wrap="square" lIns="68570" tIns="34285" rIns="68570" bIns="34285" numCol="1" anchor="t" anchorCtr="0" compatLnSpc="1">
                <a:prstTxWarp prst="textNoShape">
                  <a:avLst/>
                </a:prstTxWarp>
              </a:bodyPr>
              <a:lstStyle/>
              <a:p>
                <a:pPr defTabSz="685669">
                  <a:defRPr/>
                </a:pPr>
                <a:endParaRPr lang="en-IN" sz="1350">
                  <a:solidFill>
                    <a:srgbClr val="3C3C41"/>
                  </a:solidFill>
                  <a:latin typeface="Segoe UI"/>
                </a:endParaRPr>
              </a:p>
            </p:txBody>
          </p:sp>
          <p:sp>
            <p:nvSpPr>
              <p:cNvPr id="335" name="Freeform 28">
                <a:extLst>
                  <a:ext uri="{FF2B5EF4-FFF2-40B4-BE49-F238E27FC236}">
                    <a16:creationId xmlns:a16="http://schemas.microsoft.com/office/drawing/2014/main" id="{40E67F81-9671-4026-BE49-9DA5E586FC97}"/>
                  </a:ext>
                </a:extLst>
              </p:cNvPr>
              <p:cNvSpPr>
                <a:spLocks/>
              </p:cNvSpPr>
              <p:nvPr/>
            </p:nvSpPr>
            <p:spPr bwMode="auto">
              <a:xfrm>
                <a:off x="-699366" y="-719144"/>
                <a:ext cx="538163" cy="55563"/>
              </a:xfrm>
              <a:custGeom>
                <a:avLst/>
                <a:gdLst>
                  <a:gd name="T0" fmla="*/ 232 w 247"/>
                  <a:gd name="T1" fmla="*/ 0 h 26"/>
                  <a:gd name="T2" fmla="*/ 1 w 247"/>
                  <a:gd name="T3" fmla="*/ 0 h 26"/>
                  <a:gd name="T4" fmla="*/ 0 w 247"/>
                  <a:gd name="T5" fmla="*/ 6 h 26"/>
                  <a:gd name="T6" fmla="*/ 0 w 247"/>
                  <a:gd name="T7" fmla="*/ 26 h 26"/>
                  <a:gd name="T8" fmla="*/ 247 w 247"/>
                  <a:gd name="T9" fmla="*/ 26 h 26"/>
                  <a:gd name="T10" fmla="*/ 247 w 247"/>
                  <a:gd name="T11" fmla="*/ 6 h 26"/>
                  <a:gd name="T12" fmla="*/ 246 w 247"/>
                  <a:gd name="T13" fmla="*/ 1 h 26"/>
                  <a:gd name="T14" fmla="*/ 232 w 247"/>
                  <a:gd name="T15" fmla="*/ 1 h 26"/>
                  <a:gd name="T16" fmla="*/ 232 w 247"/>
                  <a:gd name="T17"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7" h="26">
                    <a:moveTo>
                      <a:pt x="232" y="0"/>
                    </a:moveTo>
                    <a:cubicBezTo>
                      <a:pt x="1" y="0"/>
                      <a:pt x="1" y="0"/>
                      <a:pt x="1" y="0"/>
                    </a:cubicBezTo>
                    <a:cubicBezTo>
                      <a:pt x="0" y="2"/>
                      <a:pt x="0" y="4"/>
                      <a:pt x="0" y="6"/>
                    </a:cubicBezTo>
                    <a:cubicBezTo>
                      <a:pt x="0" y="26"/>
                      <a:pt x="0" y="26"/>
                      <a:pt x="0" y="26"/>
                    </a:cubicBezTo>
                    <a:cubicBezTo>
                      <a:pt x="247" y="26"/>
                      <a:pt x="247" y="26"/>
                      <a:pt x="247" y="26"/>
                    </a:cubicBezTo>
                    <a:cubicBezTo>
                      <a:pt x="247" y="6"/>
                      <a:pt x="247" y="6"/>
                      <a:pt x="247" y="6"/>
                    </a:cubicBezTo>
                    <a:cubicBezTo>
                      <a:pt x="247" y="4"/>
                      <a:pt x="246" y="2"/>
                      <a:pt x="246" y="1"/>
                    </a:cubicBezTo>
                    <a:cubicBezTo>
                      <a:pt x="232" y="1"/>
                      <a:pt x="232" y="1"/>
                      <a:pt x="232" y="1"/>
                    </a:cubicBezTo>
                    <a:lnTo>
                      <a:pt x="232" y="0"/>
                    </a:lnTo>
                    <a:close/>
                  </a:path>
                </a:pathLst>
              </a:custGeom>
              <a:solidFill>
                <a:schemeClr val="accent5"/>
              </a:solidFill>
              <a:ln>
                <a:noFill/>
              </a:ln>
            </p:spPr>
            <p:txBody>
              <a:bodyPr vert="horz" wrap="square" lIns="68570" tIns="34285" rIns="68570" bIns="34285" numCol="1" anchor="t" anchorCtr="0" compatLnSpc="1">
                <a:prstTxWarp prst="textNoShape">
                  <a:avLst/>
                </a:prstTxWarp>
              </a:bodyPr>
              <a:lstStyle/>
              <a:p>
                <a:pPr defTabSz="685669">
                  <a:defRPr/>
                </a:pPr>
                <a:endParaRPr lang="en-IN" sz="1350">
                  <a:solidFill>
                    <a:srgbClr val="3C3C41"/>
                  </a:solidFill>
                  <a:latin typeface="Segoe UI"/>
                </a:endParaRPr>
              </a:p>
            </p:txBody>
          </p:sp>
          <p:sp>
            <p:nvSpPr>
              <p:cNvPr id="336" name="Freeform 29">
                <a:extLst>
                  <a:ext uri="{FF2B5EF4-FFF2-40B4-BE49-F238E27FC236}">
                    <a16:creationId xmlns:a16="http://schemas.microsoft.com/office/drawing/2014/main" id="{4D5D8F15-12F7-4601-8820-062066501957}"/>
                  </a:ext>
                </a:extLst>
              </p:cNvPr>
              <p:cNvSpPr>
                <a:spLocks/>
              </p:cNvSpPr>
              <p:nvPr/>
            </p:nvSpPr>
            <p:spPr bwMode="auto">
              <a:xfrm>
                <a:off x="-664441" y="-776294"/>
                <a:ext cx="469900" cy="34925"/>
              </a:xfrm>
              <a:custGeom>
                <a:avLst/>
                <a:gdLst>
                  <a:gd name="T0" fmla="*/ 0 w 216"/>
                  <a:gd name="T1" fmla="*/ 6 h 16"/>
                  <a:gd name="T2" fmla="*/ 0 w 216"/>
                  <a:gd name="T3" fmla="*/ 16 h 16"/>
                  <a:gd name="T4" fmla="*/ 216 w 216"/>
                  <a:gd name="T5" fmla="*/ 16 h 16"/>
                  <a:gd name="T6" fmla="*/ 216 w 216"/>
                  <a:gd name="T7" fmla="*/ 6 h 16"/>
                  <a:gd name="T8" fmla="*/ 215 w 216"/>
                  <a:gd name="T9" fmla="*/ 0 h 16"/>
                  <a:gd name="T10" fmla="*/ 1 w 216"/>
                  <a:gd name="T11" fmla="*/ 0 h 16"/>
                  <a:gd name="T12" fmla="*/ 0 w 216"/>
                  <a:gd name="T13" fmla="*/ 6 h 16"/>
                </a:gdLst>
                <a:ahLst/>
                <a:cxnLst>
                  <a:cxn ang="0">
                    <a:pos x="T0" y="T1"/>
                  </a:cxn>
                  <a:cxn ang="0">
                    <a:pos x="T2" y="T3"/>
                  </a:cxn>
                  <a:cxn ang="0">
                    <a:pos x="T4" y="T5"/>
                  </a:cxn>
                  <a:cxn ang="0">
                    <a:pos x="T6" y="T7"/>
                  </a:cxn>
                  <a:cxn ang="0">
                    <a:pos x="T8" y="T9"/>
                  </a:cxn>
                  <a:cxn ang="0">
                    <a:pos x="T10" y="T11"/>
                  </a:cxn>
                  <a:cxn ang="0">
                    <a:pos x="T12" y="T13"/>
                  </a:cxn>
                </a:cxnLst>
                <a:rect l="0" t="0" r="r" b="b"/>
                <a:pathLst>
                  <a:path w="216" h="16">
                    <a:moveTo>
                      <a:pt x="0" y="6"/>
                    </a:moveTo>
                    <a:cubicBezTo>
                      <a:pt x="0" y="16"/>
                      <a:pt x="0" y="16"/>
                      <a:pt x="0" y="16"/>
                    </a:cubicBezTo>
                    <a:cubicBezTo>
                      <a:pt x="216" y="16"/>
                      <a:pt x="216" y="16"/>
                      <a:pt x="216" y="16"/>
                    </a:cubicBezTo>
                    <a:cubicBezTo>
                      <a:pt x="216" y="6"/>
                      <a:pt x="216" y="6"/>
                      <a:pt x="216" y="6"/>
                    </a:cubicBezTo>
                    <a:cubicBezTo>
                      <a:pt x="216" y="4"/>
                      <a:pt x="215" y="2"/>
                      <a:pt x="215" y="0"/>
                    </a:cubicBezTo>
                    <a:cubicBezTo>
                      <a:pt x="1" y="0"/>
                      <a:pt x="1" y="0"/>
                      <a:pt x="1" y="0"/>
                    </a:cubicBezTo>
                    <a:cubicBezTo>
                      <a:pt x="0" y="2"/>
                      <a:pt x="0" y="4"/>
                      <a:pt x="0" y="6"/>
                    </a:cubicBezTo>
                    <a:close/>
                  </a:path>
                </a:pathLst>
              </a:custGeom>
              <a:solidFill>
                <a:schemeClr val="accent5"/>
              </a:solidFill>
              <a:ln>
                <a:noFill/>
              </a:ln>
            </p:spPr>
            <p:txBody>
              <a:bodyPr vert="horz" wrap="square" lIns="68570" tIns="34285" rIns="68570" bIns="34285" numCol="1" anchor="t" anchorCtr="0" compatLnSpc="1">
                <a:prstTxWarp prst="textNoShape">
                  <a:avLst/>
                </a:prstTxWarp>
              </a:bodyPr>
              <a:lstStyle/>
              <a:p>
                <a:pPr defTabSz="685669">
                  <a:defRPr/>
                </a:pPr>
                <a:endParaRPr lang="en-IN" sz="1350">
                  <a:solidFill>
                    <a:srgbClr val="3C3C41"/>
                  </a:solidFill>
                  <a:latin typeface="Segoe UI"/>
                </a:endParaRPr>
              </a:p>
            </p:txBody>
          </p:sp>
          <p:sp>
            <p:nvSpPr>
              <p:cNvPr id="419" name="Freeform: Shape 418">
                <a:extLst>
                  <a:ext uri="{FF2B5EF4-FFF2-40B4-BE49-F238E27FC236}">
                    <a16:creationId xmlns:a16="http://schemas.microsoft.com/office/drawing/2014/main" id="{69C1D415-4E0D-419D-B9B3-F56495799CFD}"/>
                  </a:ext>
                </a:extLst>
              </p:cNvPr>
              <p:cNvSpPr>
                <a:spLocks/>
              </p:cNvSpPr>
              <p:nvPr/>
            </p:nvSpPr>
            <p:spPr bwMode="auto">
              <a:xfrm>
                <a:off x="-699366" y="-1199615"/>
                <a:ext cx="538163" cy="159797"/>
              </a:xfrm>
              <a:custGeom>
                <a:avLst/>
                <a:gdLst>
                  <a:gd name="connsiteX0" fmla="*/ 268288 w 538163"/>
                  <a:gd name="connsiteY0" fmla="*/ 58197 h 159797"/>
                  <a:gd name="connsiteX1" fmla="*/ 223838 w 538163"/>
                  <a:gd name="connsiteY1" fmla="*/ 102647 h 159797"/>
                  <a:gd name="connsiteX2" fmla="*/ 268288 w 538163"/>
                  <a:gd name="connsiteY2" fmla="*/ 147097 h 159797"/>
                  <a:gd name="connsiteX3" fmla="*/ 312738 w 538163"/>
                  <a:gd name="connsiteY3" fmla="*/ 102647 h 159797"/>
                  <a:gd name="connsiteX4" fmla="*/ 268288 w 538163"/>
                  <a:gd name="connsiteY4" fmla="*/ 58197 h 159797"/>
                  <a:gd name="connsiteX5" fmla="*/ 263635 w 538163"/>
                  <a:gd name="connsiteY5" fmla="*/ 1626 h 159797"/>
                  <a:gd name="connsiteX6" fmla="*/ 274529 w 538163"/>
                  <a:gd name="connsiteY6" fmla="*/ 1626 h 159797"/>
                  <a:gd name="connsiteX7" fmla="*/ 531627 w 538163"/>
                  <a:gd name="connsiteY7" fmla="*/ 131630 h 159797"/>
                  <a:gd name="connsiteX8" fmla="*/ 538163 w 538163"/>
                  <a:gd name="connsiteY8" fmla="*/ 142463 h 159797"/>
                  <a:gd name="connsiteX9" fmla="*/ 538163 w 538163"/>
                  <a:gd name="connsiteY9" fmla="*/ 159797 h 159797"/>
                  <a:gd name="connsiteX10" fmla="*/ 0 w 538163"/>
                  <a:gd name="connsiteY10" fmla="*/ 159797 h 159797"/>
                  <a:gd name="connsiteX11" fmla="*/ 0 w 538163"/>
                  <a:gd name="connsiteY11" fmla="*/ 140297 h 159797"/>
                  <a:gd name="connsiteX12" fmla="*/ 6536 w 538163"/>
                  <a:gd name="connsiteY12" fmla="*/ 129463 h 159797"/>
                  <a:gd name="connsiteX13" fmla="*/ 263635 w 538163"/>
                  <a:gd name="connsiteY13" fmla="*/ 1626 h 1597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38163" h="159797">
                    <a:moveTo>
                      <a:pt x="268288" y="58197"/>
                    </a:moveTo>
                    <a:cubicBezTo>
                      <a:pt x="243739" y="58197"/>
                      <a:pt x="223838" y="78098"/>
                      <a:pt x="223838" y="102647"/>
                    </a:cubicBezTo>
                    <a:cubicBezTo>
                      <a:pt x="223838" y="127196"/>
                      <a:pt x="243739" y="147097"/>
                      <a:pt x="268288" y="147097"/>
                    </a:cubicBezTo>
                    <a:cubicBezTo>
                      <a:pt x="292837" y="147097"/>
                      <a:pt x="312738" y="127196"/>
                      <a:pt x="312738" y="102647"/>
                    </a:cubicBezTo>
                    <a:cubicBezTo>
                      <a:pt x="312738" y="78098"/>
                      <a:pt x="292837" y="58197"/>
                      <a:pt x="268288" y="58197"/>
                    </a:cubicBezTo>
                    <a:close/>
                    <a:moveTo>
                      <a:pt x="263635" y="1626"/>
                    </a:moveTo>
                    <a:cubicBezTo>
                      <a:pt x="267992" y="-541"/>
                      <a:pt x="270171" y="-541"/>
                      <a:pt x="274529" y="1626"/>
                    </a:cubicBezTo>
                    <a:cubicBezTo>
                      <a:pt x="274529" y="1626"/>
                      <a:pt x="274529" y="1626"/>
                      <a:pt x="531627" y="131630"/>
                    </a:cubicBezTo>
                    <a:cubicBezTo>
                      <a:pt x="535984" y="133796"/>
                      <a:pt x="538163" y="135963"/>
                      <a:pt x="538163" y="142463"/>
                    </a:cubicBezTo>
                    <a:cubicBezTo>
                      <a:pt x="538163" y="142463"/>
                      <a:pt x="538163" y="142463"/>
                      <a:pt x="538163" y="159797"/>
                    </a:cubicBezTo>
                    <a:cubicBezTo>
                      <a:pt x="538163" y="159797"/>
                      <a:pt x="538163" y="159797"/>
                      <a:pt x="0" y="159797"/>
                    </a:cubicBezTo>
                    <a:cubicBezTo>
                      <a:pt x="0" y="159797"/>
                      <a:pt x="0" y="159797"/>
                      <a:pt x="0" y="140297"/>
                    </a:cubicBezTo>
                    <a:cubicBezTo>
                      <a:pt x="0" y="135963"/>
                      <a:pt x="2179" y="131630"/>
                      <a:pt x="6536" y="129463"/>
                    </a:cubicBezTo>
                    <a:cubicBezTo>
                      <a:pt x="6536" y="129463"/>
                      <a:pt x="6536" y="129463"/>
                      <a:pt x="263635" y="1626"/>
                    </a:cubicBezTo>
                    <a:close/>
                  </a:path>
                </a:pathLst>
              </a:custGeom>
              <a:solidFill>
                <a:schemeClr val="accent5"/>
              </a:solidFill>
              <a:ln>
                <a:noFill/>
              </a:ln>
            </p:spPr>
            <p:txBody>
              <a:bodyPr vert="horz" wrap="square" lIns="68570" tIns="34285" rIns="68570" bIns="34285" numCol="1" anchor="t" anchorCtr="0" compatLnSpc="1">
                <a:prstTxWarp prst="textNoShape">
                  <a:avLst/>
                </a:prstTxWarp>
                <a:noAutofit/>
              </a:bodyPr>
              <a:lstStyle/>
              <a:p>
                <a:pPr defTabSz="685669">
                  <a:defRPr/>
                </a:pPr>
                <a:endParaRPr lang="en-IN" sz="1350">
                  <a:solidFill>
                    <a:srgbClr val="3C3C41"/>
                  </a:solidFill>
                  <a:latin typeface="Segoe UI"/>
                </a:endParaRPr>
              </a:p>
            </p:txBody>
          </p:sp>
        </p:grpSp>
      </p:grpSp>
      <p:grpSp>
        <p:nvGrpSpPr>
          <p:cNvPr id="434" name="Group 12">
            <a:extLst>
              <a:ext uri="{FF2B5EF4-FFF2-40B4-BE49-F238E27FC236}">
                <a16:creationId xmlns:a16="http://schemas.microsoft.com/office/drawing/2014/main" id="{275EFC10-A87B-4D1B-9934-3458007FDA0D}"/>
              </a:ext>
            </a:extLst>
          </p:cNvPr>
          <p:cNvGrpSpPr/>
          <p:nvPr/>
        </p:nvGrpSpPr>
        <p:grpSpPr>
          <a:xfrm>
            <a:off x="8098135" y="2649940"/>
            <a:ext cx="297305" cy="297305"/>
            <a:chOff x="10295883" y="2468301"/>
            <a:chExt cx="1215994" cy="1215994"/>
          </a:xfrm>
        </p:grpSpPr>
        <p:sp>
          <p:nvSpPr>
            <p:cNvPr id="435" name="Oval 434">
              <a:extLst>
                <a:ext uri="{FF2B5EF4-FFF2-40B4-BE49-F238E27FC236}">
                  <a16:creationId xmlns:a16="http://schemas.microsoft.com/office/drawing/2014/main" id="{C661E636-9AAA-4226-BBD4-667E476EF8F1}"/>
                </a:ext>
              </a:extLst>
            </p:cNvPr>
            <p:cNvSpPr/>
            <p:nvPr/>
          </p:nvSpPr>
          <p:spPr bwMode="auto">
            <a:xfrm>
              <a:off x="10295883" y="2468301"/>
              <a:ext cx="1215994" cy="1215994"/>
            </a:xfrm>
            <a:prstGeom prst="ellipse">
              <a:avLst/>
            </a:prstGeom>
            <a:solidFill>
              <a:schemeClr val="bg1"/>
            </a:solidFill>
            <a:ln>
              <a:noFill/>
              <a:headEnd type="none" w="med" len="med"/>
              <a:tailEnd type="none" w="med" len="med"/>
            </a:ln>
            <a:effectLst>
              <a:outerShdw blurRad="63500" sx="103000" sy="103000" algn="ctr"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1" tIns="109713" rIns="137141" bIns="109713" numCol="1" spcCol="0" rtlCol="0" fromWordArt="0" anchor="t" anchorCtr="0" forceAA="0" compatLnSpc="1">
              <a:prstTxWarp prst="textNoShape">
                <a:avLst/>
              </a:prstTxWarp>
              <a:noAutofit/>
            </a:bodyPr>
            <a:lstStyle/>
            <a:p>
              <a:pPr algn="ctr" defTabSz="699220" fontAlgn="base">
                <a:lnSpc>
                  <a:spcPct val="90000"/>
                </a:lnSpc>
                <a:spcBef>
                  <a:spcPct val="0"/>
                </a:spcBef>
                <a:spcAft>
                  <a:spcPct val="0"/>
                </a:spcAft>
                <a:defRPr/>
              </a:pPr>
              <a:endParaRPr lang="en-US" err="1">
                <a:gradFill>
                  <a:gsLst>
                    <a:gs pos="0">
                      <a:srgbClr val="FFFFFF"/>
                    </a:gs>
                    <a:gs pos="100000">
                      <a:srgbClr val="FFFFFF"/>
                    </a:gs>
                  </a:gsLst>
                  <a:lin ang="5400000" scaled="0"/>
                </a:gradFill>
                <a:latin typeface="Segoe UI"/>
                <a:cs typeface="Segoe UI" pitchFamily="34" charset="0"/>
              </a:endParaRPr>
            </a:p>
          </p:txBody>
        </p:sp>
        <p:grpSp>
          <p:nvGrpSpPr>
            <p:cNvPr id="436" name="Group 47">
              <a:extLst>
                <a:ext uri="{FF2B5EF4-FFF2-40B4-BE49-F238E27FC236}">
                  <a16:creationId xmlns:a16="http://schemas.microsoft.com/office/drawing/2014/main" id="{056656B4-B9E2-437D-A971-C5937B442956}"/>
                </a:ext>
              </a:extLst>
            </p:cNvPr>
            <p:cNvGrpSpPr>
              <a:grpSpLocks noChangeAspect="1"/>
            </p:cNvGrpSpPr>
            <p:nvPr/>
          </p:nvGrpSpPr>
          <p:grpSpPr bwMode="auto">
            <a:xfrm>
              <a:off x="10539906" y="2754353"/>
              <a:ext cx="737710" cy="669224"/>
              <a:chOff x="5648" y="2254"/>
              <a:chExt cx="377" cy="342"/>
            </a:xfrm>
          </p:grpSpPr>
          <p:sp>
            <p:nvSpPr>
              <p:cNvPr id="437" name="Oval 48">
                <a:extLst>
                  <a:ext uri="{FF2B5EF4-FFF2-40B4-BE49-F238E27FC236}">
                    <a16:creationId xmlns:a16="http://schemas.microsoft.com/office/drawing/2014/main" id="{313D4DCD-379C-4DFE-A04E-836804C3D5DF}"/>
                  </a:ext>
                </a:extLst>
              </p:cNvPr>
              <p:cNvSpPr>
                <a:spLocks noChangeArrowheads="1"/>
              </p:cNvSpPr>
              <p:nvPr/>
            </p:nvSpPr>
            <p:spPr bwMode="auto">
              <a:xfrm>
                <a:off x="5696" y="2254"/>
                <a:ext cx="81" cy="82"/>
              </a:xfrm>
              <a:prstGeom prst="ellipse">
                <a:avLst/>
              </a:pr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85669">
                  <a:defRPr/>
                </a:pPr>
                <a:endParaRPr lang="en-IN" sz="1350">
                  <a:solidFill>
                    <a:srgbClr val="3C3C41"/>
                  </a:solidFill>
                  <a:latin typeface="Segoe UI"/>
                </a:endParaRPr>
              </a:p>
            </p:txBody>
          </p:sp>
          <p:sp>
            <p:nvSpPr>
              <p:cNvPr id="438" name="Oval 49">
                <a:extLst>
                  <a:ext uri="{FF2B5EF4-FFF2-40B4-BE49-F238E27FC236}">
                    <a16:creationId xmlns:a16="http://schemas.microsoft.com/office/drawing/2014/main" id="{7D6FF43B-B3E6-47D4-BD72-C62481EE65AD}"/>
                  </a:ext>
                </a:extLst>
              </p:cNvPr>
              <p:cNvSpPr>
                <a:spLocks noChangeArrowheads="1"/>
              </p:cNvSpPr>
              <p:nvPr/>
            </p:nvSpPr>
            <p:spPr bwMode="auto">
              <a:xfrm>
                <a:off x="5896" y="2254"/>
                <a:ext cx="83" cy="82"/>
              </a:xfrm>
              <a:prstGeom prst="ellipse">
                <a:avLst/>
              </a:pr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85669">
                  <a:defRPr/>
                </a:pPr>
                <a:endParaRPr lang="en-IN" sz="1350">
                  <a:solidFill>
                    <a:srgbClr val="3C3C41"/>
                  </a:solidFill>
                  <a:latin typeface="Segoe UI"/>
                </a:endParaRPr>
              </a:p>
            </p:txBody>
          </p:sp>
          <p:sp>
            <p:nvSpPr>
              <p:cNvPr id="439" name="Freeform 50">
                <a:extLst>
                  <a:ext uri="{FF2B5EF4-FFF2-40B4-BE49-F238E27FC236}">
                    <a16:creationId xmlns:a16="http://schemas.microsoft.com/office/drawing/2014/main" id="{C3E49049-A1FF-4880-BE92-FB35943DC68D}"/>
                  </a:ext>
                </a:extLst>
              </p:cNvPr>
              <p:cNvSpPr>
                <a:spLocks/>
              </p:cNvSpPr>
              <p:nvPr/>
            </p:nvSpPr>
            <p:spPr bwMode="auto">
              <a:xfrm>
                <a:off x="5877" y="2371"/>
                <a:ext cx="148" cy="83"/>
              </a:xfrm>
              <a:custGeom>
                <a:avLst/>
                <a:gdLst>
                  <a:gd name="T0" fmla="*/ 33 w 134"/>
                  <a:gd name="T1" fmla="*/ 16 h 75"/>
                  <a:gd name="T2" fmla="*/ 0 w 134"/>
                  <a:gd name="T3" fmla="*/ 75 h 75"/>
                  <a:gd name="T4" fmla="*/ 134 w 134"/>
                  <a:gd name="T5" fmla="*/ 75 h 75"/>
                  <a:gd name="T6" fmla="*/ 54 w 134"/>
                  <a:gd name="T7" fmla="*/ 0 h 75"/>
                  <a:gd name="T8" fmla="*/ 32 w 134"/>
                  <a:gd name="T9" fmla="*/ 3 h 75"/>
                  <a:gd name="T10" fmla="*/ 33 w 134"/>
                  <a:gd name="T11" fmla="*/ 16 h 75"/>
                </a:gdLst>
                <a:ahLst/>
                <a:cxnLst>
                  <a:cxn ang="0">
                    <a:pos x="T0" y="T1"/>
                  </a:cxn>
                  <a:cxn ang="0">
                    <a:pos x="T2" y="T3"/>
                  </a:cxn>
                  <a:cxn ang="0">
                    <a:pos x="T4" y="T5"/>
                  </a:cxn>
                  <a:cxn ang="0">
                    <a:pos x="T6" y="T7"/>
                  </a:cxn>
                  <a:cxn ang="0">
                    <a:pos x="T8" y="T9"/>
                  </a:cxn>
                  <a:cxn ang="0">
                    <a:pos x="T10" y="T11"/>
                  </a:cxn>
                </a:cxnLst>
                <a:rect l="0" t="0" r="r" b="b"/>
                <a:pathLst>
                  <a:path w="134" h="75">
                    <a:moveTo>
                      <a:pt x="33" y="16"/>
                    </a:moveTo>
                    <a:cubicBezTo>
                      <a:pt x="33" y="41"/>
                      <a:pt x="20" y="63"/>
                      <a:pt x="0" y="75"/>
                    </a:cubicBezTo>
                    <a:cubicBezTo>
                      <a:pt x="134" y="75"/>
                      <a:pt x="134" y="75"/>
                      <a:pt x="134" y="75"/>
                    </a:cubicBezTo>
                    <a:cubicBezTo>
                      <a:pt x="134" y="34"/>
                      <a:pt x="99" y="0"/>
                      <a:pt x="54" y="0"/>
                    </a:cubicBezTo>
                    <a:cubicBezTo>
                      <a:pt x="46" y="0"/>
                      <a:pt x="39" y="1"/>
                      <a:pt x="32" y="3"/>
                    </a:cubicBezTo>
                    <a:cubicBezTo>
                      <a:pt x="33" y="8"/>
                      <a:pt x="33" y="12"/>
                      <a:pt x="33" y="16"/>
                    </a:cubicBez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85669">
                  <a:defRPr/>
                </a:pPr>
                <a:endParaRPr lang="en-IN" sz="1350">
                  <a:solidFill>
                    <a:srgbClr val="3C3C41"/>
                  </a:solidFill>
                  <a:latin typeface="Segoe UI"/>
                </a:endParaRPr>
              </a:p>
            </p:txBody>
          </p:sp>
          <p:sp>
            <p:nvSpPr>
              <p:cNvPr id="440" name="Oval 51">
                <a:extLst>
                  <a:ext uri="{FF2B5EF4-FFF2-40B4-BE49-F238E27FC236}">
                    <a16:creationId xmlns:a16="http://schemas.microsoft.com/office/drawing/2014/main" id="{4130006B-B9B5-4379-9C5F-F87D39A82FCE}"/>
                  </a:ext>
                </a:extLst>
              </p:cNvPr>
              <p:cNvSpPr>
                <a:spLocks noChangeArrowheads="1"/>
              </p:cNvSpPr>
              <p:nvPr/>
            </p:nvSpPr>
            <p:spPr bwMode="auto">
              <a:xfrm>
                <a:off x="5784" y="2336"/>
                <a:ext cx="106" cy="106"/>
              </a:xfrm>
              <a:prstGeom prst="ellipse">
                <a:avLst/>
              </a:prstGeom>
              <a:solidFill>
                <a:srgbClr val="3C3C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85669">
                  <a:defRPr/>
                </a:pPr>
                <a:endParaRPr lang="en-IN" sz="1350">
                  <a:solidFill>
                    <a:srgbClr val="3C3C41"/>
                  </a:solidFill>
                  <a:latin typeface="Segoe UI"/>
                </a:endParaRPr>
              </a:p>
            </p:txBody>
          </p:sp>
          <p:sp>
            <p:nvSpPr>
              <p:cNvPr id="441" name="Freeform 52">
                <a:extLst>
                  <a:ext uri="{FF2B5EF4-FFF2-40B4-BE49-F238E27FC236}">
                    <a16:creationId xmlns:a16="http://schemas.microsoft.com/office/drawing/2014/main" id="{B59A22B2-3E71-41C9-A5B3-FBC39FDE52D0}"/>
                  </a:ext>
                </a:extLst>
              </p:cNvPr>
              <p:cNvSpPr>
                <a:spLocks/>
              </p:cNvSpPr>
              <p:nvPr/>
            </p:nvSpPr>
            <p:spPr bwMode="auto">
              <a:xfrm>
                <a:off x="5707" y="2467"/>
                <a:ext cx="259" cy="129"/>
              </a:xfrm>
              <a:custGeom>
                <a:avLst/>
                <a:gdLst>
                  <a:gd name="T0" fmla="*/ 118 w 235"/>
                  <a:gd name="T1" fmla="*/ 0 h 117"/>
                  <a:gd name="T2" fmla="*/ 0 w 235"/>
                  <a:gd name="T3" fmla="*/ 117 h 117"/>
                  <a:gd name="T4" fmla="*/ 235 w 235"/>
                  <a:gd name="T5" fmla="*/ 117 h 117"/>
                  <a:gd name="T6" fmla="*/ 118 w 235"/>
                  <a:gd name="T7" fmla="*/ 0 h 117"/>
                </a:gdLst>
                <a:ahLst/>
                <a:cxnLst>
                  <a:cxn ang="0">
                    <a:pos x="T0" y="T1"/>
                  </a:cxn>
                  <a:cxn ang="0">
                    <a:pos x="T2" y="T3"/>
                  </a:cxn>
                  <a:cxn ang="0">
                    <a:pos x="T4" y="T5"/>
                  </a:cxn>
                  <a:cxn ang="0">
                    <a:pos x="T6" y="T7"/>
                  </a:cxn>
                </a:cxnLst>
                <a:rect l="0" t="0" r="r" b="b"/>
                <a:pathLst>
                  <a:path w="235" h="117">
                    <a:moveTo>
                      <a:pt x="118" y="0"/>
                    </a:moveTo>
                    <a:cubicBezTo>
                      <a:pt x="53" y="0"/>
                      <a:pt x="0" y="52"/>
                      <a:pt x="0" y="117"/>
                    </a:cubicBezTo>
                    <a:cubicBezTo>
                      <a:pt x="235" y="117"/>
                      <a:pt x="235" y="117"/>
                      <a:pt x="235" y="117"/>
                    </a:cubicBezTo>
                    <a:cubicBezTo>
                      <a:pt x="235" y="52"/>
                      <a:pt x="182" y="0"/>
                      <a:pt x="118" y="0"/>
                    </a:cubicBezTo>
                    <a:close/>
                  </a:path>
                </a:pathLst>
              </a:custGeom>
              <a:solidFill>
                <a:srgbClr val="3C3C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85669">
                  <a:defRPr/>
                </a:pPr>
                <a:endParaRPr lang="en-IN" sz="1350">
                  <a:solidFill>
                    <a:srgbClr val="3C3C41"/>
                  </a:solidFill>
                  <a:latin typeface="Segoe UI"/>
                </a:endParaRPr>
              </a:p>
            </p:txBody>
          </p:sp>
          <p:sp>
            <p:nvSpPr>
              <p:cNvPr id="442" name="Freeform 53">
                <a:extLst>
                  <a:ext uri="{FF2B5EF4-FFF2-40B4-BE49-F238E27FC236}">
                    <a16:creationId xmlns:a16="http://schemas.microsoft.com/office/drawing/2014/main" id="{2D7E0C70-7C83-4048-8391-07A72C5BB503}"/>
                  </a:ext>
                </a:extLst>
              </p:cNvPr>
              <p:cNvSpPr>
                <a:spLocks/>
              </p:cNvSpPr>
              <p:nvPr/>
            </p:nvSpPr>
            <p:spPr bwMode="auto">
              <a:xfrm>
                <a:off x="5648" y="2371"/>
                <a:ext cx="148" cy="83"/>
              </a:xfrm>
              <a:custGeom>
                <a:avLst/>
                <a:gdLst>
                  <a:gd name="T0" fmla="*/ 101 w 134"/>
                  <a:gd name="T1" fmla="*/ 16 h 75"/>
                  <a:gd name="T2" fmla="*/ 103 w 134"/>
                  <a:gd name="T3" fmla="*/ 3 h 75"/>
                  <a:gd name="T4" fmla="*/ 80 w 134"/>
                  <a:gd name="T5" fmla="*/ 0 h 75"/>
                  <a:gd name="T6" fmla="*/ 0 w 134"/>
                  <a:gd name="T7" fmla="*/ 75 h 75"/>
                  <a:gd name="T8" fmla="*/ 134 w 134"/>
                  <a:gd name="T9" fmla="*/ 75 h 75"/>
                  <a:gd name="T10" fmla="*/ 101 w 134"/>
                  <a:gd name="T11" fmla="*/ 16 h 75"/>
                </a:gdLst>
                <a:ahLst/>
                <a:cxnLst>
                  <a:cxn ang="0">
                    <a:pos x="T0" y="T1"/>
                  </a:cxn>
                  <a:cxn ang="0">
                    <a:pos x="T2" y="T3"/>
                  </a:cxn>
                  <a:cxn ang="0">
                    <a:pos x="T4" y="T5"/>
                  </a:cxn>
                  <a:cxn ang="0">
                    <a:pos x="T6" y="T7"/>
                  </a:cxn>
                  <a:cxn ang="0">
                    <a:pos x="T8" y="T9"/>
                  </a:cxn>
                  <a:cxn ang="0">
                    <a:pos x="T10" y="T11"/>
                  </a:cxn>
                </a:cxnLst>
                <a:rect l="0" t="0" r="r" b="b"/>
                <a:pathLst>
                  <a:path w="134" h="75">
                    <a:moveTo>
                      <a:pt x="101" y="16"/>
                    </a:moveTo>
                    <a:cubicBezTo>
                      <a:pt x="101" y="12"/>
                      <a:pt x="102" y="8"/>
                      <a:pt x="103" y="3"/>
                    </a:cubicBezTo>
                    <a:cubicBezTo>
                      <a:pt x="95" y="1"/>
                      <a:pt x="88" y="0"/>
                      <a:pt x="80" y="0"/>
                    </a:cubicBezTo>
                    <a:cubicBezTo>
                      <a:pt x="36" y="0"/>
                      <a:pt x="0" y="34"/>
                      <a:pt x="0" y="75"/>
                    </a:cubicBezTo>
                    <a:cubicBezTo>
                      <a:pt x="134" y="75"/>
                      <a:pt x="134" y="75"/>
                      <a:pt x="134" y="75"/>
                    </a:cubicBezTo>
                    <a:cubicBezTo>
                      <a:pt x="114" y="63"/>
                      <a:pt x="101" y="41"/>
                      <a:pt x="101" y="16"/>
                    </a:cubicBez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85669">
                  <a:defRPr/>
                </a:pPr>
                <a:endParaRPr lang="en-IN" sz="1350">
                  <a:solidFill>
                    <a:srgbClr val="3C3C41"/>
                  </a:solidFill>
                  <a:latin typeface="Segoe UI"/>
                </a:endParaRPr>
              </a:p>
            </p:txBody>
          </p:sp>
        </p:grpSp>
      </p:grpSp>
      <p:grpSp>
        <p:nvGrpSpPr>
          <p:cNvPr id="307" name="Group 7">
            <a:extLst>
              <a:ext uri="{FF2B5EF4-FFF2-40B4-BE49-F238E27FC236}">
                <a16:creationId xmlns:a16="http://schemas.microsoft.com/office/drawing/2014/main" id="{BAE24255-CB27-49D6-99F5-75FA9ADC47FB}"/>
              </a:ext>
            </a:extLst>
          </p:cNvPr>
          <p:cNvGrpSpPr/>
          <p:nvPr/>
        </p:nvGrpSpPr>
        <p:grpSpPr>
          <a:xfrm>
            <a:off x="8276689" y="3066266"/>
            <a:ext cx="297305" cy="297305"/>
            <a:chOff x="726421" y="2468301"/>
            <a:chExt cx="1215993" cy="1215993"/>
          </a:xfrm>
        </p:grpSpPr>
        <p:sp>
          <p:nvSpPr>
            <p:cNvPr id="308" name="Oval 307">
              <a:extLst>
                <a:ext uri="{FF2B5EF4-FFF2-40B4-BE49-F238E27FC236}">
                  <a16:creationId xmlns:a16="http://schemas.microsoft.com/office/drawing/2014/main" id="{E4340FE2-1B5C-402A-823F-A412CC64EBD2}"/>
                </a:ext>
              </a:extLst>
            </p:cNvPr>
            <p:cNvSpPr/>
            <p:nvPr/>
          </p:nvSpPr>
          <p:spPr bwMode="auto">
            <a:xfrm>
              <a:off x="726421" y="2468301"/>
              <a:ext cx="1215993" cy="1215993"/>
            </a:xfrm>
            <a:prstGeom prst="ellipse">
              <a:avLst/>
            </a:prstGeom>
            <a:solidFill>
              <a:schemeClr val="bg1"/>
            </a:solidFill>
            <a:ln>
              <a:noFill/>
              <a:headEnd type="none" w="med" len="med"/>
              <a:tailEnd type="none" w="med" len="med"/>
            </a:ln>
            <a:effectLst>
              <a:outerShdw blurRad="63500" sx="103000" sy="103000" algn="ctr"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1" tIns="109713" rIns="137141" bIns="109713" numCol="1" spcCol="0" rtlCol="0" fromWordArt="0" anchor="t" anchorCtr="0" forceAA="0" compatLnSpc="1">
              <a:prstTxWarp prst="textNoShape">
                <a:avLst/>
              </a:prstTxWarp>
              <a:noAutofit/>
            </a:bodyPr>
            <a:lstStyle/>
            <a:p>
              <a:pPr algn="ctr" defTabSz="699220" fontAlgn="base">
                <a:lnSpc>
                  <a:spcPct val="90000"/>
                </a:lnSpc>
                <a:spcBef>
                  <a:spcPct val="0"/>
                </a:spcBef>
                <a:spcAft>
                  <a:spcPct val="0"/>
                </a:spcAft>
                <a:defRPr/>
              </a:pPr>
              <a:endParaRPr lang="en-US">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309" name="Group 308">
              <a:extLst>
                <a:ext uri="{FF2B5EF4-FFF2-40B4-BE49-F238E27FC236}">
                  <a16:creationId xmlns:a16="http://schemas.microsoft.com/office/drawing/2014/main" id="{228E7D41-9A13-4334-BC2D-3FA1F107D9DC}"/>
                </a:ext>
              </a:extLst>
            </p:cNvPr>
            <p:cNvGrpSpPr>
              <a:grpSpLocks noChangeAspect="1"/>
            </p:cNvGrpSpPr>
            <p:nvPr/>
          </p:nvGrpSpPr>
          <p:grpSpPr bwMode="auto">
            <a:xfrm>
              <a:off x="1038687" y="2742262"/>
              <a:ext cx="569712" cy="543867"/>
              <a:chOff x="-997" y="1076"/>
              <a:chExt cx="314" cy="362"/>
            </a:xfrm>
          </p:grpSpPr>
          <p:sp>
            <p:nvSpPr>
              <p:cNvPr id="310" name="Rectangle 5">
                <a:extLst>
                  <a:ext uri="{FF2B5EF4-FFF2-40B4-BE49-F238E27FC236}">
                    <a16:creationId xmlns:a16="http://schemas.microsoft.com/office/drawing/2014/main" id="{9974EA90-E2DE-4804-83B8-B23C6FB04059}"/>
                  </a:ext>
                </a:extLst>
              </p:cNvPr>
              <p:cNvSpPr>
                <a:spLocks noChangeArrowheads="1"/>
              </p:cNvSpPr>
              <p:nvPr/>
            </p:nvSpPr>
            <p:spPr bwMode="auto">
              <a:xfrm>
                <a:off x="-835" y="1268"/>
                <a:ext cx="35" cy="170"/>
              </a:xfrm>
              <a:prstGeom prst="rect">
                <a:avLst/>
              </a:prstGeom>
              <a:solidFill>
                <a:srgbClr val="3C3C4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0" tIns="34285" rIns="68570" bIns="34285" numCol="1" anchor="t" anchorCtr="0" compatLnSpc="1">
                <a:prstTxWarp prst="textNoShape">
                  <a:avLst/>
                </a:prstTxWarp>
              </a:bodyPr>
              <a:lstStyle/>
              <a:p>
                <a:pPr defTabSz="685669">
                  <a:defRPr/>
                </a:pPr>
                <a:endParaRPr lang="en-IN" sz="1350">
                  <a:solidFill>
                    <a:srgbClr val="3C3C41"/>
                  </a:solidFill>
                  <a:latin typeface="Segoe UI"/>
                </a:endParaRPr>
              </a:p>
            </p:txBody>
          </p:sp>
          <p:sp>
            <p:nvSpPr>
              <p:cNvPr id="311" name="Rectangle 6">
                <a:extLst>
                  <a:ext uri="{FF2B5EF4-FFF2-40B4-BE49-F238E27FC236}">
                    <a16:creationId xmlns:a16="http://schemas.microsoft.com/office/drawing/2014/main" id="{CF64F32C-B125-45EA-8897-A846549B2B70}"/>
                  </a:ext>
                </a:extLst>
              </p:cNvPr>
              <p:cNvSpPr>
                <a:spLocks noChangeArrowheads="1"/>
              </p:cNvSpPr>
              <p:nvPr/>
            </p:nvSpPr>
            <p:spPr bwMode="auto">
              <a:xfrm>
                <a:off x="-916" y="1336"/>
                <a:ext cx="35" cy="102"/>
              </a:xfrm>
              <a:prstGeom prst="rect">
                <a:avLst/>
              </a:prstGeom>
              <a:solidFill>
                <a:srgbClr val="3C3C4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0" tIns="34285" rIns="68570" bIns="34285" numCol="1" anchor="t" anchorCtr="0" compatLnSpc="1">
                <a:prstTxWarp prst="textNoShape">
                  <a:avLst/>
                </a:prstTxWarp>
              </a:bodyPr>
              <a:lstStyle/>
              <a:p>
                <a:pPr defTabSz="685669">
                  <a:defRPr/>
                </a:pPr>
                <a:endParaRPr lang="en-IN" sz="1350">
                  <a:solidFill>
                    <a:srgbClr val="3C3C41"/>
                  </a:solidFill>
                  <a:latin typeface="Segoe UI"/>
                </a:endParaRPr>
              </a:p>
            </p:txBody>
          </p:sp>
          <p:sp>
            <p:nvSpPr>
              <p:cNvPr id="312" name="Rectangle 7">
                <a:extLst>
                  <a:ext uri="{FF2B5EF4-FFF2-40B4-BE49-F238E27FC236}">
                    <a16:creationId xmlns:a16="http://schemas.microsoft.com/office/drawing/2014/main" id="{2F517806-736B-4062-9DB0-55820518D47E}"/>
                  </a:ext>
                </a:extLst>
              </p:cNvPr>
              <p:cNvSpPr>
                <a:spLocks noChangeArrowheads="1"/>
              </p:cNvSpPr>
              <p:nvPr/>
            </p:nvSpPr>
            <p:spPr bwMode="auto">
              <a:xfrm>
                <a:off x="-997" y="1382"/>
                <a:ext cx="35" cy="56"/>
              </a:xfrm>
              <a:prstGeom prst="rect">
                <a:avLst/>
              </a:prstGeom>
              <a:solidFill>
                <a:srgbClr val="3C3C4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0" tIns="34285" rIns="68570" bIns="34285" numCol="1" anchor="t" anchorCtr="0" compatLnSpc="1">
                <a:prstTxWarp prst="textNoShape">
                  <a:avLst/>
                </a:prstTxWarp>
              </a:bodyPr>
              <a:lstStyle/>
              <a:p>
                <a:pPr defTabSz="685669">
                  <a:defRPr/>
                </a:pPr>
                <a:endParaRPr lang="en-IN" sz="1350">
                  <a:solidFill>
                    <a:srgbClr val="3C3C41"/>
                  </a:solidFill>
                  <a:latin typeface="Segoe UI"/>
                </a:endParaRPr>
              </a:p>
            </p:txBody>
          </p:sp>
          <p:sp>
            <p:nvSpPr>
              <p:cNvPr id="313" name="Freeform 8">
                <a:extLst>
                  <a:ext uri="{FF2B5EF4-FFF2-40B4-BE49-F238E27FC236}">
                    <a16:creationId xmlns:a16="http://schemas.microsoft.com/office/drawing/2014/main" id="{DC2EBF86-EB24-44D4-B2AA-024B25F2580D}"/>
                  </a:ext>
                </a:extLst>
              </p:cNvPr>
              <p:cNvSpPr>
                <a:spLocks/>
              </p:cNvSpPr>
              <p:nvPr/>
            </p:nvSpPr>
            <p:spPr bwMode="auto">
              <a:xfrm>
                <a:off x="-788" y="1076"/>
                <a:ext cx="105" cy="362"/>
              </a:xfrm>
              <a:custGeom>
                <a:avLst/>
                <a:gdLst>
                  <a:gd name="T0" fmla="*/ 105 w 105"/>
                  <a:gd name="T1" fmla="*/ 68 h 362"/>
                  <a:gd name="T2" fmla="*/ 53 w 105"/>
                  <a:gd name="T3" fmla="*/ 0 h 362"/>
                  <a:gd name="T4" fmla="*/ 0 w 105"/>
                  <a:gd name="T5" fmla="*/ 68 h 362"/>
                  <a:gd name="T6" fmla="*/ 35 w 105"/>
                  <a:gd name="T7" fmla="*/ 68 h 362"/>
                  <a:gd name="T8" fmla="*/ 35 w 105"/>
                  <a:gd name="T9" fmla="*/ 362 h 362"/>
                  <a:gd name="T10" fmla="*/ 70 w 105"/>
                  <a:gd name="T11" fmla="*/ 362 h 362"/>
                  <a:gd name="T12" fmla="*/ 70 w 105"/>
                  <a:gd name="T13" fmla="*/ 68 h 362"/>
                  <a:gd name="T14" fmla="*/ 105 w 105"/>
                  <a:gd name="T15" fmla="*/ 68 h 36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 h="362">
                    <a:moveTo>
                      <a:pt x="105" y="68"/>
                    </a:moveTo>
                    <a:lnTo>
                      <a:pt x="53" y="0"/>
                    </a:lnTo>
                    <a:lnTo>
                      <a:pt x="0" y="68"/>
                    </a:lnTo>
                    <a:lnTo>
                      <a:pt x="35" y="68"/>
                    </a:lnTo>
                    <a:lnTo>
                      <a:pt x="35" y="362"/>
                    </a:lnTo>
                    <a:lnTo>
                      <a:pt x="70" y="362"/>
                    </a:lnTo>
                    <a:lnTo>
                      <a:pt x="70" y="68"/>
                    </a:lnTo>
                    <a:lnTo>
                      <a:pt x="105" y="68"/>
                    </a:lnTo>
                    <a:close/>
                  </a:path>
                </a:pathLst>
              </a:custGeom>
              <a:solidFill>
                <a:srgbClr val="30E3C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85669">
                  <a:defRPr/>
                </a:pPr>
                <a:endParaRPr lang="en-IN" sz="1350">
                  <a:solidFill>
                    <a:srgbClr val="3C3C41"/>
                  </a:solidFill>
                  <a:latin typeface="Segoe UI"/>
                </a:endParaRPr>
              </a:p>
            </p:txBody>
          </p:sp>
        </p:grpSp>
      </p:grpSp>
      <p:grpSp>
        <p:nvGrpSpPr>
          <p:cNvPr id="464" name="Group 463">
            <a:extLst>
              <a:ext uri="{FF2B5EF4-FFF2-40B4-BE49-F238E27FC236}">
                <a16:creationId xmlns:a16="http://schemas.microsoft.com/office/drawing/2014/main" id="{B0BCD39C-34C7-4E5B-853C-E4DCF2AD0A74}"/>
              </a:ext>
            </a:extLst>
          </p:cNvPr>
          <p:cNvGrpSpPr/>
          <p:nvPr/>
        </p:nvGrpSpPr>
        <p:grpSpPr>
          <a:xfrm>
            <a:off x="7090902" y="3065825"/>
            <a:ext cx="298190" cy="298190"/>
            <a:chOff x="9079170" y="1892060"/>
            <a:chExt cx="975688" cy="975688"/>
          </a:xfrm>
        </p:grpSpPr>
        <p:sp>
          <p:nvSpPr>
            <p:cNvPr id="465" name="Oval 464">
              <a:extLst>
                <a:ext uri="{FF2B5EF4-FFF2-40B4-BE49-F238E27FC236}">
                  <a16:creationId xmlns:a16="http://schemas.microsoft.com/office/drawing/2014/main" id="{3F5CD5EA-ED93-419F-89D0-FA4D7C0856CB}"/>
                </a:ext>
              </a:extLst>
            </p:cNvPr>
            <p:cNvSpPr/>
            <p:nvPr/>
          </p:nvSpPr>
          <p:spPr bwMode="auto">
            <a:xfrm>
              <a:off x="9079170" y="1892060"/>
              <a:ext cx="975688" cy="975688"/>
            </a:xfrm>
            <a:prstGeom prst="ellipse">
              <a:avLst/>
            </a:prstGeom>
            <a:solidFill>
              <a:schemeClr val="bg1"/>
            </a:solidFill>
            <a:ln>
              <a:noFill/>
              <a:headEnd type="none" w="med" len="med"/>
              <a:tailEnd type="none" w="med" len="med"/>
            </a:ln>
            <a:effectLst>
              <a:outerShdw blurRad="63500" sx="103000" sy="103000" algn="ctr"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1" tIns="109713" rIns="137141" bIns="109713" numCol="1" spcCol="0" rtlCol="0" fromWordArt="0" anchor="t" anchorCtr="0" forceAA="0" compatLnSpc="1">
              <a:prstTxWarp prst="textNoShape">
                <a:avLst/>
              </a:prstTxWarp>
              <a:noAutofit/>
            </a:bodyPr>
            <a:lstStyle/>
            <a:p>
              <a:pPr algn="ctr" defTabSz="699220" fontAlgn="base">
                <a:lnSpc>
                  <a:spcPct val="90000"/>
                </a:lnSpc>
                <a:spcBef>
                  <a:spcPct val="0"/>
                </a:spcBef>
                <a:spcAft>
                  <a:spcPct val="0"/>
                </a:spcAft>
                <a:defRPr/>
              </a:pPr>
              <a:endParaRPr lang="en-US" err="1">
                <a:gradFill>
                  <a:gsLst>
                    <a:gs pos="0">
                      <a:srgbClr val="FFFFFF"/>
                    </a:gs>
                    <a:gs pos="100000">
                      <a:srgbClr val="FFFFFF"/>
                    </a:gs>
                  </a:gsLst>
                  <a:lin ang="5400000" scaled="0"/>
                </a:gradFill>
                <a:latin typeface="Segoe UI"/>
                <a:cs typeface="Segoe UI" pitchFamily="34" charset="0"/>
              </a:endParaRPr>
            </a:p>
          </p:txBody>
        </p:sp>
        <p:grpSp>
          <p:nvGrpSpPr>
            <p:cNvPr id="466" name="Group 465">
              <a:extLst>
                <a:ext uri="{FF2B5EF4-FFF2-40B4-BE49-F238E27FC236}">
                  <a16:creationId xmlns:a16="http://schemas.microsoft.com/office/drawing/2014/main" id="{7CA1FC0D-4C1D-4991-AE62-E47071754AF7}"/>
                </a:ext>
              </a:extLst>
            </p:cNvPr>
            <p:cNvGrpSpPr/>
            <p:nvPr/>
          </p:nvGrpSpPr>
          <p:grpSpPr>
            <a:xfrm>
              <a:off x="9296582" y="2091483"/>
              <a:ext cx="540865" cy="576843"/>
              <a:chOff x="11107091" y="4337604"/>
              <a:chExt cx="208542" cy="222414"/>
            </a:xfrm>
          </p:grpSpPr>
          <p:grpSp>
            <p:nvGrpSpPr>
              <p:cNvPr id="467" name="Group 466">
                <a:extLst>
                  <a:ext uri="{FF2B5EF4-FFF2-40B4-BE49-F238E27FC236}">
                    <a16:creationId xmlns:a16="http://schemas.microsoft.com/office/drawing/2014/main" id="{A8E36260-E80E-417F-9757-A1565D13495B}"/>
                  </a:ext>
                </a:extLst>
              </p:cNvPr>
              <p:cNvGrpSpPr/>
              <p:nvPr/>
            </p:nvGrpSpPr>
            <p:grpSpPr>
              <a:xfrm>
                <a:off x="11107091" y="4337604"/>
                <a:ext cx="208542" cy="222414"/>
                <a:chOff x="11107091" y="4337604"/>
                <a:chExt cx="208542" cy="222414"/>
              </a:xfrm>
            </p:grpSpPr>
            <p:sp>
              <p:nvSpPr>
                <p:cNvPr id="469" name="Freeform 5">
                  <a:extLst>
                    <a:ext uri="{FF2B5EF4-FFF2-40B4-BE49-F238E27FC236}">
                      <a16:creationId xmlns:a16="http://schemas.microsoft.com/office/drawing/2014/main" id="{F70B459D-9332-4257-A971-C86532062E1D}"/>
                    </a:ext>
                  </a:extLst>
                </p:cNvPr>
                <p:cNvSpPr>
                  <a:spLocks/>
                </p:cNvSpPr>
                <p:nvPr/>
              </p:nvSpPr>
              <p:spPr bwMode="auto">
                <a:xfrm>
                  <a:off x="11134972" y="4337604"/>
                  <a:ext cx="83392" cy="83389"/>
                </a:xfrm>
                <a:custGeom>
                  <a:avLst/>
                  <a:gdLst>
                    <a:gd name="T0" fmla="*/ 16 w 96"/>
                    <a:gd name="T1" fmla="*/ 48 h 96"/>
                    <a:gd name="T2" fmla="*/ 48 w 96"/>
                    <a:gd name="T3" fmla="*/ 16 h 96"/>
                    <a:gd name="T4" fmla="*/ 80 w 96"/>
                    <a:gd name="T5" fmla="*/ 48 h 96"/>
                    <a:gd name="T6" fmla="*/ 80 w 96"/>
                    <a:gd name="T7" fmla="*/ 96 h 96"/>
                    <a:gd name="T8" fmla="*/ 96 w 96"/>
                    <a:gd name="T9" fmla="*/ 96 h 96"/>
                    <a:gd name="T10" fmla="*/ 96 w 96"/>
                    <a:gd name="T11" fmla="*/ 48 h 96"/>
                    <a:gd name="T12" fmla="*/ 48 w 96"/>
                    <a:gd name="T13" fmla="*/ 0 h 96"/>
                    <a:gd name="T14" fmla="*/ 0 w 96"/>
                    <a:gd name="T15" fmla="*/ 48 h 96"/>
                    <a:gd name="T16" fmla="*/ 0 w 96"/>
                    <a:gd name="T17" fmla="*/ 96 h 96"/>
                    <a:gd name="T18" fmla="*/ 16 w 96"/>
                    <a:gd name="T19" fmla="*/ 96 h 96"/>
                    <a:gd name="T20" fmla="*/ 16 w 96"/>
                    <a:gd name="T21" fmla="*/ 4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6" h="96">
                      <a:moveTo>
                        <a:pt x="16" y="48"/>
                      </a:moveTo>
                      <a:cubicBezTo>
                        <a:pt x="16" y="30"/>
                        <a:pt x="30" y="16"/>
                        <a:pt x="48" y="16"/>
                      </a:cubicBezTo>
                      <a:cubicBezTo>
                        <a:pt x="66" y="16"/>
                        <a:pt x="80" y="30"/>
                        <a:pt x="80" y="48"/>
                      </a:cubicBezTo>
                      <a:cubicBezTo>
                        <a:pt x="80" y="96"/>
                        <a:pt x="80" y="96"/>
                        <a:pt x="80" y="96"/>
                      </a:cubicBezTo>
                      <a:cubicBezTo>
                        <a:pt x="96" y="96"/>
                        <a:pt x="96" y="96"/>
                        <a:pt x="96" y="96"/>
                      </a:cubicBezTo>
                      <a:cubicBezTo>
                        <a:pt x="96" y="48"/>
                        <a:pt x="96" y="48"/>
                        <a:pt x="96" y="48"/>
                      </a:cubicBezTo>
                      <a:cubicBezTo>
                        <a:pt x="96" y="22"/>
                        <a:pt x="74" y="0"/>
                        <a:pt x="48" y="0"/>
                      </a:cubicBezTo>
                      <a:cubicBezTo>
                        <a:pt x="22" y="0"/>
                        <a:pt x="0" y="22"/>
                        <a:pt x="0" y="48"/>
                      </a:cubicBezTo>
                      <a:cubicBezTo>
                        <a:pt x="0" y="96"/>
                        <a:pt x="0" y="96"/>
                        <a:pt x="0" y="96"/>
                      </a:cubicBezTo>
                      <a:cubicBezTo>
                        <a:pt x="16" y="96"/>
                        <a:pt x="16" y="96"/>
                        <a:pt x="16" y="96"/>
                      </a:cubicBezTo>
                      <a:lnTo>
                        <a:pt x="16" y="48"/>
                      </a:lnTo>
                      <a:close/>
                    </a:path>
                  </a:pathLst>
                </a:custGeom>
                <a:solidFill>
                  <a:srgbClr val="30E5D0"/>
                </a:solidFill>
                <a:ln w="3175">
                  <a:noFill/>
                  <a:round/>
                  <a:headEnd/>
                  <a:tailEnd/>
                </a:ln>
              </p:spPr>
              <p:txBody>
                <a:bodyPr vert="horz" wrap="square" lIns="67203" tIns="33602" rIns="67203" bIns="33602" numCol="1" anchor="t" anchorCtr="0" compatLnSpc="1">
                  <a:prstTxWarp prst="textNoShape">
                    <a:avLst/>
                  </a:prstTxWarp>
                </a:bodyPr>
                <a:lstStyle/>
                <a:p>
                  <a:pPr defTabSz="671903">
                    <a:defRPr/>
                  </a:pPr>
                  <a:endParaRPr lang="en-US" sz="1028" kern="0">
                    <a:solidFill>
                      <a:srgbClr val="FFFFFF">
                        <a:lumMod val="50000"/>
                      </a:srgbClr>
                    </a:solidFill>
                    <a:latin typeface="Segoe UI Semibold"/>
                  </a:endParaRPr>
                </a:p>
              </p:txBody>
            </p:sp>
            <p:sp>
              <p:nvSpPr>
                <p:cNvPr id="470" name="Freeform 6">
                  <a:extLst>
                    <a:ext uri="{FF2B5EF4-FFF2-40B4-BE49-F238E27FC236}">
                      <a16:creationId xmlns:a16="http://schemas.microsoft.com/office/drawing/2014/main" id="{C2F3F12F-ED95-425B-A8D6-569D3ECFAB56}"/>
                    </a:ext>
                  </a:extLst>
                </p:cNvPr>
                <p:cNvSpPr>
                  <a:spLocks/>
                </p:cNvSpPr>
                <p:nvPr/>
              </p:nvSpPr>
              <p:spPr bwMode="auto">
                <a:xfrm>
                  <a:off x="11107091" y="4393239"/>
                  <a:ext cx="139028" cy="152902"/>
                </a:xfrm>
                <a:custGeom>
                  <a:avLst/>
                  <a:gdLst>
                    <a:gd name="T0" fmla="*/ 110 w 1102"/>
                    <a:gd name="T1" fmla="*/ 1102 h 1212"/>
                    <a:gd name="T2" fmla="*/ 110 w 1102"/>
                    <a:gd name="T3" fmla="*/ 110 h 1212"/>
                    <a:gd name="T4" fmla="*/ 992 w 1102"/>
                    <a:gd name="T5" fmla="*/ 110 h 1212"/>
                    <a:gd name="T6" fmla="*/ 992 w 1102"/>
                    <a:gd name="T7" fmla="*/ 441 h 1212"/>
                    <a:gd name="T8" fmla="*/ 1102 w 1102"/>
                    <a:gd name="T9" fmla="*/ 441 h 1212"/>
                    <a:gd name="T10" fmla="*/ 1102 w 1102"/>
                    <a:gd name="T11" fmla="*/ 0 h 1212"/>
                    <a:gd name="T12" fmla="*/ 0 w 1102"/>
                    <a:gd name="T13" fmla="*/ 0 h 1212"/>
                    <a:gd name="T14" fmla="*/ 0 w 1102"/>
                    <a:gd name="T15" fmla="*/ 1212 h 1212"/>
                    <a:gd name="T16" fmla="*/ 441 w 1102"/>
                    <a:gd name="T17" fmla="*/ 1212 h 1212"/>
                    <a:gd name="T18" fmla="*/ 441 w 1102"/>
                    <a:gd name="T19" fmla="*/ 1102 h 1212"/>
                    <a:gd name="T20" fmla="*/ 110 w 1102"/>
                    <a:gd name="T21" fmla="*/ 1102 h 1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02" h="1212">
                      <a:moveTo>
                        <a:pt x="110" y="1102"/>
                      </a:moveTo>
                      <a:lnTo>
                        <a:pt x="110" y="110"/>
                      </a:lnTo>
                      <a:lnTo>
                        <a:pt x="992" y="110"/>
                      </a:lnTo>
                      <a:lnTo>
                        <a:pt x="992" y="441"/>
                      </a:lnTo>
                      <a:lnTo>
                        <a:pt x="1102" y="441"/>
                      </a:lnTo>
                      <a:lnTo>
                        <a:pt x="1102" y="0"/>
                      </a:lnTo>
                      <a:lnTo>
                        <a:pt x="0" y="0"/>
                      </a:lnTo>
                      <a:lnTo>
                        <a:pt x="0" y="1212"/>
                      </a:lnTo>
                      <a:lnTo>
                        <a:pt x="441" y="1212"/>
                      </a:lnTo>
                      <a:lnTo>
                        <a:pt x="441" y="1102"/>
                      </a:lnTo>
                      <a:lnTo>
                        <a:pt x="110" y="1102"/>
                      </a:lnTo>
                      <a:close/>
                    </a:path>
                  </a:pathLst>
                </a:custGeom>
                <a:solidFill>
                  <a:srgbClr val="30E5D0"/>
                </a:solidFill>
                <a:ln w="3175">
                  <a:noFill/>
                  <a:round/>
                  <a:headEnd/>
                  <a:tailEnd/>
                </a:ln>
              </p:spPr>
              <p:txBody>
                <a:bodyPr vert="horz" wrap="square" lIns="67203" tIns="33602" rIns="67203" bIns="33602" numCol="1" anchor="t" anchorCtr="0" compatLnSpc="1">
                  <a:prstTxWarp prst="textNoShape">
                    <a:avLst/>
                  </a:prstTxWarp>
                </a:bodyPr>
                <a:lstStyle/>
                <a:p>
                  <a:pPr defTabSz="671903">
                    <a:defRPr/>
                  </a:pPr>
                  <a:endParaRPr lang="en-US" sz="1028" kern="0">
                    <a:solidFill>
                      <a:srgbClr val="FFFFFF">
                        <a:lumMod val="50000"/>
                      </a:srgbClr>
                    </a:solidFill>
                    <a:latin typeface="Segoe UI Semibold"/>
                  </a:endParaRPr>
                </a:p>
              </p:txBody>
            </p:sp>
            <p:sp>
              <p:nvSpPr>
                <p:cNvPr id="471" name="Freeform 7">
                  <a:extLst>
                    <a:ext uri="{FF2B5EF4-FFF2-40B4-BE49-F238E27FC236}">
                      <a16:creationId xmlns:a16="http://schemas.microsoft.com/office/drawing/2014/main" id="{08C594A3-D670-45A5-9CB9-3B1CF2182CE0}"/>
                    </a:ext>
                  </a:extLst>
                </p:cNvPr>
                <p:cNvSpPr>
                  <a:spLocks noEditPoints="1"/>
                </p:cNvSpPr>
                <p:nvPr/>
              </p:nvSpPr>
              <p:spPr bwMode="auto">
                <a:xfrm>
                  <a:off x="11162727" y="4448874"/>
                  <a:ext cx="152906" cy="111144"/>
                </a:xfrm>
                <a:custGeom>
                  <a:avLst/>
                  <a:gdLst>
                    <a:gd name="T0" fmla="*/ 661 w 1212"/>
                    <a:gd name="T1" fmla="*/ 0 h 881"/>
                    <a:gd name="T2" fmla="*/ 551 w 1212"/>
                    <a:gd name="T3" fmla="*/ 0 h 881"/>
                    <a:gd name="T4" fmla="*/ 0 w 1212"/>
                    <a:gd name="T5" fmla="*/ 0 h 881"/>
                    <a:gd name="T6" fmla="*/ 0 w 1212"/>
                    <a:gd name="T7" fmla="*/ 661 h 881"/>
                    <a:gd name="T8" fmla="*/ 0 w 1212"/>
                    <a:gd name="T9" fmla="*/ 771 h 881"/>
                    <a:gd name="T10" fmla="*/ 0 w 1212"/>
                    <a:gd name="T11" fmla="*/ 881 h 881"/>
                    <a:gd name="T12" fmla="*/ 1212 w 1212"/>
                    <a:gd name="T13" fmla="*/ 881 h 881"/>
                    <a:gd name="T14" fmla="*/ 1212 w 1212"/>
                    <a:gd name="T15" fmla="*/ 0 h 881"/>
                    <a:gd name="T16" fmla="*/ 661 w 1212"/>
                    <a:gd name="T17" fmla="*/ 0 h 881"/>
                    <a:gd name="T18" fmla="*/ 1102 w 1212"/>
                    <a:gd name="T19" fmla="*/ 771 h 881"/>
                    <a:gd name="T20" fmla="*/ 110 w 1212"/>
                    <a:gd name="T21" fmla="*/ 771 h 881"/>
                    <a:gd name="T22" fmla="*/ 110 w 1212"/>
                    <a:gd name="T23" fmla="*/ 771 h 881"/>
                    <a:gd name="T24" fmla="*/ 110 w 1212"/>
                    <a:gd name="T25" fmla="*/ 661 h 881"/>
                    <a:gd name="T26" fmla="*/ 110 w 1212"/>
                    <a:gd name="T27" fmla="*/ 110 h 881"/>
                    <a:gd name="T28" fmla="*/ 551 w 1212"/>
                    <a:gd name="T29" fmla="*/ 110 h 881"/>
                    <a:gd name="T30" fmla="*/ 661 w 1212"/>
                    <a:gd name="T31" fmla="*/ 110 h 881"/>
                    <a:gd name="T32" fmla="*/ 1102 w 1212"/>
                    <a:gd name="T33" fmla="*/ 110 h 881"/>
                    <a:gd name="T34" fmla="*/ 1102 w 1212"/>
                    <a:gd name="T35" fmla="*/ 771 h 8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12" h="881">
                      <a:moveTo>
                        <a:pt x="661" y="0"/>
                      </a:moveTo>
                      <a:lnTo>
                        <a:pt x="551" y="0"/>
                      </a:lnTo>
                      <a:lnTo>
                        <a:pt x="0" y="0"/>
                      </a:lnTo>
                      <a:lnTo>
                        <a:pt x="0" y="661"/>
                      </a:lnTo>
                      <a:lnTo>
                        <a:pt x="0" y="771"/>
                      </a:lnTo>
                      <a:lnTo>
                        <a:pt x="0" y="881"/>
                      </a:lnTo>
                      <a:lnTo>
                        <a:pt x="1212" y="881"/>
                      </a:lnTo>
                      <a:lnTo>
                        <a:pt x="1212" y="0"/>
                      </a:lnTo>
                      <a:lnTo>
                        <a:pt x="661" y="0"/>
                      </a:lnTo>
                      <a:close/>
                      <a:moveTo>
                        <a:pt x="1102" y="771"/>
                      </a:moveTo>
                      <a:lnTo>
                        <a:pt x="110" y="771"/>
                      </a:lnTo>
                      <a:lnTo>
                        <a:pt x="110" y="771"/>
                      </a:lnTo>
                      <a:lnTo>
                        <a:pt x="110" y="661"/>
                      </a:lnTo>
                      <a:lnTo>
                        <a:pt x="110" y="110"/>
                      </a:lnTo>
                      <a:lnTo>
                        <a:pt x="551" y="110"/>
                      </a:lnTo>
                      <a:lnTo>
                        <a:pt x="661" y="110"/>
                      </a:lnTo>
                      <a:lnTo>
                        <a:pt x="1102" y="110"/>
                      </a:lnTo>
                      <a:lnTo>
                        <a:pt x="1102" y="771"/>
                      </a:lnTo>
                      <a:close/>
                    </a:path>
                  </a:pathLst>
                </a:custGeom>
                <a:solidFill>
                  <a:schemeClr val="tx1"/>
                </a:solidFill>
                <a:ln w="3175">
                  <a:noFill/>
                  <a:round/>
                  <a:headEnd/>
                  <a:tailEnd/>
                </a:ln>
              </p:spPr>
              <p:txBody>
                <a:bodyPr vert="horz" wrap="square" lIns="67203" tIns="33602" rIns="67203" bIns="33602" numCol="1" anchor="t" anchorCtr="0" compatLnSpc="1">
                  <a:prstTxWarp prst="textNoShape">
                    <a:avLst/>
                  </a:prstTxWarp>
                </a:bodyPr>
                <a:lstStyle/>
                <a:p>
                  <a:pPr defTabSz="671903">
                    <a:defRPr/>
                  </a:pPr>
                  <a:endParaRPr lang="en-US" sz="1028" kern="0">
                    <a:solidFill>
                      <a:srgbClr val="FFFFFF">
                        <a:lumMod val="50000"/>
                      </a:srgbClr>
                    </a:solidFill>
                    <a:latin typeface="Segoe UI Semibold"/>
                  </a:endParaRPr>
                </a:p>
              </p:txBody>
            </p:sp>
          </p:grpSp>
          <p:sp>
            <p:nvSpPr>
              <p:cNvPr id="468" name="Freeform 8">
                <a:extLst>
                  <a:ext uri="{FF2B5EF4-FFF2-40B4-BE49-F238E27FC236}">
                    <a16:creationId xmlns:a16="http://schemas.microsoft.com/office/drawing/2014/main" id="{1C68364A-1432-484B-A521-A57DF6C0E84E}"/>
                  </a:ext>
                </a:extLst>
              </p:cNvPr>
              <p:cNvSpPr>
                <a:spLocks/>
              </p:cNvSpPr>
              <p:nvPr/>
            </p:nvSpPr>
            <p:spPr bwMode="auto">
              <a:xfrm>
                <a:off x="11207385" y="4476628"/>
                <a:ext cx="69514" cy="55635"/>
              </a:xfrm>
              <a:custGeom>
                <a:avLst/>
                <a:gdLst>
                  <a:gd name="T0" fmla="*/ 64 w 80"/>
                  <a:gd name="T1" fmla="*/ 24 h 64"/>
                  <a:gd name="T2" fmla="*/ 40 w 80"/>
                  <a:gd name="T3" fmla="*/ 48 h 64"/>
                  <a:gd name="T4" fmla="*/ 16 w 80"/>
                  <a:gd name="T5" fmla="*/ 24 h 64"/>
                  <a:gd name="T6" fmla="*/ 16 w 80"/>
                  <a:gd name="T7" fmla="*/ 0 h 64"/>
                  <a:gd name="T8" fmla="*/ 0 w 80"/>
                  <a:gd name="T9" fmla="*/ 0 h 64"/>
                  <a:gd name="T10" fmla="*/ 0 w 80"/>
                  <a:gd name="T11" fmla="*/ 24 h 64"/>
                  <a:gd name="T12" fmla="*/ 40 w 80"/>
                  <a:gd name="T13" fmla="*/ 64 h 64"/>
                  <a:gd name="T14" fmla="*/ 80 w 80"/>
                  <a:gd name="T15" fmla="*/ 24 h 64"/>
                  <a:gd name="T16" fmla="*/ 80 w 80"/>
                  <a:gd name="T17" fmla="*/ 0 h 64"/>
                  <a:gd name="T18" fmla="*/ 64 w 80"/>
                  <a:gd name="T19" fmla="*/ 0 h 64"/>
                  <a:gd name="T20" fmla="*/ 64 w 80"/>
                  <a:gd name="T21" fmla="*/ 2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0" h="64">
                    <a:moveTo>
                      <a:pt x="64" y="24"/>
                    </a:moveTo>
                    <a:cubicBezTo>
                      <a:pt x="64" y="37"/>
                      <a:pt x="53" y="48"/>
                      <a:pt x="40" y="48"/>
                    </a:cubicBezTo>
                    <a:cubicBezTo>
                      <a:pt x="27" y="48"/>
                      <a:pt x="16" y="37"/>
                      <a:pt x="16" y="24"/>
                    </a:cubicBezTo>
                    <a:cubicBezTo>
                      <a:pt x="16" y="0"/>
                      <a:pt x="16" y="0"/>
                      <a:pt x="16" y="0"/>
                    </a:cubicBezTo>
                    <a:cubicBezTo>
                      <a:pt x="0" y="0"/>
                      <a:pt x="0" y="0"/>
                      <a:pt x="0" y="0"/>
                    </a:cubicBezTo>
                    <a:cubicBezTo>
                      <a:pt x="0" y="24"/>
                      <a:pt x="0" y="24"/>
                      <a:pt x="0" y="24"/>
                    </a:cubicBezTo>
                    <a:cubicBezTo>
                      <a:pt x="0" y="46"/>
                      <a:pt x="18" y="64"/>
                      <a:pt x="40" y="64"/>
                    </a:cubicBezTo>
                    <a:cubicBezTo>
                      <a:pt x="62" y="64"/>
                      <a:pt x="80" y="46"/>
                      <a:pt x="80" y="24"/>
                    </a:cubicBezTo>
                    <a:cubicBezTo>
                      <a:pt x="80" y="0"/>
                      <a:pt x="80" y="0"/>
                      <a:pt x="80" y="0"/>
                    </a:cubicBezTo>
                    <a:cubicBezTo>
                      <a:pt x="64" y="0"/>
                      <a:pt x="64" y="0"/>
                      <a:pt x="64" y="0"/>
                    </a:cubicBezTo>
                    <a:lnTo>
                      <a:pt x="64" y="24"/>
                    </a:lnTo>
                    <a:close/>
                  </a:path>
                </a:pathLst>
              </a:custGeom>
              <a:solidFill>
                <a:schemeClr val="tx1"/>
              </a:solidFill>
              <a:ln w="3175">
                <a:noFill/>
                <a:round/>
                <a:headEnd/>
                <a:tailEnd/>
              </a:ln>
            </p:spPr>
            <p:txBody>
              <a:bodyPr vert="horz" wrap="square" lIns="67203" tIns="33602" rIns="67203" bIns="33602" numCol="1" anchor="t" anchorCtr="0" compatLnSpc="1">
                <a:prstTxWarp prst="textNoShape">
                  <a:avLst/>
                </a:prstTxWarp>
              </a:bodyPr>
              <a:lstStyle/>
              <a:p>
                <a:pPr defTabSz="671903">
                  <a:defRPr/>
                </a:pPr>
                <a:endParaRPr lang="en-US" sz="1028" kern="0">
                  <a:solidFill>
                    <a:srgbClr val="FFFFFF">
                      <a:lumMod val="50000"/>
                    </a:srgbClr>
                  </a:solidFill>
                  <a:latin typeface="Segoe UI Semibold"/>
                </a:endParaRPr>
              </a:p>
            </p:txBody>
          </p:sp>
        </p:grpSp>
      </p:grpSp>
      <p:grpSp>
        <p:nvGrpSpPr>
          <p:cNvPr id="472" name="Group 471">
            <a:extLst>
              <a:ext uri="{FF2B5EF4-FFF2-40B4-BE49-F238E27FC236}">
                <a16:creationId xmlns:a16="http://schemas.microsoft.com/office/drawing/2014/main" id="{BAA04636-C91B-4434-A390-899F3DC5606E}"/>
              </a:ext>
            </a:extLst>
          </p:cNvPr>
          <p:cNvGrpSpPr/>
          <p:nvPr/>
        </p:nvGrpSpPr>
        <p:grpSpPr>
          <a:xfrm>
            <a:off x="7268570" y="3475762"/>
            <a:ext cx="298190" cy="298190"/>
            <a:chOff x="4873771" y="1892061"/>
            <a:chExt cx="975689" cy="975689"/>
          </a:xfrm>
        </p:grpSpPr>
        <p:sp>
          <p:nvSpPr>
            <p:cNvPr id="473" name="Oval 472">
              <a:extLst>
                <a:ext uri="{FF2B5EF4-FFF2-40B4-BE49-F238E27FC236}">
                  <a16:creationId xmlns:a16="http://schemas.microsoft.com/office/drawing/2014/main" id="{B95CD175-107B-491F-AD67-46542F9F2FE6}"/>
                </a:ext>
              </a:extLst>
            </p:cNvPr>
            <p:cNvSpPr/>
            <p:nvPr/>
          </p:nvSpPr>
          <p:spPr bwMode="auto">
            <a:xfrm>
              <a:off x="4873771" y="1892061"/>
              <a:ext cx="975689" cy="975689"/>
            </a:xfrm>
            <a:prstGeom prst="ellipse">
              <a:avLst/>
            </a:prstGeom>
            <a:solidFill>
              <a:schemeClr val="bg1"/>
            </a:solidFill>
            <a:ln>
              <a:noFill/>
              <a:headEnd type="none" w="med" len="med"/>
              <a:tailEnd type="none" w="med" len="med"/>
            </a:ln>
            <a:effectLst>
              <a:outerShdw blurRad="63500" sx="103000" sy="103000" algn="ctr"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1" tIns="109713" rIns="137141" bIns="109713" numCol="1" spcCol="0" rtlCol="0" fromWordArt="0" anchor="t" anchorCtr="0" forceAA="0" compatLnSpc="1">
              <a:prstTxWarp prst="textNoShape">
                <a:avLst/>
              </a:prstTxWarp>
              <a:noAutofit/>
            </a:bodyPr>
            <a:lstStyle/>
            <a:p>
              <a:pPr algn="ctr" defTabSz="699220" fontAlgn="base">
                <a:lnSpc>
                  <a:spcPct val="90000"/>
                </a:lnSpc>
                <a:spcBef>
                  <a:spcPct val="0"/>
                </a:spcBef>
                <a:spcAft>
                  <a:spcPct val="0"/>
                </a:spcAft>
                <a:defRPr/>
              </a:pPr>
              <a:endParaRPr lang="en-US" err="1">
                <a:gradFill>
                  <a:gsLst>
                    <a:gs pos="0">
                      <a:srgbClr val="FFFFFF"/>
                    </a:gs>
                    <a:gs pos="100000">
                      <a:srgbClr val="FFFFFF"/>
                    </a:gs>
                  </a:gsLst>
                  <a:lin ang="5400000" scaled="0"/>
                </a:gradFill>
                <a:latin typeface="Segoe UI"/>
                <a:cs typeface="Segoe UI" pitchFamily="34" charset="0"/>
              </a:endParaRPr>
            </a:p>
          </p:txBody>
        </p:sp>
        <p:grpSp>
          <p:nvGrpSpPr>
            <p:cNvPr id="474" name="Group 473">
              <a:extLst>
                <a:ext uri="{FF2B5EF4-FFF2-40B4-BE49-F238E27FC236}">
                  <a16:creationId xmlns:a16="http://schemas.microsoft.com/office/drawing/2014/main" id="{647B96C1-594B-4356-943F-75CD21EF1B85}"/>
                </a:ext>
              </a:extLst>
            </p:cNvPr>
            <p:cNvGrpSpPr/>
            <p:nvPr/>
          </p:nvGrpSpPr>
          <p:grpSpPr>
            <a:xfrm>
              <a:off x="5070206" y="2200468"/>
              <a:ext cx="582811" cy="358872"/>
              <a:chOff x="3256953" y="1035854"/>
              <a:chExt cx="582810" cy="358872"/>
            </a:xfrm>
          </p:grpSpPr>
          <p:sp>
            <p:nvSpPr>
              <p:cNvPr id="475" name="Freeform: Shape 474">
                <a:extLst>
                  <a:ext uri="{FF2B5EF4-FFF2-40B4-BE49-F238E27FC236}">
                    <a16:creationId xmlns:a16="http://schemas.microsoft.com/office/drawing/2014/main" id="{A2A766AE-C51D-453D-8A3D-916A0EE5E93A}"/>
                  </a:ext>
                </a:extLst>
              </p:cNvPr>
              <p:cNvSpPr/>
              <p:nvPr/>
            </p:nvSpPr>
            <p:spPr>
              <a:xfrm>
                <a:off x="3295859" y="1035854"/>
                <a:ext cx="144865" cy="144866"/>
              </a:xfrm>
              <a:custGeom>
                <a:avLst/>
                <a:gdLst>
                  <a:gd name="connsiteX0" fmla="*/ 209550 w 209550"/>
                  <a:gd name="connsiteY0" fmla="*/ 104775 h 209550"/>
                  <a:gd name="connsiteX1" fmla="*/ 104775 w 209550"/>
                  <a:gd name="connsiteY1" fmla="*/ 209550 h 209550"/>
                  <a:gd name="connsiteX2" fmla="*/ 0 w 209550"/>
                  <a:gd name="connsiteY2" fmla="*/ 104775 h 209550"/>
                  <a:gd name="connsiteX3" fmla="*/ 104775 w 209550"/>
                  <a:gd name="connsiteY3" fmla="*/ 0 h 209550"/>
                  <a:gd name="connsiteX4" fmla="*/ 209550 w 209550"/>
                  <a:gd name="connsiteY4" fmla="*/ 104775 h 2095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9550" h="209550">
                    <a:moveTo>
                      <a:pt x="209550" y="104775"/>
                    </a:moveTo>
                    <a:cubicBezTo>
                      <a:pt x="209550" y="162641"/>
                      <a:pt x="162641" y="209550"/>
                      <a:pt x="104775" y="209550"/>
                    </a:cubicBezTo>
                    <a:cubicBezTo>
                      <a:pt x="46909" y="209550"/>
                      <a:pt x="0" y="162641"/>
                      <a:pt x="0" y="104775"/>
                    </a:cubicBezTo>
                    <a:cubicBezTo>
                      <a:pt x="0" y="46909"/>
                      <a:pt x="46909" y="0"/>
                      <a:pt x="104775" y="0"/>
                    </a:cubicBezTo>
                    <a:cubicBezTo>
                      <a:pt x="162641" y="0"/>
                      <a:pt x="209550" y="46909"/>
                      <a:pt x="209550" y="104775"/>
                    </a:cubicBezTo>
                    <a:close/>
                  </a:path>
                </a:pathLst>
              </a:custGeom>
              <a:solidFill>
                <a:schemeClr val="accent3"/>
              </a:solidFill>
              <a:ln>
                <a:noFill/>
              </a:ln>
            </p:spPr>
            <p:txBody>
              <a:bodyPr vert="horz" wrap="square" lIns="68570" tIns="34285" rIns="68570" bIns="34285" numCol="1" anchor="t" anchorCtr="0" compatLnSpc="1">
                <a:prstTxWarp prst="textNoShape">
                  <a:avLst/>
                </a:prstTxWarp>
              </a:bodyPr>
              <a:lstStyle/>
              <a:p>
                <a:pPr defTabSz="685669">
                  <a:defRPr/>
                </a:pPr>
                <a:endParaRPr lang="en-US" sz="1350">
                  <a:solidFill>
                    <a:srgbClr val="3C3C41"/>
                  </a:solidFill>
                  <a:latin typeface="Segoe UI"/>
                </a:endParaRPr>
              </a:p>
            </p:txBody>
          </p:sp>
          <p:sp>
            <p:nvSpPr>
              <p:cNvPr id="476" name="Freeform: Shape 475">
                <a:extLst>
                  <a:ext uri="{FF2B5EF4-FFF2-40B4-BE49-F238E27FC236}">
                    <a16:creationId xmlns:a16="http://schemas.microsoft.com/office/drawing/2014/main" id="{002F57F7-A2B0-47A6-BB04-F4849A088C4F}"/>
                  </a:ext>
                </a:extLst>
              </p:cNvPr>
              <p:cNvSpPr/>
              <p:nvPr/>
            </p:nvSpPr>
            <p:spPr>
              <a:xfrm>
                <a:off x="3256953" y="1200474"/>
                <a:ext cx="197544" cy="158035"/>
              </a:xfrm>
              <a:custGeom>
                <a:avLst/>
                <a:gdLst>
                  <a:gd name="connsiteX0" fmla="*/ 294403 w 285750"/>
                  <a:gd name="connsiteY0" fmla="*/ 53340 h 228600"/>
                  <a:gd name="connsiteX1" fmla="*/ 199153 w 285750"/>
                  <a:gd name="connsiteY1" fmla="*/ 0 h 228600"/>
                  <a:gd name="connsiteX2" fmla="*/ 121048 w 285750"/>
                  <a:gd name="connsiteY2" fmla="*/ 0 h 228600"/>
                  <a:gd name="connsiteX3" fmla="*/ 10558 w 285750"/>
                  <a:gd name="connsiteY3" fmla="*/ 98107 h 228600"/>
                  <a:gd name="connsiteX4" fmla="*/ 80 w 285750"/>
                  <a:gd name="connsiteY4" fmla="*/ 188595 h 228600"/>
                  <a:gd name="connsiteX5" fmla="*/ 18178 w 285750"/>
                  <a:gd name="connsiteY5" fmla="*/ 214313 h 228600"/>
                  <a:gd name="connsiteX6" fmla="*/ 160100 w 285750"/>
                  <a:gd name="connsiteY6" fmla="*/ 228600 h 228600"/>
                  <a:gd name="connsiteX7" fmla="*/ 233443 w 285750"/>
                  <a:gd name="connsiteY7" fmla="*/ 224790 h 228600"/>
                  <a:gd name="connsiteX8" fmla="*/ 242968 w 285750"/>
                  <a:gd name="connsiteY8" fmla="*/ 146685 h 228600"/>
                  <a:gd name="connsiteX9" fmla="*/ 294403 w 285750"/>
                  <a:gd name="connsiteY9" fmla="*/ 53340 h 228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85750" h="228600">
                    <a:moveTo>
                      <a:pt x="294403" y="53340"/>
                    </a:moveTo>
                    <a:cubicBezTo>
                      <a:pt x="275353" y="20955"/>
                      <a:pt x="239158" y="0"/>
                      <a:pt x="199153" y="0"/>
                    </a:cubicBezTo>
                    <a:lnTo>
                      <a:pt x="121048" y="0"/>
                    </a:lnTo>
                    <a:cubicBezTo>
                      <a:pt x="64850" y="0"/>
                      <a:pt x="17225" y="41910"/>
                      <a:pt x="10558" y="98107"/>
                    </a:cubicBezTo>
                    <a:lnTo>
                      <a:pt x="80" y="188595"/>
                    </a:lnTo>
                    <a:cubicBezTo>
                      <a:pt x="-872" y="200025"/>
                      <a:pt x="6748" y="211455"/>
                      <a:pt x="18178" y="214313"/>
                    </a:cubicBezTo>
                    <a:cubicBezTo>
                      <a:pt x="62945" y="223838"/>
                      <a:pt x="110570" y="228600"/>
                      <a:pt x="160100" y="228600"/>
                    </a:cubicBezTo>
                    <a:cubicBezTo>
                      <a:pt x="184865" y="228600"/>
                      <a:pt x="209630" y="227648"/>
                      <a:pt x="233443" y="224790"/>
                    </a:cubicBezTo>
                    <a:lnTo>
                      <a:pt x="242968" y="146685"/>
                    </a:lnTo>
                    <a:cubicBezTo>
                      <a:pt x="248683" y="108585"/>
                      <a:pt x="267733" y="76200"/>
                      <a:pt x="294403" y="53340"/>
                    </a:cubicBezTo>
                    <a:close/>
                  </a:path>
                </a:pathLst>
              </a:custGeom>
              <a:solidFill>
                <a:schemeClr val="accent3"/>
              </a:solidFill>
              <a:ln>
                <a:noFill/>
              </a:ln>
            </p:spPr>
            <p:txBody>
              <a:bodyPr vert="horz" wrap="square" lIns="68570" tIns="34285" rIns="68570" bIns="34285" numCol="1" anchor="t" anchorCtr="0" compatLnSpc="1">
                <a:prstTxWarp prst="textNoShape">
                  <a:avLst/>
                </a:prstTxWarp>
              </a:bodyPr>
              <a:lstStyle/>
              <a:p>
                <a:pPr defTabSz="685669">
                  <a:defRPr/>
                </a:pPr>
                <a:endParaRPr lang="en-US" sz="1350">
                  <a:solidFill>
                    <a:srgbClr val="3C3C41"/>
                  </a:solidFill>
                  <a:latin typeface="Segoe UI"/>
                </a:endParaRPr>
              </a:p>
            </p:txBody>
          </p:sp>
          <p:sp>
            <p:nvSpPr>
              <p:cNvPr id="477" name="Freeform: Shape 476">
                <a:extLst>
                  <a:ext uri="{FF2B5EF4-FFF2-40B4-BE49-F238E27FC236}">
                    <a16:creationId xmlns:a16="http://schemas.microsoft.com/office/drawing/2014/main" id="{9C798D07-C6DB-48C7-B64D-5464DBCDAB64}"/>
                  </a:ext>
                </a:extLst>
              </p:cNvPr>
              <p:cNvSpPr/>
              <p:nvPr/>
            </p:nvSpPr>
            <p:spPr>
              <a:xfrm>
                <a:off x="3661974" y="1035854"/>
                <a:ext cx="144865" cy="144866"/>
              </a:xfrm>
              <a:custGeom>
                <a:avLst/>
                <a:gdLst>
                  <a:gd name="connsiteX0" fmla="*/ 209550 w 209550"/>
                  <a:gd name="connsiteY0" fmla="*/ 104775 h 209550"/>
                  <a:gd name="connsiteX1" fmla="*/ 104775 w 209550"/>
                  <a:gd name="connsiteY1" fmla="*/ 209550 h 209550"/>
                  <a:gd name="connsiteX2" fmla="*/ 0 w 209550"/>
                  <a:gd name="connsiteY2" fmla="*/ 104775 h 209550"/>
                  <a:gd name="connsiteX3" fmla="*/ 104775 w 209550"/>
                  <a:gd name="connsiteY3" fmla="*/ 0 h 209550"/>
                  <a:gd name="connsiteX4" fmla="*/ 209550 w 209550"/>
                  <a:gd name="connsiteY4" fmla="*/ 104775 h 2095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9550" h="209550">
                    <a:moveTo>
                      <a:pt x="209550" y="104775"/>
                    </a:moveTo>
                    <a:cubicBezTo>
                      <a:pt x="209550" y="162641"/>
                      <a:pt x="162641" y="209550"/>
                      <a:pt x="104775" y="209550"/>
                    </a:cubicBezTo>
                    <a:cubicBezTo>
                      <a:pt x="46909" y="209550"/>
                      <a:pt x="0" y="162641"/>
                      <a:pt x="0" y="104775"/>
                    </a:cubicBezTo>
                    <a:cubicBezTo>
                      <a:pt x="0" y="46909"/>
                      <a:pt x="46909" y="0"/>
                      <a:pt x="104775" y="0"/>
                    </a:cubicBezTo>
                    <a:cubicBezTo>
                      <a:pt x="162641" y="0"/>
                      <a:pt x="209550" y="46909"/>
                      <a:pt x="209550" y="104775"/>
                    </a:cubicBezTo>
                    <a:close/>
                  </a:path>
                </a:pathLst>
              </a:custGeom>
              <a:solidFill>
                <a:schemeClr val="accent3"/>
              </a:solidFill>
              <a:ln>
                <a:noFill/>
              </a:ln>
            </p:spPr>
            <p:txBody>
              <a:bodyPr vert="horz" wrap="square" lIns="68570" tIns="34285" rIns="68570" bIns="34285" numCol="1" anchor="t" anchorCtr="0" compatLnSpc="1">
                <a:prstTxWarp prst="textNoShape">
                  <a:avLst/>
                </a:prstTxWarp>
              </a:bodyPr>
              <a:lstStyle/>
              <a:p>
                <a:pPr defTabSz="685669">
                  <a:defRPr/>
                </a:pPr>
                <a:endParaRPr lang="en-US" sz="1350">
                  <a:solidFill>
                    <a:srgbClr val="3C3C41"/>
                  </a:solidFill>
                  <a:latin typeface="Segoe UI"/>
                </a:endParaRPr>
              </a:p>
            </p:txBody>
          </p:sp>
          <p:sp>
            <p:nvSpPr>
              <p:cNvPr id="478" name="Freeform: Shape 477">
                <a:extLst>
                  <a:ext uri="{FF2B5EF4-FFF2-40B4-BE49-F238E27FC236}">
                    <a16:creationId xmlns:a16="http://schemas.microsoft.com/office/drawing/2014/main" id="{922FC9AE-8CE1-4336-84D0-29E2E0FDFDF4}"/>
                  </a:ext>
                </a:extLst>
              </p:cNvPr>
              <p:cNvSpPr/>
              <p:nvPr/>
            </p:nvSpPr>
            <p:spPr>
              <a:xfrm>
                <a:off x="3642219" y="1200474"/>
                <a:ext cx="197544" cy="151450"/>
              </a:xfrm>
              <a:custGeom>
                <a:avLst/>
                <a:gdLst>
                  <a:gd name="connsiteX0" fmla="*/ 133350 w 285750"/>
                  <a:gd name="connsiteY0" fmla="*/ 227648 h 219075"/>
                  <a:gd name="connsiteX1" fmla="*/ 275272 w 285750"/>
                  <a:gd name="connsiteY1" fmla="*/ 213360 h 219075"/>
                  <a:gd name="connsiteX2" fmla="*/ 293370 w 285750"/>
                  <a:gd name="connsiteY2" fmla="*/ 187643 h 219075"/>
                  <a:gd name="connsiteX3" fmla="*/ 282893 w 285750"/>
                  <a:gd name="connsiteY3" fmla="*/ 97155 h 219075"/>
                  <a:gd name="connsiteX4" fmla="*/ 172403 w 285750"/>
                  <a:gd name="connsiteY4" fmla="*/ 0 h 219075"/>
                  <a:gd name="connsiteX5" fmla="*/ 94297 w 285750"/>
                  <a:gd name="connsiteY5" fmla="*/ 0 h 219075"/>
                  <a:gd name="connsiteX6" fmla="*/ 0 w 285750"/>
                  <a:gd name="connsiteY6" fmla="*/ 53340 h 219075"/>
                  <a:gd name="connsiteX7" fmla="*/ 50482 w 285750"/>
                  <a:gd name="connsiteY7" fmla="*/ 146685 h 219075"/>
                  <a:gd name="connsiteX8" fmla="*/ 60007 w 285750"/>
                  <a:gd name="connsiteY8" fmla="*/ 224790 h 219075"/>
                  <a:gd name="connsiteX9" fmla="*/ 133350 w 285750"/>
                  <a:gd name="connsiteY9" fmla="*/ 227648 h 219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85750" h="219075">
                    <a:moveTo>
                      <a:pt x="133350" y="227648"/>
                    </a:moveTo>
                    <a:cubicBezTo>
                      <a:pt x="182880" y="227648"/>
                      <a:pt x="230505" y="222885"/>
                      <a:pt x="275272" y="213360"/>
                    </a:cubicBezTo>
                    <a:cubicBezTo>
                      <a:pt x="286703" y="210502"/>
                      <a:pt x="294322" y="200025"/>
                      <a:pt x="293370" y="187643"/>
                    </a:cubicBezTo>
                    <a:lnTo>
                      <a:pt x="282893" y="97155"/>
                    </a:lnTo>
                    <a:cubicBezTo>
                      <a:pt x="275272" y="41910"/>
                      <a:pt x="228600" y="0"/>
                      <a:pt x="172403" y="0"/>
                    </a:cubicBezTo>
                    <a:lnTo>
                      <a:pt x="94297" y="0"/>
                    </a:lnTo>
                    <a:cubicBezTo>
                      <a:pt x="54293" y="0"/>
                      <a:pt x="19050" y="20955"/>
                      <a:pt x="0" y="53340"/>
                    </a:cubicBezTo>
                    <a:cubicBezTo>
                      <a:pt x="27622" y="76200"/>
                      <a:pt x="46672" y="108585"/>
                      <a:pt x="50482" y="146685"/>
                    </a:cubicBezTo>
                    <a:lnTo>
                      <a:pt x="60007" y="224790"/>
                    </a:lnTo>
                    <a:cubicBezTo>
                      <a:pt x="83820" y="226695"/>
                      <a:pt x="108585" y="227648"/>
                      <a:pt x="133350" y="227648"/>
                    </a:cubicBezTo>
                    <a:close/>
                  </a:path>
                </a:pathLst>
              </a:custGeom>
              <a:solidFill>
                <a:schemeClr val="accent3"/>
              </a:solidFill>
              <a:ln>
                <a:noFill/>
              </a:ln>
            </p:spPr>
            <p:txBody>
              <a:bodyPr vert="horz" wrap="square" lIns="68570" tIns="34285" rIns="68570" bIns="34285" numCol="1" anchor="t" anchorCtr="0" compatLnSpc="1">
                <a:prstTxWarp prst="textNoShape">
                  <a:avLst/>
                </a:prstTxWarp>
              </a:bodyPr>
              <a:lstStyle/>
              <a:p>
                <a:pPr defTabSz="685669">
                  <a:defRPr/>
                </a:pPr>
                <a:endParaRPr lang="en-US" sz="1350">
                  <a:solidFill>
                    <a:srgbClr val="3C3C41"/>
                  </a:solidFill>
                  <a:latin typeface="Segoe UI"/>
                </a:endParaRPr>
              </a:p>
            </p:txBody>
          </p:sp>
          <p:sp>
            <p:nvSpPr>
              <p:cNvPr id="479" name="Freeform: Shape 478">
                <a:extLst>
                  <a:ext uri="{FF2B5EF4-FFF2-40B4-BE49-F238E27FC236}">
                    <a16:creationId xmlns:a16="http://schemas.microsoft.com/office/drawing/2014/main" id="{78A4F41E-9D5B-49F5-850B-52406B9110DA}"/>
                  </a:ext>
                </a:extLst>
              </p:cNvPr>
              <p:cNvSpPr/>
              <p:nvPr/>
            </p:nvSpPr>
            <p:spPr>
              <a:xfrm>
                <a:off x="3440662" y="1236691"/>
                <a:ext cx="217298" cy="158035"/>
              </a:xfrm>
              <a:custGeom>
                <a:avLst/>
                <a:gdLst>
                  <a:gd name="connsiteX0" fmla="*/ 199162 w 314325"/>
                  <a:gd name="connsiteY0" fmla="*/ 0 h 228600"/>
                  <a:gd name="connsiteX1" fmla="*/ 121057 w 314325"/>
                  <a:gd name="connsiteY1" fmla="*/ 0 h 228600"/>
                  <a:gd name="connsiteX2" fmla="*/ 10567 w 314325"/>
                  <a:gd name="connsiteY2" fmla="*/ 98107 h 228600"/>
                  <a:gd name="connsiteX3" fmla="*/ 90 w 314325"/>
                  <a:gd name="connsiteY3" fmla="*/ 188595 h 228600"/>
                  <a:gd name="connsiteX4" fmla="*/ 18187 w 314325"/>
                  <a:gd name="connsiteY4" fmla="*/ 214313 h 228600"/>
                  <a:gd name="connsiteX5" fmla="*/ 160110 w 314325"/>
                  <a:gd name="connsiteY5" fmla="*/ 228600 h 228600"/>
                  <a:gd name="connsiteX6" fmla="*/ 302032 w 314325"/>
                  <a:gd name="connsiteY6" fmla="*/ 214313 h 228600"/>
                  <a:gd name="connsiteX7" fmla="*/ 320130 w 314325"/>
                  <a:gd name="connsiteY7" fmla="*/ 188595 h 228600"/>
                  <a:gd name="connsiteX8" fmla="*/ 309652 w 314325"/>
                  <a:gd name="connsiteY8" fmla="*/ 98107 h 228600"/>
                  <a:gd name="connsiteX9" fmla="*/ 199162 w 314325"/>
                  <a:gd name="connsiteY9" fmla="*/ 0 h 228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14325" h="228600">
                    <a:moveTo>
                      <a:pt x="199162" y="0"/>
                    </a:moveTo>
                    <a:lnTo>
                      <a:pt x="121057" y="0"/>
                    </a:lnTo>
                    <a:cubicBezTo>
                      <a:pt x="64860" y="0"/>
                      <a:pt x="17235" y="41910"/>
                      <a:pt x="10567" y="98107"/>
                    </a:cubicBezTo>
                    <a:lnTo>
                      <a:pt x="90" y="188595"/>
                    </a:lnTo>
                    <a:cubicBezTo>
                      <a:pt x="-863" y="200025"/>
                      <a:pt x="5805" y="211455"/>
                      <a:pt x="18187" y="214313"/>
                    </a:cubicBezTo>
                    <a:cubicBezTo>
                      <a:pt x="62955" y="223838"/>
                      <a:pt x="110580" y="228600"/>
                      <a:pt x="160110" y="228600"/>
                    </a:cubicBezTo>
                    <a:cubicBezTo>
                      <a:pt x="209640" y="228600"/>
                      <a:pt x="257265" y="223838"/>
                      <a:pt x="302032" y="214313"/>
                    </a:cubicBezTo>
                    <a:cubicBezTo>
                      <a:pt x="313462" y="211455"/>
                      <a:pt x="321082" y="200977"/>
                      <a:pt x="320130" y="188595"/>
                    </a:cubicBezTo>
                    <a:lnTo>
                      <a:pt x="309652" y="98107"/>
                    </a:lnTo>
                    <a:cubicBezTo>
                      <a:pt x="302985" y="41910"/>
                      <a:pt x="255360" y="0"/>
                      <a:pt x="199162" y="0"/>
                    </a:cubicBezTo>
                    <a:close/>
                  </a:path>
                </a:pathLst>
              </a:custGeom>
              <a:solidFill>
                <a:schemeClr val="accent5"/>
              </a:solidFill>
              <a:ln>
                <a:noFill/>
              </a:ln>
            </p:spPr>
            <p:txBody>
              <a:bodyPr vert="horz" wrap="square" lIns="68570" tIns="34285" rIns="68570" bIns="34285" numCol="1" anchor="t" anchorCtr="0" compatLnSpc="1">
                <a:prstTxWarp prst="textNoShape">
                  <a:avLst/>
                </a:prstTxWarp>
                <a:noAutofit/>
              </a:bodyPr>
              <a:lstStyle/>
              <a:p>
                <a:pPr defTabSz="685669">
                  <a:defRPr/>
                </a:pPr>
                <a:endParaRPr lang="en-US" sz="1350">
                  <a:solidFill>
                    <a:srgbClr val="3C3C41"/>
                  </a:solidFill>
                  <a:latin typeface="Segoe UI"/>
                </a:endParaRPr>
              </a:p>
            </p:txBody>
          </p:sp>
          <p:sp>
            <p:nvSpPr>
              <p:cNvPr id="480" name="Freeform: Shape 479">
                <a:extLst>
                  <a:ext uri="{FF2B5EF4-FFF2-40B4-BE49-F238E27FC236}">
                    <a16:creationId xmlns:a16="http://schemas.microsoft.com/office/drawing/2014/main" id="{315AD5D6-6F20-4AA9-8ADF-5F3F5C15D34A}"/>
                  </a:ext>
                </a:extLst>
              </p:cNvPr>
              <p:cNvSpPr/>
              <p:nvPr/>
            </p:nvSpPr>
            <p:spPr>
              <a:xfrm>
                <a:off x="3478916" y="1072071"/>
                <a:ext cx="144865" cy="144866"/>
              </a:xfrm>
              <a:custGeom>
                <a:avLst/>
                <a:gdLst>
                  <a:gd name="connsiteX0" fmla="*/ 209550 w 209550"/>
                  <a:gd name="connsiteY0" fmla="*/ 104775 h 209550"/>
                  <a:gd name="connsiteX1" fmla="*/ 104775 w 209550"/>
                  <a:gd name="connsiteY1" fmla="*/ 209550 h 209550"/>
                  <a:gd name="connsiteX2" fmla="*/ 0 w 209550"/>
                  <a:gd name="connsiteY2" fmla="*/ 104775 h 209550"/>
                  <a:gd name="connsiteX3" fmla="*/ 104775 w 209550"/>
                  <a:gd name="connsiteY3" fmla="*/ 0 h 209550"/>
                  <a:gd name="connsiteX4" fmla="*/ 209550 w 209550"/>
                  <a:gd name="connsiteY4" fmla="*/ 104775 h 2095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9550" h="209550">
                    <a:moveTo>
                      <a:pt x="209550" y="104775"/>
                    </a:moveTo>
                    <a:cubicBezTo>
                      <a:pt x="209550" y="162641"/>
                      <a:pt x="162641" y="209550"/>
                      <a:pt x="104775" y="209550"/>
                    </a:cubicBezTo>
                    <a:cubicBezTo>
                      <a:pt x="46909" y="209550"/>
                      <a:pt x="0" y="162641"/>
                      <a:pt x="0" y="104775"/>
                    </a:cubicBezTo>
                    <a:cubicBezTo>
                      <a:pt x="0" y="46909"/>
                      <a:pt x="46909" y="0"/>
                      <a:pt x="104775" y="0"/>
                    </a:cubicBezTo>
                    <a:cubicBezTo>
                      <a:pt x="162641" y="0"/>
                      <a:pt x="209550" y="46909"/>
                      <a:pt x="209550" y="104775"/>
                    </a:cubicBezTo>
                    <a:close/>
                  </a:path>
                </a:pathLst>
              </a:custGeom>
              <a:solidFill>
                <a:schemeClr val="accent5"/>
              </a:solidFill>
              <a:ln>
                <a:noFill/>
              </a:ln>
            </p:spPr>
            <p:txBody>
              <a:bodyPr vert="horz" wrap="square" lIns="68570" tIns="34285" rIns="68570" bIns="34285" numCol="1" anchor="t" anchorCtr="0" compatLnSpc="1">
                <a:prstTxWarp prst="textNoShape">
                  <a:avLst/>
                </a:prstTxWarp>
                <a:noAutofit/>
              </a:bodyPr>
              <a:lstStyle/>
              <a:p>
                <a:pPr defTabSz="685669">
                  <a:defRPr/>
                </a:pPr>
                <a:endParaRPr lang="en-US" sz="1350">
                  <a:solidFill>
                    <a:srgbClr val="3C3C41"/>
                  </a:solidFill>
                  <a:latin typeface="Segoe UI"/>
                </a:endParaRPr>
              </a:p>
            </p:txBody>
          </p:sp>
        </p:grpSp>
      </p:grpSp>
      <p:sp>
        <p:nvSpPr>
          <p:cNvPr id="505" name="Rectangle 504">
            <a:extLst>
              <a:ext uri="{FF2B5EF4-FFF2-40B4-BE49-F238E27FC236}">
                <a16:creationId xmlns:a16="http://schemas.microsoft.com/office/drawing/2014/main" id="{4EE89637-A1F4-4D97-8FEB-89A3A204AE0C}"/>
              </a:ext>
            </a:extLst>
          </p:cNvPr>
          <p:cNvSpPr/>
          <p:nvPr/>
        </p:nvSpPr>
        <p:spPr>
          <a:xfrm>
            <a:off x="7386145" y="2764996"/>
            <a:ext cx="865793" cy="864158"/>
          </a:xfrm>
          <a:prstGeom prst="rect">
            <a:avLst/>
          </a:prstGeom>
        </p:spPr>
        <p:txBody>
          <a:bodyPr wrap="square" anchor="ctr">
            <a:noAutofit/>
          </a:bodyPr>
          <a:lstStyle/>
          <a:p>
            <a:pPr algn="ctr" defTabSz="685512">
              <a:defRPr/>
            </a:pPr>
            <a:r>
              <a:rPr lang="en-US" sz="750" kern="0" spc="-22">
                <a:solidFill>
                  <a:srgbClr val="0047BB"/>
                </a:solidFill>
                <a:latin typeface="Segoe UI Semibold"/>
                <a:cs typeface="Segoe UI" panose="020B0502040204020203" pitchFamily="34" charset="0"/>
              </a:rPr>
              <a:t>Systems of Engagement</a:t>
            </a:r>
          </a:p>
        </p:txBody>
      </p:sp>
      <p:cxnSp>
        <p:nvCxnSpPr>
          <p:cNvPr id="223" name="Straight Connector 222">
            <a:extLst>
              <a:ext uri="{FF2B5EF4-FFF2-40B4-BE49-F238E27FC236}">
                <a16:creationId xmlns:a16="http://schemas.microsoft.com/office/drawing/2014/main" id="{C1AD60A8-52A4-4C92-A36E-564CA1FAF4D7}"/>
              </a:ext>
            </a:extLst>
          </p:cNvPr>
          <p:cNvCxnSpPr>
            <a:cxnSpLocks/>
          </p:cNvCxnSpPr>
          <p:nvPr/>
        </p:nvCxnSpPr>
        <p:spPr>
          <a:xfrm>
            <a:off x="6367987" y="2181326"/>
            <a:ext cx="261122" cy="0"/>
          </a:xfrm>
          <a:prstGeom prst="line">
            <a:avLst/>
          </a:prstGeom>
          <a:noFill/>
          <a:ln w="12700" cap="rnd" cmpd="sng" algn="ctr">
            <a:solidFill>
              <a:schemeClr val="bg1">
                <a:lumMod val="75000"/>
              </a:schemeClr>
            </a:solidFill>
            <a:prstDash val="solid"/>
            <a:headEnd type="oval" w="sm" len="sm"/>
            <a:tailEnd type="oval" w="sm" len="sm"/>
          </a:ln>
          <a:effectLst/>
        </p:spPr>
      </p:cxnSp>
      <p:cxnSp>
        <p:nvCxnSpPr>
          <p:cNvPr id="512" name="Straight Connector 511">
            <a:extLst>
              <a:ext uri="{FF2B5EF4-FFF2-40B4-BE49-F238E27FC236}">
                <a16:creationId xmlns:a16="http://schemas.microsoft.com/office/drawing/2014/main" id="{B63EF6FF-113B-48E3-84EE-AFB782653836}"/>
              </a:ext>
            </a:extLst>
          </p:cNvPr>
          <p:cNvCxnSpPr>
            <a:cxnSpLocks/>
          </p:cNvCxnSpPr>
          <p:nvPr/>
        </p:nvCxnSpPr>
        <p:spPr>
          <a:xfrm>
            <a:off x="6367987" y="2928933"/>
            <a:ext cx="261122" cy="0"/>
          </a:xfrm>
          <a:prstGeom prst="line">
            <a:avLst/>
          </a:prstGeom>
          <a:noFill/>
          <a:ln w="12700" cap="rnd" cmpd="sng" algn="ctr">
            <a:solidFill>
              <a:schemeClr val="bg1">
                <a:lumMod val="75000"/>
              </a:schemeClr>
            </a:solidFill>
            <a:prstDash val="solid"/>
            <a:headEnd type="oval" w="sm" len="sm"/>
            <a:tailEnd type="oval" w="sm" len="sm"/>
          </a:ln>
          <a:effectLst/>
        </p:spPr>
      </p:cxnSp>
      <p:grpSp>
        <p:nvGrpSpPr>
          <p:cNvPr id="143" name="Group 142">
            <a:extLst>
              <a:ext uri="{FF2B5EF4-FFF2-40B4-BE49-F238E27FC236}">
                <a16:creationId xmlns:a16="http://schemas.microsoft.com/office/drawing/2014/main" id="{C171735F-2B17-4A06-AE45-BE5D08E7C0C8}"/>
              </a:ext>
            </a:extLst>
          </p:cNvPr>
          <p:cNvGrpSpPr/>
          <p:nvPr/>
        </p:nvGrpSpPr>
        <p:grpSpPr>
          <a:xfrm>
            <a:off x="4303544" y="2975672"/>
            <a:ext cx="388337" cy="388337"/>
            <a:chOff x="5796428" y="4132779"/>
            <a:chExt cx="517856" cy="517856"/>
          </a:xfrm>
        </p:grpSpPr>
        <p:sp>
          <p:nvSpPr>
            <p:cNvPr id="275" name="Oval 274">
              <a:extLst>
                <a:ext uri="{FF2B5EF4-FFF2-40B4-BE49-F238E27FC236}">
                  <a16:creationId xmlns:a16="http://schemas.microsoft.com/office/drawing/2014/main" id="{4F5250F4-10AB-4BBB-BB78-C3A4994EBE95}"/>
                </a:ext>
              </a:extLst>
            </p:cNvPr>
            <p:cNvSpPr/>
            <p:nvPr/>
          </p:nvSpPr>
          <p:spPr bwMode="auto">
            <a:xfrm>
              <a:off x="5796428" y="4132779"/>
              <a:ext cx="517856" cy="517856"/>
            </a:xfrm>
            <a:prstGeom prst="ellipse">
              <a:avLst/>
            </a:prstGeom>
            <a:solidFill>
              <a:schemeClr val="bg1"/>
            </a:solidFill>
            <a:ln w="19050">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1" tIns="109713" rIns="137141" bIns="109713" numCol="1" spcCol="0" rtlCol="0" fromWordArt="0" anchor="t" anchorCtr="0" forceAA="0" compatLnSpc="1">
              <a:prstTxWarp prst="textNoShape">
                <a:avLst/>
              </a:prstTxWarp>
              <a:noAutofit/>
            </a:bodyPr>
            <a:lstStyle/>
            <a:p>
              <a:pPr algn="ctr" defTabSz="699220" fontAlgn="base">
                <a:lnSpc>
                  <a:spcPct val="90000"/>
                </a:lnSpc>
                <a:spcBef>
                  <a:spcPct val="0"/>
                </a:spcBef>
                <a:spcAft>
                  <a:spcPct val="0"/>
                </a:spcAft>
                <a:defRPr/>
              </a:pPr>
              <a:endParaRPr lang="en-IN"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346" name="Enrich">
              <a:extLst>
                <a:ext uri="{FF2B5EF4-FFF2-40B4-BE49-F238E27FC236}">
                  <a16:creationId xmlns:a16="http://schemas.microsoft.com/office/drawing/2014/main" id="{DA3B2237-08F0-4C44-A9D8-9326610F3D9B}"/>
                </a:ext>
              </a:extLst>
            </p:cNvPr>
            <p:cNvGrpSpPr>
              <a:grpSpLocks noChangeAspect="1"/>
            </p:cNvGrpSpPr>
            <p:nvPr/>
          </p:nvGrpSpPr>
          <p:grpSpPr>
            <a:xfrm>
              <a:off x="5904027" y="4232771"/>
              <a:ext cx="283413" cy="320777"/>
              <a:chOff x="9068698" y="4467159"/>
              <a:chExt cx="670309" cy="804523"/>
            </a:xfrm>
          </p:grpSpPr>
          <p:grpSp>
            <p:nvGrpSpPr>
              <p:cNvPr id="408" name="Group 407">
                <a:extLst>
                  <a:ext uri="{FF2B5EF4-FFF2-40B4-BE49-F238E27FC236}">
                    <a16:creationId xmlns:a16="http://schemas.microsoft.com/office/drawing/2014/main" id="{CF73ABCB-9A1C-414A-88B3-1FB320951E65}"/>
                  </a:ext>
                </a:extLst>
              </p:cNvPr>
              <p:cNvGrpSpPr/>
              <p:nvPr/>
            </p:nvGrpSpPr>
            <p:grpSpPr>
              <a:xfrm>
                <a:off x="9191900" y="4467159"/>
                <a:ext cx="507427" cy="804523"/>
                <a:chOff x="9191900" y="4467159"/>
                <a:chExt cx="507427" cy="804523"/>
              </a:xfrm>
            </p:grpSpPr>
            <p:sp>
              <p:nvSpPr>
                <p:cNvPr id="412" name="Oval 411">
                  <a:extLst>
                    <a:ext uri="{FF2B5EF4-FFF2-40B4-BE49-F238E27FC236}">
                      <a16:creationId xmlns:a16="http://schemas.microsoft.com/office/drawing/2014/main" id="{7BEBEBD9-6825-4191-80A3-91937D3433D2}"/>
                    </a:ext>
                  </a:extLst>
                </p:cNvPr>
                <p:cNvSpPr/>
                <p:nvPr/>
              </p:nvSpPr>
              <p:spPr bwMode="auto">
                <a:xfrm>
                  <a:off x="9522522" y="4860680"/>
                  <a:ext cx="176805" cy="183621"/>
                </a:xfrm>
                <a:prstGeom prst="ellipse">
                  <a:avLst/>
                </a:prstGeom>
                <a:solidFill>
                  <a:srgbClr val="FFFFFF"/>
                </a:solidFill>
                <a:ln w="19050" cap="flat" cmpd="sng" algn="ctr">
                  <a:solidFill>
                    <a:srgbClr val="30E5D0"/>
                  </a:solidFill>
                  <a:prstDash val="solid"/>
                </a:ln>
                <a:effectLst/>
              </p:spPr>
              <p:txBody>
                <a:bodyPr spcFirstLastPara="0" vert="horz" wrap="square" lIns="93077" tIns="93077" rIns="93077" bIns="93077" numCol="1" spcCol="1270" anchor="ctr" anchorCtr="0">
                  <a:noAutofit/>
                </a:bodyPr>
                <a:lstStyle/>
                <a:p>
                  <a:pPr algn="ctr" defTabSz="1019832">
                    <a:lnSpc>
                      <a:spcPct val="90000"/>
                    </a:lnSpc>
                    <a:spcBef>
                      <a:spcPct val="0"/>
                    </a:spcBef>
                    <a:spcAft>
                      <a:spcPct val="35000"/>
                    </a:spcAft>
                    <a:defRPr/>
                  </a:pPr>
                  <a:endParaRPr lang="en-US" sz="2295" kern="0">
                    <a:solidFill>
                      <a:srgbClr val="FFFFFF"/>
                    </a:solidFill>
                    <a:latin typeface="Segoe UI"/>
                  </a:endParaRPr>
                </a:p>
              </p:txBody>
            </p:sp>
            <p:sp>
              <p:nvSpPr>
                <p:cNvPr id="413" name="Oval 412">
                  <a:extLst>
                    <a:ext uri="{FF2B5EF4-FFF2-40B4-BE49-F238E27FC236}">
                      <a16:creationId xmlns:a16="http://schemas.microsoft.com/office/drawing/2014/main" id="{41DA2497-B983-4BBC-81C8-87B5EBCEA572}"/>
                    </a:ext>
                  </a:extLst>
                </p:cNvPr>
                <p:cNvSpPr/>
                <p:nvPr/>
              </p:nvSpPr>
              <p:spPr bwMode="auto">
                <a:xfrm>
                  <a:off x="9491824" y="4467159"/>
                  <a:ext cx="176805" cy="183621"/>
                </a:xfrm>
                <a:prstGeom prst="ellipse">
                  <a:avLst/>
                </a:prstGeom>
                <a:solidFill>
                  <a:srgbClr val="FFFFFF"/>
                </a:solidFill>
                <a:ln w="19050" cap="flat" cmpd="sng" algn="ctr">
                  <a:solidFill>
                    <a:srgbClr val="30E5D0"/>
                  </a:solidFill>
                  <a:prstDash val="solid"/>
                </a:ln>
                <a:effectLst/>
              </p:spPr>
              <p:txBody>
                <a:bodyPr spcFirstLastPara="0" vert="horz" wrap="square" lIns="93077" tIns="93077" rIns="93077" bIns="93077" numCol="1" spcCol="1270" anchor="ctr" anchorCtr="0">
                  <a:noAutofit/>
                </a:bodyPr>
                <a:lstStyle/>
                <a:p>
                  <a:pPr algn="ctr" defTabSz="1019832">
                    <a:lnSpc>
                      <a:spcPct val="90000"/>
                    </a:lnSpc>
                    <a:spcBef>
                      <a:spcPct val="0"/>
                    </a:spcBef>
                    <a:spcAft>
                      <a:spcPct val="35000"/>
                    </a:spcAft>
                    <a:defRPr/>
                  </a:pPr>
                  <a:endParaRPr lang="en-US" sz="2295" kern="0">
                    <a:solidFill>
                      <a:srgbClr val="FFFFFF"/>
                    </a:solidFill>
                    <a:latin typeface="Segoe UI"/>
                  </a:endParaRPr>
                </a:p>
              </p:txBody>
            </p:sp>
            <p:sp>
              <p:nvSpPr>
                <p:cNvPr id="414" name="Oval 413">
                  <a:extLst>
                    <a:ext uri="{FF2B5EF4-FFF2-40B4-BE49-F238E27FC236}">
                      <a16:creationId xmlns:a16="http://schemas.microsoft.com/office/drawing/2014/main" id="{F7CE228C-1604-4517-8F18-A3307D626B62}"/>
                    </a:ext>
                  </a:extLst>
                </p:cNvPr>
                <p:cNvSpPr/>
                <p:nvPr/>
              </p:nvSpPr>
              <p:spPr bwMode="auto">
                <a:xfrm>
                  <a:off x="9193820" y="4653824"/>
                  <a:ext cx="176804" cy="183623"/>
                </a:xfrm>
                <a:prstGeom prst="ellipse">
                  <a:avLst/>
                </a:prstGeom>
                <a:solidFill>
                  <a:srgbClr val="FFFFFF"/>
                </a:solidFill>
                <a:ln w="19050" cap="flat" cmpd="sng" algn="ctr">
                  <a:solidFill>
                    <a:srgbClr val="30E5D0"/>
                  </a:solidFill>
                  <a:prstDash val="solid"/>
                </a:ln>
                <a:effectLst/>
              </p:spPr>
              <p:txBody>
                <a:bodyPr spcFirstLastPara="0" vert="horz" wrap="square" lIns="93077" tIns="93077" rIns="93077" bIns="93077" numCol="1" spcCol="1270" anchor="ctr" anchorCtr="0">
                  <a:noAutofit/>
                </a:bodyPr>
                <a:lstStyle/>
                <a:p>
                  <a:pPr algn="ctr" defTabSz="1019832">
                    <a:lnSpc>
                      <a:spcPct val="90000"/>
                    </a:lnSpc>
                    <a:spcBef>
                      <a:spcPct val="0"/>
                    </a:spcBef>
                    <a:spcAft>
                      <a:spcPct val="35000"/>
                    </a:spcAft>
                    <a:defRPr/>
                  </a:pPr>
                  <a:endParaRPr lang="en-US" sz="2295" kern="0">
                    <a:solidFill>
                      <a:srgbClr val="FFFFFF"/>
                    </a:solidFill>
                    <a:latin typeface="Segoe UI"/>
                  </a:endParaRPr>
                </a:p>
              </p:txBody>
            </p:sp>
            <p:sp>
              <p:nvSpPr>
                <p:cNvPr id="415" name="Oval 414">
                  <a:extLst>
                    <a:ext uri="{FF2B5EF4-FFF2-40B4-BE49-F238E27FC236}">
                      <a16:creationId xmlns:a16="http://schemas.microsoft.com/office/drawing/2014/main" id="{B1D0CE7C-DF16-439B-84A9-2C3C0A7C69E7}"/>
                    </a:ext>
                  </a:extLst>
                </p:cNvPr>
                <p:cNvSpPr/>
                <p:nvPr/>
              </p:nvSpPr>
              <p:spPr bwMode="auto">
                <a:xfrm>
                  <a:off x="9191900" y="5088061"/>
                  <a:ext cx="176805" cy="183621"/>
                </a:xfrm>
                <a:prstGeom prst="ellipse">
                  <a:avLst/>
                </a:prstGeom>
                <a:solidFill>
                  <a:srgbClr val="FFFFFF"/>
                </a:solidFill>
                <a:ln w="19050" cap="flat" cmpd="sng" algn="ctr">
                  <a:solidFill>
                    <a:srgbClr val="30E5D0"/>
                  </a:solidFill>
                  <a:prstDash val="solid"/>
                </a:ln>
                <a:effectLst/>
              </p:spPr>
              <p:txBody>
                <a:bodyPr spcFirstLastPara="0" vert="horz" wrap="square" lIns="93077" tIns="93077" rIns="93077" bIns="93077" numCol="1" spcCol="1270" anchor="ctr" anchorCtr="0">
                  <a:noAutofit/>
                </a:bodyPr>
                <a:lstStyle/>
                <a:p>
                  <a:pPr algn="ctr" defTabSz="1019832">
                    <a:lnSpc>
                      <a:spcPct val="90000"/>
                    </a:lnSpc>
                    <a:spcBef>
                      <a:spcPct val="0"/>
                    </a:spcBef>
                    <a:spcAft>
                      <a:spcPct val="35000"/>
                    </a:spcAft>
                    <a:defRPr/>
                  </a:pPr>
                  <a:endParaRPr lang="en-US" sz="2295" kern="0">
                    <a:solidFill>
                      <a:srgbClr val="FFFFFF"/>
                    </a:solidFill>
                    <a:latin typeface="Segoe UI"/>
                  </a:endParaRPr>
                </a:p>
              </p:txBody>
            </p:sp>
            <p:cxnSp>
              <p:nvCxnSpPr>
                <p:cNvPr id="416" name="Straight Arrow Connector 415">
                  <a:extLst>
                    <a:ext uri="{FF2B5EF4-FFF2-40B4-BE49-F238E27FC236}">
                      <a16:creationId xmlns:a16="http://schemas.microsoft.com/office/drawing/2014/main" id="{8EB43922-CA9A-455E-9649-6A1CAD63DF13}"/>
                    </a:ext>
                  </a:extLst>
                </p:cNvPr>
                <p:cNvCxnSpPr>
                  <a:stCxn id="412" idx="0"/>
                  <a:endCxn id="413" idx="4"/>
                </p:cNvCxnSpPr>
                <p:nvPr/>
              </p:nvCxnSpPr>
              <p:spPr>
                <a:xfrm flipH="1" flipV="1">
                  <a:off x="9580227" y="4650780"/>
                  <a:ext cx="30698" cy="209900"/>
                </a:xfrm>
                <a:prstGeom prst="straightConnector1">
                  <a:avLst/>
                </a:prstGeom>
                <a:noFill/>
                <a:ln w="19050" cap="flat" cmpd="sng" algn="ctr">
                  <a:solidFill>
                    <a:srgbClr val="30E5D0"/>
                  </a:solidFill>
                  <a:prstDash val="sysDash"/>
                  <a:tailEnd type="triangle" w="sm" len="sm"/>
                </a:ln>
                <a:effectLst/>
              </p:spPr>
            </p:cxnSp>
            <p:cxnSp>
              <p:nvCxnSpPr>
                <p:cNvPr id="417" name="Straight Arrow Connector 416">
                  <a:extLst>
                    <a:ext uri="{FF2B5EF4-FFF2-40B4-BE49-F238E27FC236}">
                      <a16:creationId xmlns:a16="http://schemas.microsoft.com/office/drawing/2014/main" id="{59C7E456-3A83-47B1-9CEC-D397CC817F3C}"/>
                    </a:ext>
                  </a:extLst>
                </p:cNvPr>
                <p:cNvCxnSpPr>
                  <a:stCxn id="412" idx="1"/>
                  <a:endCxn id="414" idx="6"/>
                </p:cNvCxnSpPr>
                <p:nvPr/>
              </p:nvCxnSpPr>
              <p:spPr>
                <a:xfrm flipH="1" flipV="1">
                  <a:off x="9370624" y="4745636"/>
                  <a:ext cx="177790" cy="141935"/>
                </a:xfrm>
                <a:prstGeom prst="straightConnector1">
                  <a:avLst/>
                </a:prstGeom>
                <a:noFill/>
                <a:ln w="19050" cap="flat" cmpd="sng" algn="ctr">
                  <a:solidFill>
                    <a:srgbClr val="30E5D0"/>
                  </a:solidFill>
                  <a:prstDash val="sysDash"/>
                  <a:tailEnd type="triangle" w="sm" len="sm"/>
                </a:ln>
                <a:effectLst/>
              </p:spPr>
            </p:cxnSp>
            <p:cxnSp>
              <p:nvCxnSpPr>
                <p:cNvPr id="418" name="Straight Arrow Connector 417">
                  <a:extLst>
                    <a:ext uri="{FF2B5EF4-FFF2-40B4-BE49-F238E27FC236}">
                      <a16:creationId xmlns:a16="http://schemas.microsoft.com/office/drawing/2014/main" id="{49ED6119-C9D5-41D3-8233-DA4D15642EDF}"/>
                    </a:ext>
                  </a:extLst>
                </p:cNvPr>
                <p:cNvCxnSpPr>
                  <a:stCxn id="412" idx="3"/>
                  <a:endCxn id="415" idx="6"/>
                </p:cNvCxnSpPr>
                <p:nvPr/>
              </p:nvCxnSpPr>
              <p:spPr>
                <a:xfrm flipH="1">
                  <a:off x="9368706" y="5017410"/>
                  <a:ext cx="179709" cy="162461"/>
                </a:xfrm>
                <a:prstGeom prst="straightConnector1">
                  <a:avLst/>
                </a:prstGeom>
                <a:noFill/>
                <a:ln w="19050" cap="flat" cmpd="sng" algn="ctr">
                  <a:solidFill>
                    <a:srgbClr val="30E5D0"/>
                  </a:solidFill>
                  <a:prstDash val="sysDash"/>
                  <a:tailEnd type="triangle" w="sm" len="sm"/>
                </a:ln>
                <a:effectLst/>
              </p:spPr>
            </p:cxnSp>
          </p:grpSp>
          <p:grpSp>
            <p:nvGrpSpPr>
              <p:cNvPr id="409" name="Magnifying_Glass">
                <a:extLst>
                  <a:ext uri="{FF2B5EF4-FFF2-40B4-BE49-F238E27FC236}">
                    <a16:creationId xmlns:a16="http://schemas.microsoft.com/office/drawing/2014/main" id="{EB7A7ED2-35D9-4CEC-A304-CE091CEBC6DE}"/>
                  </a:ext>
                </a:extLst>
              </p:cNvPr>
              <p:cNvGrpSpPr/>
              <p:nvPr/>
            </p:nvGrpSpPr>
            <p:grpSpPr>
              <a:xfrm>
                <a:off x="9068698" y="4495813"/>
                <a:ext cx="670309" cy="705286"/>
                <a:chOff x="5741782" y="1672511"/>
                <a:chExt cx="657225" cy="691519"/>
              </a:xfrm>
            </p:grpSpPr>
            <p:sp>
              <p:nvSpPr>
                <p:cNvPr id="410" name="Freeform: Shape 409">
                  <a:extLst>
                    <a:ext uri="{FF2B5EF4-FFF2-40B4-BE49-F238E27FC236}">
                      <a16:creationId xmlns:a16="http://schemas.microsoft.com/office/drawing/2014/main" id="{6238F9E5-7618-4156-AACD-18601AC9761D}"/>
                    </a:ext>
                  </a:extLst>
                </p:cNvPr>
                <p:cNvSpPr/>
                <p:nvPr/>
              </p:nvSpPr>
              <p:spPr>
                <a:xfrm>
                  <a:off x="5741782" y="1672511"/>
                  <a:ext cx="657225" cy="691519"/>
                </a:xfrm>
                <a:custGeom>
                  <a:avLst/>
                  <a:gdLst/>
                  <a:ahLst/>
                  <a:cxnLst/>
                  <a:rect l="0" t="0" r="0" b="0"/>
                  <a:pathLst>
                    <a:path w="657225" h="657225">
                      <a:moveTo>
                        <a:pt x="649248" y="579358"/>
                      </a:moveTo>
                      <a:lnTo>
                        <a:pt x="464463" y="395526"/>
                      </a:lnTo>
                      <a:cubicBezTo>
                        <a:pt x="459701" y="390763"/>
                        <a:pt x="453033" y="390763"/>
                        <a:pt x="448271" y="395526"/>
                      </a:cubicBezTo>
                      <a:lnTo>
                        <a:pt x="439698" y="404098"/>
                      </a:lnTo>
                      <a:lnTo>
                        <a:pt x="395883" y="360283"/>
                      </a:lnTo>
                      <a:cubicBezTo>
                        <a:pt x="464463" y="274558"/>
                        <a:pt x="458748" y="149781"/>
                        <a:pt x="379691" y="70723"/>
                      </a:cubicBezTo>
                      <a:cubicBezTo>
                        <a:pt x="294918" y="-14049"/>
                        <a:pt x="156806" y="-14049"/>
                        <a:pt x="71081" y="70723"/>
                      </a:cubicBezTo>
                      <a:cubicBezTo>
                        <a:pt x="-14644" y="155496"/>
                        <a:pt x="-13692" y="293608"/>
                        <a:pt x="71081" y="379333"/>
                      </a:cubicBezTo>
                      <a:cubicBezTo>
                        <a:pt x="150138" y="458391"/>
                        <a:pt x="274916" y="464106"/>
                        <a:pt x="360641" y="395526"/>
                      </a:cubicBezTo>
                      <a:lnTo>
                        <a:pt x="404456" y="439341"/>
                      </a:lnTo>
                      <a:lnTo>
                        <a:pt x="395883" y="447913"/>
                      </a:lnTo>
                      <a:cubicBezTo>
                        <a:pt x="391121" y="452676"/>
                        <a:pt x="391121" y="459343"/>
                        <a:pt x="395883" y="464106"/>
                      </a:cubicBezTo>
                      <a:lnTo>
                        <a:pt x="579716" y="647938"/>
                      </a:lnTo>
                      <a:cubicBezTo>
                        <a:pt x="584478" y="652701"/>
                        <a:pt x="591146" y="652701"/>
                        <a:pt x="595908" y="647938"/>
                      </a:cubicBezTo>
                      <a:lnTo>
                        <a:pt x="647343" y="596503"/>
                      </a:lnTo>
                      <a:cubicBezTo>
                        <a:pt x="653058" y="591741"/>
                        <a:pt x="653058" y="584121"/>
                        <a:pt x="649248" y="579358"/>
                      </a:cubicBezTo>
                      <a:close/>
                      <a:moveTo>
                        <a:pt x="104418" y="346948"/>
                      </a:moveTo>
                      <a:cubicBezTo>
                        <a:pt x="36791" y="279321"/>
                        <a:pt x="36791" y="170736"/>
                        <a:pt x="104418" y="103108"/>
                      </a:cubicBezTo>
                      <a:cubicBezTo>
                        <a:pt x="172046" y="35481"/>
                        <a:pt x="280631" y="35481"/>
                        <a:pt x="348258" y="103108"/>
                      </a:cubicBezTo>
                      <a:cubicBezTo>
                        <a:pt x="415886" y="170736"/>
                        <a:pt x="415886" y="279321"/>
                        <a:pt x="348258" y="346948"/>
                      </a:cubicBezTo>
                      <a:cubicBezTo>
                        <a:pt x="280631" y="414576"/>
                        <a:pt x="172046" y="414576"/>
                        <a:pt x="104418" y="346948"/>
                      </a:cubicBezTo>
                      <a:close/>
                    </a:path>
                  </a:pathLst>
                </a:custGeom>
                <a:solidFill>
                  <a:srgbClr val="3C3C41"/>
                </a:solidFill>
                <a:ln w="9525" cap="flat">
                  <a:noFill/>
                  <a:prstDash val="solid"/>
                  <a:miter/>
                </a:ln>
              </p:spPr>
              <p:txBody>
                <a:bodyPr/>
                <a:lstStyle/>
                <a:p>
                  <a:pPr defTabSz="699288">
                    <a:defRPr/>
                  </a:pPr>
                  <a:endParaRPr lang="en-US" sz="1350" kern="0">
                    <a:solidFill>
                      <a:srgbClr val="1A1A1A"/>
                    </a:solidFill>
                    <a:latin typeface="Segoe UI"/>
                  </a:endParaRPr>
                </a:p>
              </p:txBody>
            </p:sp>
            <p:sp>
              <p:nvSpPr>
                <p:cNvPr id="411" name="Freeform: Shape 410">
                  <a:extLst>
                    <a:ext uri="{FF2B5EF4-FFF2-40B4-BE49-F238E27FC236}">
                      <a16:creationId xmlns:a16="http://schemas.microsoft.com/office/drawing/2014/main" id="{380BACB9-F678-4FDA-88AD-F4056B5627E3}"/>
                    </a:ext>
                  </a:extLst>
                </p:cNvPr>
                <p:cNvSpPr/>
                <p:nvPr/>
              </p:nvSpPr>
              <p:spPr>
                <a:xfrm>
                  <a:off x="6128617" y="2121857"/>
                  <a:ext cx="266700" cy="238125"/>
                </a:xfrm>
                <a:custGeom>
                  <a:avLst/>
                  <a:gdLst/>
                  <a:ahLst/>
                  <a:cxnLst/>
                  <a:rect l="0" t="0" r="0" b="0"/>
                  <a:pathLst>
                    <a:path w="266700" h="238125">
                      <a:moveTo>
                        <a:pt x="10001" y="32861"/>
                      </a:moveTo>
                      <a:lnTo>
                        <a:pt x="35719" y="7144"/>
                      </a:lnTo>
                      <a:lnTo>
                        <a:pt x="214789" y="186214"/>
                      </a:lnTo>
                      <a:cubicBezTo>
                        <a:pt x="216694" y="188119"/>
                        <a:pt x="219551" y="188119"/>
                        <a:pt x="221456" y="186214"/>
                      </a:cubicBezTo>
                      <a:lnTo>
                        <a:pt x="251936" y="155734"/>
                      </a:lnTo>
                      <a:lnTo>
                        <a:pt x="261461" y="165259"/>
                      </a:lnTo>
                      <a:cubicBezTo>
                        <a:pt x="265271" y="169069"/>
                        <a:pt x="265271" y="175736"/>
                        <a:pt x="261461" y="180499"/>
                      </a:cubicBezTo>
                      <a:lnTo>
                        <a:pt x="208121" y="233839"/>
                      </a:lnTo>
                      <a:cubicBezTo>
                        <a:pt x="204311" y="237649"/>
                        <a:pt x="197644" y="237649"/>
                        <a:pt x="192881" y="233839"/>
                      </a:cubicBezTo>
                      <a:lnTo>
                        <a:pt x="10001" y="48101"/>
                      </a:lnTo>
                      <a:cubicBezTo>
                        <a:pt x="6191" y="44291"/>
                        <a:pt x="6191" y="36671"/>
                        <a:pt x="10001" y="32861"/>
                      </a:cubicBezTo>
                      <a:close/>
                    </a:path>
                  </a:pathLst>
                </a:custGeom>
                <a:solidFill>
                  <a:srgbClr val="75757A"/>
                </a:solidFill>
                <a:ln w="9525" cap="flat">
                  <a:noFill/>
                  <a:prstDash val="solid"/>
                  <a:miter/>
                </a:ln>
              </p:spPr>
              <p:txBody>
                <a:bodyPr/>
                <a:lstStyle/>
                <a:p>
                  <a:pPr defTabSz="699288">
                    <a:defRPr/>
                  </a:pPr>
                  <a:endParaRPr lang="en-US" sz="1350" kern="0">
                    <a:solidFill>
                      <a:srgbClr val="1A1A1A"/>
                    </a:solidFill>
                    <a:latin typeface="Segoe UI"/>
                  </a:endParaRPr>
                </a:p>
              </p:txBody>
            </p:sp>
          </p:grpSp>
        </p:grpSp>
      </p:grpSp>
      <p:grpSp>
        <p:nvGrpSpPr>
          <p:cNvPr id="528" name="Group 527">
            <a:extLst>
              <a:ext uri="{FF2B5EF4-FFF2-40B4-BE49-F238E27FC236}">
                <a16:creationId xmlns:a16="http://schemas.microsoft.com/office/drawing/2014/main" id="{B3043649-B125-418A-86AA-D6C113BA39EC}"/>
              </a:ext>
            </a:extLst>
          </p:cNvPr>
          <p:cNvGrpSpPr/>
          <p:nvPr/>
        </p:nvGrpSpPr>
        <p:grpSpPr>
          <a:xfrm>
            <a:off x="2669287" y="2975672"/>
            <a:ext cx="388337" cy="388337"/>
            <a:chOff x="3558688" y="4196279"/>
            <a:chExt cx="517856" cy="517856"/>
          </a:xfrm>
        </p:grpSpPr>
        <p:sp>
          <p:nvSpPr>
            <p:cNvPr id="274" name="Oval 273">
              <a:extLst>
                <a:ext uri="{FF2B5EF4-FFF2-40B4-BE49-F238E27FC236}">
                  <a16:creationId xmlns:a16="http://schemas.microsoft.com/office/drawing/2014/main" id="{19756CBE-0FBA-4479-A595-9476BAE69600}"/>
                </a:ext>
              </a:extLst>
            </p:cNvPr>
            <p:cNvSpPr/>
            <p:nvPr/>
          </p:nvSpPr>
          <p:spPr bwMode="auto">
            <a:xfrm>
              <a:off x="3558688" y="4196279"/>
              <a:ext cx="517856" cy="517856"/>
            </a:xfrm>
            <a:prstGeom prst="ellipse">
              <a:avLst/>
            </a:prstGeom>
            <a:solidFill>
              <a:schemeClr val="bg1"/>
            </a:solidFill>
            <a:ln w="19050">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1" tIns="109713" rIns="137141" bIns="109713" numCol="1" spcCol="0" rtlCol="0" fromWordArt="0" anchor="ctr" anchorCtr="0" forceAA="0" compatLnSpc="1">
              <a:prstTxWarp prst="textNoShape">
                <a:avLst/>
              </a:prstTxWarp>
              <a:noAutofit/>
            </a:bodyPr>
            <a:lstStyle/>
            <a:p>
              <a:pPr algn="ctr" defTabSz="699220" fontAlgn="base">
                <a:lnSpc>
                  <a:spcPct val="90000"/>
                </a:lnSpc>
                <a:spcBef>
                  <a:spcPct val="0"/>
                </a:spcBef>
                <a:spcAft>
                  <a:spcPct val="0"/>
                </a:spcAft>
                <a:defRPr/>
              </a:pPr>
              <a:endParaRPr lang="en-IN"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347" name="Conflate">
              <a:extLst>
                <a:ext uri="{FF2B5EF4-FFF2-40B4-BE49-F238E27FC236}">
                  <a16:creationId xmlns:a16="http://schemas.microsoft.com/office/drawing/2014/main" id="{8CA640BC-1572-4F74-B286-F2D02A911E28}"/>
                </a:ext>
              </a:extLst>
            </p:cNvPr>
            <p:cNvGrpSpPr>
              <a:grpSpLocks noChangeAspect="1"/>
            </p:cNvGrpSpPr>
            <p:nvPr/>
          </p:nvGrpSpPr>
          <p:grpSpPr>
            <a:xfrm>
              <a:off x="3630429" y="4254100"/>
              <a:ext cx="334511" cy="352427"/>
              <a:chOff x="10473743" y="3267133"/>
              <a:chExt cx="658812" cy="814388"/>
            </a:xfrm>
            <a:solidFill>
              <a:srgbClr val="75757A"/>
            </a:solidFill>
          </p:grpSpPr>
          <p:sp>
            <p:nvSpPr>
              <p:cNvPr id="387" name="Freeform 21">
                <a:extLst>
                  <a:ext uri="{FF2B5EF4-FFF2-40B4-BE49-F238E27FC236}">
                    <a16:creationId xmlns:a16="http://schemas.microsoft.com/office/drawing/2014/main" id="{21919909-D14D-4943-B573-99AA952FF100}"/>
                  </a:ext>
                </a:extLst>
              </p:cNvPr>
              <p:cNvSpPr>
                <a:spLocks/>
              </p:cNvSpPr>
              <p:nvPr/>
            </p:nvSpPr>
            <p:spPr bwMode="auto">
              <a:xfrm>
                <a:off x="10845218" y="3656070"/>
                <a:ext cx="103186" cy="104775"/>
              </a:xfrm>
              <a:custGeom>
                <a:avLst/>
                <a:gdLst>
                  <a:gd name="T0" fmla="*/ 35 w 37"/>
                  <a:gd name="T1" fmla="*/ 22 h 37"/>
                  <a:gd name="T2" fmla="*/ 15 w 37"/>
                  <a:gd name="T3" fmla="*/ 36 h 37"/>
                  <a:gd name="T4" fmla="*/ 1 w 37"/>
                  <a:gd name="T5" fmla="*/ 16 h 37"/>
                  <a:gd name="T6" fmla="*/ 21 w 37"/>
                  <a:gd name="T7" fmla="*/ 2 h 37"/>
                  <a:gd name="T8" fmla="*/ 35 w 37"/>
                  <a:gd name="T9" fmla="*/ 22 h 37"/>
                </a:gdLst>
                <a:ahLst/>
                <a:cxnLst>
                  <a:cxn ang="0">
                    <a:pos x="T0" y="T1"/>
                  </a:cxn>
                  <a:cxn ang="0">
                    <a:pos x="T2" y="T3"/>
                  </a:cxn>
                  <a:cxn ang="0">
                    <a:pos x="T4" y="T5"/>
                  </a:cxn>
                  <a:cxn ang="0">
                    <a:pos x="T6" y="T7"/>
                  </a:cxn>
                  <a:cxn ang="0">
                    <a:pos x="T8" y="T9"/>
                  </a:cxn>
                </a:cxnLst>
                <a:rect l="0" t="0" r="r" b="b"/>
                <a:pathLst>
                  <a:path w="37" h="37">
                    <a:moveTo>
                      <a:pt x="35" y="22"/>
                    </a:moveTo>
                    <a:cubicBezTo>
                      <a:pt x="34" y="31"/>
                      <a:pt x="25" y="37"/>
                      <a:pt x="15" y="36"/>
                    </a:cubicBezTo>
                    <a:cubicBezTo>
                      <a:pt x="6" y="34"/>
                      <a:pt x="0" y="25"/>
                      <a:pt x="1" y="16"/>
                    </a:cubicBezTo>
                    <a:cubicBezTo>
                      <a:pt x="3" y="7"/>
                      <a:pt x="12" y="0"/>
                      <a:pt x="21" y="2"/>
                    </a:cubicBezTo>
                    <a:cubicBezTo>
                      <a:pt x="30" y="4"/>
                      <a:pt x="37" y="12"/>
                      <a:pt x="35" y="22"/>
                    </a:cubicBezTo>
                    <a:close/>
                  </a:path>
                </a:pathLst>
              </a:custGeom>
              <a:solidFill>
                <a:srgbClr val="3C3C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85644">
                  <a:defRPr/>
                </a:pPr>
                <a:endParaRPr lang="en-US" sz="1324" kern="0">
                  <a:solidFill>
                    <a:srgbClr val="1A1A1A"/>
                  </a:solidFill>
                  <a:latin typeface="Segoe UI"/>
                </a:endParaRPr>
              </a:p>
            </p:txBody>
          </p:sp>
          <p:sp>
            <p:nvSpPr>
              <p:cNvPr id="388" name="Freeform 22">
                <a:extLst>
                  <a:ext uri="{FF2B5EF4-FFF2-40B4-BE49-F238E27FC236}">
                    <a16:creationId xmlns:a16="http://schemas.microsoft.com/office/drawing/2014/main" id="{D5B9739E-1519-47D2-BD25-E703436F7B6A}"/>
                  </a:ext>
                </a:extLst>
              </p:cNvPr>
              <p:cNvSpPr>
                <a:spLocks/>
              </p:cNvSpPr>
              <p:nvPr/>
            </p:nvSpPr>
            <p:spPr bwMode="auto">
              <a:xfrm>
                <a:off x="10811880" y="3852920"/>
                <a:ext cx="103187" cy="103188"/>
              </a:xfrm>
              <a:custGeom>
                <a:avLst/>
                <a:gdLst>
                  <a:gd name="T0" fmla="*/ 35 w 37"/>
                  <a:gd name="T1" fmla="*/ 21 h 37"/>
                  <a:gd name="T2" fmla="*/ 15 w 37"/>
                  <a:gd name="T3" fmla="*/ 35 h 37"/>
                  <a:gd name="T4" fmla="*/ 1 w 37"/>
                  <a:gd name="T5" fmla="*/ 16 h 37"/>
                  <a:gd name="T6" fmla="*/ 21 w 37"/>
                  <a:gd name="T7" fmla="*/ 2 h 37"/>
                  <a:gd name="T8" fmla="*/ 35 w 37"/>
                  <a:gd name="T9" fmla="*/ 21 h 37"/>
                </a:gdLst>
                <a:ahLst/>
                <a:cxnLst>
                  <a:cxn ang="0">
                    <a:pos x="T0" y="T1"/>
                  </a:cxn>
                  <a:cxn ang="0">
                    <a:pos x="T2" y="T3"/>
                  </a:cxn>
                  <a:cxn ang="0">
                    <a:pos x="T4" y="T5"/>
                  </a:cxn>
                  <a:cxn ang="0">
                    <a:pos x="T6" y="T7"/>
                  </a:cxn>
                  <a:cxn ang="0">
                    <a:pos x="T8" y="T9"/>
                  </a:cxn>
                </a:cxnLst>
                <a:rect l="0" t="0" r="r" b="b"/>
                <a:pathLst>
                  <a:path w="37" h="37">
                    <a:moveTo>
                      <a:pt x="35" y="21"/>
                    </a:moveTo>
                    <a:cubicBezTo>
                      <a:pt x="34" y="31"/>
                      <a:pt x="25" y="37"/>
                      <a:pt x="15" y="35"/>
                    </a:cubicBezTo>
                    <a:cubicBezTo>
                      <a:pt x="6" y="34"/>
                      <a:pt x="0" y="25"/>
                      <a:pt x="1" y="16"/>
                    </a:cubicBezTo>
                    <a:cubicBezTo>
                      <a:pt x="3" y="6"/>
                      <a:pt x="12" y="0"/>
                      <a:pt x="21" y="2"/>
                    </a:cubicBezTo>
                    <a:cubicBezTo>
                      <a:pt x="31" y="3"/>
                      <a:pt x="37" y="12"/>
                      <a:pt x="35"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85644">
                  <a:defRPr/>
                </a:pPr>
                <a:endParaRPr lang="en-US" sz="1324" kern="0">
                  <a:solidFill>
                    <a:srgbClr val="1A1A1A"/>
                  </a:solidFill>
                  <a:latin typeface="Segoe UI"/>
                </a:endParaRPr>
              </a:p>
            </p:txBody>
          </p:sp>
          <p:sp>
            <p:nvSpPr>
              <p:cNvPr id="389" name="Freeform 23">
                <a:extLst>
                  <a:ext uri="{FF2B5EF4-FFF2-40B4-BE49-F238E27FC236}">
                    <a16:creationId xmlns:a16="http://schemas.microsoft.com/office/drawing/2014/main" id="{F74F3E4A-B85D-4B3C-B9F9-81FE8401E2E9}"/>
                  </a:ext>
                </a:extLst>
              </p:cNvPr>
              <p:cNvSpPr>
                <a:spLocks/>
              </p:cNvSpPr>
              <p:nvPr/>
            </p:nvSpPr>
            <p:spPr bwMode="auto">
              <a:xfrm>
                <a:off x="10624555" y="3922770"/>
                <a:ext cx="103187" cy="103188"/>
              </a:xfrm>
              <a:custGeom>
                <a:avLst/>
                <a:gdLst>
                  <a:gd name="T0" fmla="*/ 36 w 37"/>
                  <a:gd name="T1" fmla="*/ 21 h 37"/>
                  <a:gd name="T2" fmla="*/ 16 w 37"/>
                  <a:gd name="T3" fmla="*/ 35 h 37"/>
                  <a:gd name="T4" fmla="*/ 2 w 37"/>
                  <a:gd name="T5" fmla="*/ 15 h 37"/>
                  <a:gd name="T6" fmla="*/ 22 w 37"/>
                  <a:gd name="T7" fmla="*/ 1 h 37"/>
                  <a:gd name="T8" fmla="*/ 36 w 37"/>
                  <a:gd name="T9" fmla="*/ 21 h 37"/>
                </a:gdLst>
                <a:ahLst/>
                <a:cxnLst>
                  <a:cxn ang="0">
                    <a:pos x="T0" y="T1"/>
                  </a:cxn>
                  <a:cxn ang="0">
                    <a:pos x="T2" y="T3"/>
                  </a:cxn>
                  <a:cxn ang="0">
                    <a:pos x="T4" y="T5"/>
                  </a:cxn>
                  <a:cxn ang="0">
                    <a:pos x="T6" y="T7"/>
                  </a:cxn>
                  <a:cxn ang="0">
                    <a:pos x="T8" y="T9"/>
                  </a:cxn>
                </a:cxnLst>
                <a:rect l="0" t="0" r="r" b="b"/>
                <a:pathLst>
                  <a:path w="37" h="37">
                    <a:moveTo>
                      <a:pt x="36" y="21"/>
                    </a:moveTo>
                    <a:cubicBezTo>
                      <a:pt x="34" y="30"/>
                      <a:pt x="25" y="37"/>
                      <a:pt x="16" y="35"/>
                    </a:cubicBezTo>
                    <a:cubicBezTo>
                      <a:pt x="7" y="33"/>
                      <a:pt x="0" y="25"/>
                      <a:pt x="2" y="15"/>
                    </a:cubicBezTo>
                    <a:cubicBezTo>
                      <a:pt x="4" y="6"/>
                      <a:pt x="12" y="0"/>
                      <a:pt x="22" y="1"/>
                    </a:cubicBezTo>
                    <a:cubicBezTo>
                      <a:pt x="31" y="3"/>
                      <a:pt x="37" y="12"/>
                      <a:pt x="36"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85644">
                  <a:defRPr/>
                </a:pPr>
                <a:endParaRPr lang="en-US" sz="1324" kern="0">
                  <a:solidFill>
                    <a:srgbClr val="1A1A1A"/>
                  </a:solidFill>
                  <a:latin typeface="Segoe UI"/>
                </a:endParaRPr>
              </a:p>
            </p:txBody>
          </p:sp>
          <p:sp>
            <p:nvSpPr>
              <p:cNvPr id="390" name="Freeform 24">
                <a:extLst>
                  <a:ext uri="{FF2B5EF4-FFF2-40B4-BE49-F238E27FC236}">
                    <a16:creationId xmlns:a16="http://schemas.microsoft.com/office/drawing/2014/main" id="{058472AB-3E0D-4608-8F3B-6D819D7FE224}"/>
                  </a:ext>
                </a:extLst>
              </p:cNvPr>
              <p:cNvSpPr>
                <a:spLocks/>
              </p:cNvSpPr>
              <p:nvPr/>
            </p:nvSpPr>
            <p:spPr bwMode="auto">
              <a:xfrm>
                <a:off x="10962693" y="3981508"/>
                <a:ext cx="103187" cy="100013"/>
              </a:xfrm>
              <a:custGeom>
                <a:avLst/>
                <a:gdLst>
                  <a:gd name="T0" fmla="*/ 36 w 37"/>
                  <a:gd name="T1" fmla="*/ 21 h 36"/>
                  <a:gd name="T2" fmla="*/ 16 w 37"/>
                  <a:gd name="T3" fmla="*/ 35 h 36"/>
                  <a:gd name="T4" fmla="*/ 2 w 37"/>
                  <a:gd name="T5" fmla="*/ 15 h 36"/>
                  <a:gd name="T6" fmla="*/ 22 w 37"/>
                  <a:gd name="T7" fmla="*/ 1 h 36"/>
                  <a:gd name="T8" fmla="*/ 36 w 37"/>
                  <a:gd name="T9" fmla="*/ 21 h 36"/>
                </a:gdLst>
                <a:ahLst/>
                <a:cxnLst>
                  <a:cxn ang="0">
                    <a:pos x="T0" y="T1"/>
                  </a:cxn>
                  <a:cxn ang="0">
                    <a:pos x="T2" y="T3"/>
                  </a:cxn>
                  <a:cxn ang="0">
                    <a:pos x="T4" y="T5"/>
                  </a:cxn>
                  <a:cxn ang="0">
                    <a:pos x="T6" y="T7"/>
                  </a:cxn>
                  <a:cxn ang="0">
                    <a:pos x="T8" y="T9"/>
                  </a:cxn>
                </a:cxnLst>
                <a:rect l="0" t="0" r="r" b="b"/>
                <a:pathLst>
                  <a:path w="37" h="36">
                    <a:moveTo>
                      <a:pt x="36" y="21"/>
                    </a:moveTo>
                    <a:cubicBezTo>
                      <a:pt x="34" y="30"/>
                      <a:pt x="25" y="36"/>
                      <a:pt x="16" y="35"/>
                    </a:cubicBezTo>
                    <a:cubicBezTo>
                      <a:pt x="7" y="33"/>
                      <a:pt x="0" y="24"/>
                      <a:pt x="2" y="15"/>
                    </a:cubicBezTo>
                    <a:cubicBezTo>
                      <a:pt x="4" y="6"/>
                      <a:pt x="12" y="0"/>
                      <a:pt x="22" y="1"/>
                    </a:cubicBezTo>
                    <a:cubicBezTo>
                      <a:pt x="31" y="3"/>
                      <a:pt x="37" y="12"/>
                      <a:pt x="36" y="21"/>
                    </a:cubicBezTo>
                    <a:close/>
                  </a:path>
                </a:pathLst>
              </a:custGeom>
              <a:solidFill>
                <a:srgbClr val="30E5D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85644">
                  <a:defRPr/>
                </a:pPr>
                <a:endParaRPr lang="en-US" sz="1324" kern="0">
                  <a:solidFill>
                    <a:srgbClr val="1A1A1A"/>
                  </a:solidFill>
                  <a:latin typeface="Segoe UI"/>
                </a:endParaRPr>
              </a:p>
            </p:txBody>
          </p:sp>
          <p:sp>
            <p:nvSpPr>
              <p:cNvPr id="391" name="Freeform 27">
                <a:extLst>
                  <a:ext uri="{FF2B5EF4-FFF2-40B4-BE49-F238E27FC236}">
                    <a16:creationId xmlns:a16="http://schemas.microsoft.com/office/drawing/2014/main" id="{35A3F84C-69F4-4F43-8830-78042B9B1CFC}"/>
                  </a:ext>
                </a:extLst>
              </p:cNvPr>
              <p:cNvSpPr>
                <a:spLocks/>
              </p:cNvSpPr>
              <p:nvPr/>
            </p:nvSpPr>
            <p:spPr bwMode="auto">
              <a:xfrm>
                <a:off x="10473743" y="3794183"/>
                <a:ext cx="103187" cy="103188"/>
              </a:xfrm>
              <a:custGeom>
                <a:avLst/>
                <a:gdLst>
                  <a:gd name="T0" fmla="*/ 35 w 37"/>
                  <a:gd name="T1" fmla="*/ 22 h 37"/>
                  <a:gd name="T2" fmla="*/ 15 w 37"/>
                  <a:gd name="T3" fmla="*/ 36 h 37"/>
                  <a:gd name="T4" fmla="*/ 1 w 37"/>
                  <a:gd name="T5" fmla="*/ 16 h 37"/>
                  <a:gd name="T6" fmla="*/ 21 w 37"/>
                  <a:gd name="T7" fmla="*/ 2 h 37"/>
                  <a:gd name="T8" fmla="*/ 35 w 37"/>
                  <a:gd name="T9" fmla="*/ 22 h 37"/>
                </a:gdLst>
                <a:ahLst/>
                <a:cxnLst>
                  <a:cxn ang="0">
                    <a:pos x="T0" y="T1"/>
                  </a:cxn>
                  <a:cxn ang="0">
                    <a:pos x="T2" y="T3"/>
                  </a:cxn>
                  <a:cxn ang="0">
                    <a:pos x="T4" y="T5"/>
                  </a:cxn>
                  <a:cxn ang="0">
                    <a:pos x="T6" y="T7"/>
                  </a:cxn>
                  <a:cxn ang="0">
                    <a:pos x="T8" y="T9"/>
                  </a:cxn>
                </a:cxnLst>
                <a:rect l="0" t="0" r="r" b="b"/>
                <a:pathLst>
                  <a:path w="37" h="37">
                    <a:moveTo>
                      <a:pt x="35" y="22"/>
                    </a:moveTo>
                    <a:cubicBezTo>
                      <a:pt x="34" y="31"/>
                      <a:pt x="25" y="37"/>
                      <a:pt x="15" y="36"/>
                    </a:cubicBezTo>
                    <a:cubicBezTo>
                      <a:pt x="6" y="34"/>
                      <a:pt x="0" y="25"/>
                      <a:pt x="1" y="16"/>
                    </a:cubicBezTo>
                    <a:cubicBezTo>
                      <a:pt x="3" y="7"/>
                      <a:pt x="12" y="0"/>
                      <a:pt x="21" y="2"/>
                    </a:cubicBezTo>
                    <a:cubicBezTo>
                      <a:pt x="30" y="4"/>
                      <a:pt x="37" y="12"/>
                      <a:pt x="35" y="2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85644">
                  <a:defRPr/>
                </a:pPr>
                <a:endParaRPr lang="en-US" sz="1324" kern="0">
                  <a:solidFill>
                    <a:srgbClr val="1A1A1A"/>
                  </a:solidFill>
                  <a:latin typeface="Segoe UI"/>
                </a:endParaRPr>
              </a:p>
            </p:txBody>
          </p:sp>
          <p:sp>
            <p:nvSpPr>
              <p:cNvPr id="392" name="Freeform 28">
                <a:extLst>
                  <a:ext uri="{FF2B5EF4-FFF2-40B4-BE49-F238E27FC236}">
                    <a16:creationId xmlns:a16="http://schemas.microsoft.com/office/drawing/2014/main" id="{AE4A4F76-ACFD-4260-A487-D9C04CA70496}"/>
                  </a:ext>
                </a:extLst>
              </p:cNvPr>
              <p:cNvSpPr>
                <a:spLocks/>
              </p:cNvSpPr>
              <p:nvPr/>
            </p:nvSpPr>
            <p:spPr bwMode="auto">
              <a:xfrm>
                <a:off x="10507080" y="3600508"/>
                <a:ext cx="103187" cy="103188"/>
              </a:xfrm>
              <a:custGeom>
                <a:avLst/>
                <a:gdLst>
                  <a:gd name="T0" fmla="*/ 35 w 37"/>
                  <a:gd name="T1" fmla="*/ 21 h 37"/>
                  <a:gd name="T2" fmla="*/ 15 w 37"/>
                  <a:gd name="T3" fmla="*/ 35 h 37"/>
                  <a:gd name="T4" fmla="*/ 1 w 37"/>
                  <a:gd name="T5" fmla="*/ 15 h 37"/>
                  <a:gd name="T6" fmla="*/ 21 w 37"/>
                  <a:gd name="T7" fmla="*/ 1 h 37"/>
                  <a:gd name="T8" fmla="*/ 35 w 37"/>
                  <a:gd name="T9" fmla="*/ 21 h 37"/>
                </a:gdLst>
                <a:ahLst/>
                <a:cxnLst>
                  <a:cxn ang="0">
                    <a:pos x="T0" y="T1"/>
                  </a:cxn>
                  <a:cxn ang="0">
                    <a:pos x="T2" y="T3"/>
                  </a:cxn>
                  <a:cxn ang="0">
                    <a:pos x="T4" y="T5"/>
                  </a:cxn>
                  <a:cxn ang="0">
                    <a:pos x="T6" y="T7"/>
                  </a:cxn>
                  <a:cxn ang="0">
                    <a:pos x="T8" y="T9"/>
                  </a:cxn>
                </a:cxnLst>
                <a:rect l="0" t="0" r="r" b="b"/>
                <a:pathLst>
                  <a:path w="37" h="37">
                    <a:moveTo>
                      <a:pt x="35" y="21"/>
                    </a:moveTo>
                    <a:cubicBezTo>
                      <a:pt x="34" y="30"/>
                      <a:pt x="25" y="37"/>
                      <a:pt x="15" y="35"/>
                    </a:cubicBezTo>
                    <a:cubicBezTo>
                      <a:pt x="6" y="33"/>
                      <a:pt x="0" y="25"/>
                      <a:pt x="1" y="15"/>
                    </a:cubicBezTo>
                    <a:cubicBezTo>
                      <a:pt x="3" y="6"/>
                      <a:pt x="12" y="0"/>
                      <a:pt x="21" y="1"/>
                    </a:cubicBezTo>
                    <a:cubicBezTo>
                      <a:pt x="30" y="3"/>
                      <a:pt x="37" y="12"/>
                      <a:pt x="35"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85644">
                  <a:defRPr/>
                </a:pPr>
                <a:endParaRPr lang="en-US" sz="1324" kern="0">
                  <a:solidFill>
                    <a:srgbClr val="1A1A1A"/>
                  </a:solidFill>
                  <a:latin typeface="Segoe UI"/>
                </a:endParaRPr>
              </a:p>
            </p:txBody>
          </p:sp>
          <p:sp>
            <p:nvSpPr>
              <p:cNvPr id="393" name="Freeform 29">
                <a:extLst>
                  <a:ext uri="{FF2B5EF4-FFF2-40B4-BE49-F238E27FC236}">
                    <a16:creationId xmlns:a16="http://schemas.microsoft.com/office/drawing/2014/main" id="{EE7EC030-8667-43F7-99A2-018D520A1324}"/>
                  </a:ext>
                </a:extLst>
              </p:cNvPr>
              <p:cNvSpPr>
                <a:spLocks/>
              </p:cNvSpPr>
              <p:nvPr/>
            </p:nvSpPr>
            <p:spPr bwMode="auto">
              <a:xfrm>
                <a:off x="11029368" y="3592570"/>
                <a:ext cx="103187" cy="103188"/>
              </a:xfrm>
              <a:custGeom>
                <a:avLst/>
                <a:gdLst>
                  <a:gd name="T0" fmla="*/ 35 w 37"/>
                  <a:gd name="T1" fmla="*/ 21 h 37"/>
                  <a:gd name="T2" fmla="*/ 16 w 37"/>
                  <a:gd name="T3" fmla="*/ 35 h 37"/>
                  <a:gd name="T4" fmla="*/ 2 w 37"/>
                  <a:gd name="T5" fmla="*/ 15 h 37"/>
                  <a:gd name="T6" fmla="*/ 22 w 37"/>
                  <a:gd name="T7" fmla="*/ 1 h 37"/>
                  <a:gd name="T8" fmla="*/ 35 w 37"/>
                  <a:gd name="T9" fmla="*/ 21 h 37"/>
                </a:gdLst>
                <a:ahLst/>
                <a:cxnLst>
                  <a:cxn ang="0">
                    <a:pos x="T0" y="T1"/>
                  </a:cxn>
                  <a:cxn ang="0">
                    <a:pos x="T2" y="T3"/>
                  </a:cxn>
                  <a:cxn ang="0">
                    <a:pos x="T4" y="T5"/>
                  </a:cxn>
                  <a:cxn ang="0">
                    <a:pos x="T6" y="T7"/>
                  </a:cxn>
                  <a:cxn ang="0">
                    <a:pos x="T8" y="T9"/>
                  </a:cxn>
                </a:cxnLst>
                <a:rect l="0" t="0" r="r" b="b"/>
                <a:pathLst>
                  <a:path w="37" h="37">
                    <a:moveTo>
                      <a:pt x="35" y="21"/>
                    </a:moveTo>
                    <a:cubicBezTo>
                      <a:pt x="34" y="31"/>
                      <a:pt x="25" y="37"/>
                      <a:pt x="16" y="35"/>
                    </a:cubicBezTo>
                    <a:cubicBezTo>
                      <a:pt x="6" y="34"/>
                      <a:pt x="0" y="25"/>
                      <a:pt x="2" y="15"/>
                    </a:cubicBezTo>
                    <a:cubicBezTo>
                      <a:pt x="3" y="6"/>
                      <a:pt x="12" y="0"/>
                      <a:pt x="22" y="1"/>
                    </a:cubicBezTo>
                    <a:cubicBezTo>
                      <a:pt x="31" y="3"/>
                      <a:pt x="37" y="12"/>
                      <a:pt x="35" y="21"/>
                    </a:cubicBezTo>
                    <a:close/>
                  </a:path>
                </a:pathLst>
              </a:custGeom>
              <a:solidFill>
                <a:srgbClr val="3C3C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85644">
                  <a:defRPr/>
                </a:pPr>
                <a:endParaRPr lang="en-US" sz="1324" kern="0">
                  <a:solidFill>
                    <a:srgbClr val="1A1A1A"/>
                  </a:solidFill>
                  <a:latin typeface="Segoe UI"/>
                </a:endParaRPr>
              </a:p>
            </p:txBody>
          </p:sp>
          <p:sp>
            <p:nvSpPr>
              <p:cNvPr id="394" name="Freeform 30">
                <a:extLst>
                  <a:ext uri="{FF2B5EF4-FFF2-40B4-BE49-F238E27FC236}">
                    <a16:creationId xmlns:a16="http://schemas.microsoft.com/office/drawing/2014/main" id="{2FAB98B4-0EF8-4675-AD66-5D2917C1F91B}"/>
                  </a:ext>
                </a:extLst>
              </p:cNvPr>
              <p:cNvSpPr>
                <a:spLocks/>
              </p:cNvSpPr>
              <p:nvPr/>
            </p:nvSpPr>
            <p:spPr bwMode="auto">
              <a:xfrm>
                <a:off x="10691230" y="3533833"/>
                <a:ext cx="103187" cy="103188"/>
              </a:xfrm>
              <a:custGeom>
                <a:avLst/>
                <a:gdLst>
                  <a:gd name="T0" fmla="*/ 35 w 37"/>
                  <a:gd name="T1" fmla="*/ 21 h 37"/>
                  <a:gd name="T2" fmla="*/ 16 w 37"/>
                  <a:gd name="T3" fmla="*/ 35 h 37"/>
                  <a:gd name="T4" fmla="*/ 2 w 37"/>
                  <a:gd name="T5" fmla="*/ 16 h 37"/>
                  <a:gd name="T6" fmla="*/ 21 w 37"/>
                  <a:gd name="T7" fmla="*/ 2 h 37"/>
                  <a:gd name="T8" fmla="*/ 35 w 37"/>
                  <a:gd name="T9" fmla="*/ 21 h 37"/>
                </a:gdLst>
                <a:ahLst/>
                <a:cxnLst>
                  <a:cxn ang="0">
                    <a:pos x="T0" y="T1"/>
                  </a:cxn>
                  <a:cxn ang="0">
                    <a:pos x="T2" y="T3"/>
                  </a:cxn>
                  <a:cxn ang="0">
                    <a:pos x="T4" y="T5"/>
                  </a:cxn>
                  <a:cxn ang="0">
                    <a:pos x="T6" y="T7"/>
                  </a:cxn>
                  <a:cxn ang="0">
                    <a:pos x="T8" y="T9"/>
                  </a:cxn>
                </a:cxnLst>
                <a:rect l="0" t="0" r="r" b="b"/>
                <a:pathLst>
                  <a:path w="37" h="37">
                    <a:moveTo>
                      <a:pt x="35" y="21"/>
                    </a:moveTo>
                    <a:cubicBezTo>
                      <a:pt x="34" y="31"/>
                      <a:pt x="25" y="37"/>
                      <a:pt x="16" y="35"/>
                    </a:cubicBezTo>
                    <a:cubicBezTo>
                      <a:pt x="6" y="34"/>
                      <a:pt x="0" y="25"/>
                      <a:pt x="2" y="16"/>
                    </a:cubicBezTo>
                    <a:cubicBezTo>
                      <a:pt x="3" y="6"/>
                      <a:pt x="12" y="0"/>
                      <a:pt x="21" y="2"/>
                    </a:cubicBezTo>
                    <a:cubicBezTo>
                      <a:pt x="31" y="3"/>
                      <a:pt x="37" y="12"/>
                      <a:pt x="35" y="21"/>
                    </a:cubicBezTo>
                    <a:close/>
                  </a:path>
                </a:pathLst>
              </a:custGeom>
              <a:solidFill>
                <a:srgbClr val="3C3C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85644">
                  <a:defRPr/>
                </a:pPr>
                <a:endParaRPr lang="en-US" sz="1324" kern="0">
                  <a:solidFill>
                    <a:srgbClr val="1A1A1A"/>
                  </a:solidFill>
                  <a:latin typeface="Segoe UI"/>
                </a:endParaRPr>
              </a:p>
            </p:txBody>
          </p:sp>
          <p:sp>
            <p:nvSpPr>
              <p:cNvPr id="395" name="Freeform 31">
                <a:extLst>
                  <a:ext uri="{FF2B5EF4-FFF2-40B4-BE49-F238E27FC236}">
                    <a16:creationId xmlns:a16="http://schemas.microsoft.com/office/drawing/2014/main" id="{C3E81DA9-4C61-4A19-85E5-47420EE4FC9D}"/>
                  </a:ext>
                </a:extLst>
              </p:cNvPr>
              <p:cNvSpPr>
                <a:spLocks/>
              </p:cNvSpPr>
              <p:nvPr/>
            </p:nvSpPr>
            <p:spPr bwMode="auto">
              <a:xfrm>
                <a:off x="10727743" y="3329045"/>
                <a:ext cx="100012" cy="103188"/>
              </a:xfrm>
              <a:custGeom>
                <a:avLst/>
                <a:gdLst>
                  <a:gd name="T0" fmla="*/ 35 w 36"/>
                  <a:gd name="T1" fmla="*/ 22 h 37"/>
                  <a:gd name="T2" fmla="*/ 15 w 36"/>
                  <a:gd name="T3" fmla="*/ 36 h 37"/>
                  <a:gd name="T4" fmla="*/ 1 w 36"/>
                  <a:gd name="T5" fmla="*/ 16 h 37"/>
                  <a:gd name="T6" fmla="*/ 21 w 36"/>
                  <a:gd name="T7" fmla="*/ 2 h 37"/>
                  <a:gd name="T8" fmla="*/ 35 w 36"/>
                  <a:gd name="T9" fmla="*/ 22 h 37"/>
                </a:gdLst>
                <a:ahLst/>
                <a:cxnLst>
                  <a:cxn ang="0">
                    <a:pos x="T0" y="T1"/>
                  </a:cxn>
                  <a:cxn ang="0">
                    <a:pos x="T2" y="T3"/>
                  </a:cxn>
                  <a:cxn ang="0">
                    <a:pos x="T4" y="T5"/>
                  </a:cxn>
                  <a:cxn ang="0">
                    <a:pos x="T6" y="T7"/>
                  </a:cxn>
                  <a:cxn ang="0">
                    <a:pos x="T8" y="T9"/>
                  </a:cxn>
                </a:cxnLst>
                <a:rect l="0" t="0" r="r" b="b"/>
                <a:pathLst>
                  <a:path w="36" h="37">
                    <a:moveTo>
                      <a:pt x="35" y="22"/>
                    </a:moveTo>
                    <a:cubicBezTo>
                      <a:pt x="33" y="31"/>
                      <a:pt x="24" y="37"/>
                      <a:pt x="15" y="36"/>
                    </a:cubicBezTo>
                    <a:cubicBezTo>
                      <a:pt x="6" y="34"/>
                      <a:pt x="0" y="25"/>
                      <a:pt x="1" y="16"/>
                    </a:cubicBezTo>
                    <a:cubicBezTo>
                      <a:pt x="3" y="7"/>
                      <a:pt x="12" y="0"/>
                      <a:pt x="21" y="2"/>
                    </a:cubicBezTo>
                    <a:cubicBezTo>
                      <a:pt x="30" y="4"/>
                      <a:pt x="36" y="13"/>
                      <a:pt x="35" y="22"/>
                    </a:cubicBezTo>
                    <a:close/>
                  </a:path>
                </a:pathLst>
              </a:custGeom>
              <a:solidFill>
                <a:srgbClr val="3C3C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85644">
                  <a:defRPr/>
                </a:pPr>
                <a:endParaRPr lang="en-US" sz="1324" kern="0">
                  <a:solidFill>
                    <a:srgbClr val="1A1A1A"/>
                  </a:solidFill>
                  <a:latin typeface="Segoe UI"/>
                </a:endParaRPr>
              </a:p>
            </p:txBody>
          </p:sp>
          <p:sp>
            <p:nvSpPr>
              <p:cNvPr id="396" name="Freeform 33">
                <a:extLst>
                  <a:ext uri="{FF2B5EF4-FFF2-40B4-BE49-F238E27FC236}">
                    <a16:creationId xmlns:a16="http://schemas.microsoft.com/office/drawing/2014/main" id="{D91AD3BB-5F4F-40F7-BB41-3E693E125F81}"/>
                  </a:ext>
                </a:extLst>
              </p:cNvPr>
              <p:cNvSpPr>
                <a:spLocks/>
              </p:cNvSpPr>
              <p:nvPr/>
            </p:nvSpPr>
            <p:spPr bwMode="auto">
              <a:xfrm>
                <a:off x="10911893" y="3267133"/>
                <a:ext cx="103187" cy="104775"/>
              </a:xfrm>
              <a:custGeom>
                <a:avLst/>
                <a:gdLst>
                  <a:gd name="T0" fmla="*/ 35 w 37"/>
                  <a:gd name="T1" fmla="*/ 21 h 37"/>
                  <a:gd name="T2" fmla="*/ 15 w 37"/>
                  <a:gd name="T3" fmla="*/ 35 h 37"/>
                  <a:gd name="T4" fmla="*/ 1 w 37"/>
                  <a:gd name="T5" fmla="*/ 15 h 37"/>
                  <a:gd name="T6" fmla="*/ 21 w 37"/>
                  <a:gd name="T7" fmla="*/ 1 h 37"/>
                  <a:gd name="T8" fmla="*/ 35 w 37"/>
                  <a:gd name="T9" fmla="*/ 21 h 37"/>
                </a:gdLst>
                <a:ahLst/>
                <a:cxnLst>
                  <a:cxn ang="0">
                    <a:pos x="T0" y="T1"/>
                  </a:cxn>
                  <a:cxn ang="0">
                    <a:pos x="T2" y="T3"/>
                  </a:cxn>
                  <a:cxn ang="0">
                    <a:pos x="T4" y="T5"/>
                  </a:cxn>
                  <a:cxn ang="0">
                    <a:pos x="T6" y="T7"/>
                  </a:cxn>
                  <a:cxn ang="0">
                    <a:pos x="T8" y="T9"/>
                  </a:cxn>
                </a:cxnLst>
                <a:rect l="0" t="0" r="r" b="b"/>
                <a:pathLst>
                  <a:path w="37" h="37">
                    <a:moveTo>
                      <a:pt x="35" y="21"/>
                    </a:moveTo>
                    <a:cubicBezTo>
                      <a:pt x="34" y="30"/>
                      <a:pt x="25" y="37"/>
                      <a:pt x="15" y="35"/>
                    </a:cubicBezTo>
                    <a:cubicBezTo>
                      <a:pt x="6" y="33"/>
                      <a:pt x="0" y="25"/>
                      <a:pt x="1" y="15"/>
                    </a:cubicBezTo>
                    <a:cubicBezTo>
                      <a:pt x="3" y="6"/>
                      <a:pt x="12" y="0"/>
                      <a:pt x="21" y="1"/>
                    </a:cubicBezTo>
                    <a:cubicBezTo>
                      <a:pt x="30" y="3"/>
                      <a:pt x="37" y="12"/>
                      <a:pt x="35" y="21"/>
                    </a:cubicBezTo>
                    <a:close/>
                  </a:path>
                </a:pathLst>
              </a:custGeom>
              <a:solidFill>
                <a:srgbClr val="3C3C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85644">
                  <a:defRPr/>
                </a:pPr>
                <a:endParaRPr lang="en-US" sz="1324" kern="0">
                  <a:solidFill>
                    <a:srgbClr val="1A1A1A"/>
                  </a:solidFill>
                  <a:latin typeface="Segoe UI"/>
                </a:endParaRPr>
              </a:p>
            </p:txBody>
          </p:sp>
          <p:sp>
            <p:nvSpPr>
              <p:cNvPr id="397" name="Freeform 34">
                <a:extLst>
                  <a:ext uri="{FF2B5EF4-FFF2-40B4-BE49-F238E27FC236}">
                    <a16:creationId xmlns:a16="http://schemas.microsoft.com/office/drawing/2014/main" id="{95B7CE12-8847-4A14-896B-072509A23AE3}"/>
                  </a:ext>
                </a:extLst>
              </p:cNvPr>
              <p:cNvSpPr>
                <a:spLocks/>
              </p:cNvSpPr>
              <p:nvPr/>
            </p:nvSpPr>
            <p:spPr bwMode="auto">
              <a:xfrm>
                <a:off x="10856330" y="3771958"/>
                <a:ext cx="47625" cy="69850"/>
              </a:xfrm>
              <a:custGeom>
                <a:avLst/>
                <a:gdLst>
                  <a:gd name="T0" fmla="*/ 23 w 30"/>
                  <a:gd name="T1" fmla="*/ 44 h 44"/>
                  <a:gd name="T2" fmla="*/ 0 w 30"/>
                  <a:gd name="T3" fmla="*/ 38 h 44"/>
                  <a:gd name="T4" fmla="*/ 7 w 30"/>
                  <a:gd name="T5" fmla="*/ 0 h 44"/>
                  <a:gd name="T6" fmla="*/ 30 w 30"/>
                  <a:gd name="T7" fmla="*/ 3 h 44"/>
                  <a:gd name="T8" fmla="*/ 23 w 30"/>
                  <a:gd name="T9" fmla="*/ 44 h 44"/>
                </a:gdLst>
                <a:ahLst/>
                <a:cxnLst>
                  <a:cxn ang="0">
                    <a:pos x="T0" y="T1"/>
                  </a:cxn>
                  <a:cxn ang="0">
                    <a:pos x="T2" y="T3"/>
                  </a:cxn>
                  <a:cxn ang="0">
                    <a:pos x="T4" y="T5"/>
                  </a:cxn>
                  <a:cxn ang="0">
                    <a:pos x="T6" y="T7"/>
                  </a:cxn>
                  <a:cxn ang="0">
                    <a:pos x="T8" y="T9"/>
                  </a:cxn>
                </a:cxnLst>
                <a:rect l="0" t="0" r="r" b="b"/>
                <a:pathLst>
                  <a:path w="30" h="44">
                    <a:moveTo>
                      <a:pt x="23" y="44"/>
                    </a:moveTo>
                    <a:lnTo>
                      <a:pt x="0" y="38"/>
                    </a:lnTo>
                    <a:lnTo>
                      <a:pt x="7" y="0"/>
                    </a:lnTo>
                    <a:lnTo>
                      <a:pt x="30" y="3"/>
                    </a:lnTo>
                    <a:lnTo>
                      <a:pt x="23" y="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85644">
                  <a:defRPr/>
                </a:pPr>
                <a:endParaRPr lang="en-US" sz="1324" kern="0">
                  <a:solidFill>
                    <a:srgbClr val="1A1A1A"/>
                  </a:solidFill>
                  <a:latin typeface="Segoe UI"/>
                </a:endParaRPr>
              </a:p>
            </p:txBody>
          </p:sp>
          <p:sp>
            <p:nvSpPr>
              <p:cNvPr id="398" name="Freeform 36">
                <a:extLst>
                  <a:ext uri="{FF2B5EF4-FFF2-40B4-BE49-F238E27FC236}">
                    <a16:creationId xmlns:a16="http://schemas.microsoft.com/office/drawing/2014/main" id="{54E03199-FC9F-43B1-8634-09ADD67B71F7}"/>
                  </a:ext>
                </a:extLst>
              </p:cNvPr>
              <p:cNvSpPr>
                <a:spLocks/>
              </p:cNvSpPr>
              <p:nvPr/>
            </p:nvSpPr>
            <p:spPr bwMode="auto">
              <a:xfrm>
                <a:off x="10518193" y="3713220"/>
                <a:ext cx="47625" cy="69850"/>
              </a:xfrm>
              <a:custGeom>
                <a:avLst/>
                <a:gdLst>
                  <a:gd name="T0" fmla="*/ 23 w 30"/>
                  <a:gd name="T1" fmla="*/ 44 h 44"/>
                  <a:gd name="T2" fmla="*/ 0 w 30"/>
                  <a:gd name="T3" fmla="*/ 40 h 44"/>
                  <a:gd name="T4" fmla="*/ 7 w 30"/>
                  <a:gd name="T5" fmla="*/ 0 h 44"/>
                  <a:gd name="T6" fmla="*/ 30 w 30"/>
                  <a:gd name="T7" fmla="*/ 3 h 44"/>
                  <a:gd name="T8" fmla="*/ 23 w 30"/>
                  <a:gd name="T9" fmla="*/ 44 h 44"/>
                </a:gdLst>
                <a:ahLst/>
                <a:cxnLst>
                  <a:cxn ang="0">
                    <a:pos x="T0" y="T1"/>
                  </a:cxn>
                  <a:cxn ang="0">
                    <a:pos x="T2" y="T3"/>
                  </a:cxn>
                  <a:cxn ang="0">
                    <a:pos x="T4" y="T5"/>
                  </a:cxn>
                  <a:cxn ang="0">
                    <a:pos x="T6" y="T7"/>
                  </a:cxn>
                  <a:cxn ang="0">
                    <a:pos x="T8" y="T9"/>
                  </a:cxn>
                </a:cxnLst>
                <a:rect l="0" t="0" r="r" b="b"/>
                <a:pathLst>
                  <a:path w="30" h="44">
                    <a:moveTo>
                      <a:pt x="23" y="44"/>
                    </a:moveTo>
                    <a:lnTo>
                      <a:pt x="0" y="40"/>
                    </a:lnTo>
                    <a:lnTo>
                      <a:pt x="7" y="0"/>
                    </a:lnTo>
                    <a:lnTo>
                      <a:pt x="30" y="3"/>
                    </a:lnTo>
                    <a:lnTo>
                      <a:pt x="23" y="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85644">
                  <a:defRPr/>
                </a:pPr>
                <a:endParaRPr lang="en-US" sz="1324" kern="0">
                  <a:solidFill>
                    <a:srgbClr val="1A1A1A"/>
                  </a:solidFill>
                  <a:latin typeface="Segoe UI"/>
                </a:endParaRPr>
              </a:p>
            </p:txBody>
          </p:sp>
          <p:sp>
            <p:nvSpPr>
              <p:cNvPr id="399" name="Freeform 37">
                <a:extLst>
                  <a:ext uri="{FF2B5EF4-FFF2-40B4-BE49-F238E27FC236}">
                    <a16:creationId xmlns:a16="http://schemas.microsoft.com/office/drawing/2014/main" id="{0AAD2E5D-CB92-4502-90F3-99B40DED722E}"/>
                  </a:ext>
                </a:extLst>
              </p:cNvPr>
              <p:cNvSpPr>
                <a:spLocks/>
              </p:cNvSpPr>
              <p:nvPr/>
            </p:nvSpPr>
            <p:spPr bwMode="auto">
              <a:xfrm>
                <a:off x="10786480" y="3614795"/>
                <a:ext cx="63500" cy="61913"/>
              </a:xfrm>
              <a:custGeom>
                <a:avLst/>
                <a:gdLst>
                  <a:gd name="T0" fmla="*/ 26 w 40"/>
                  <a:gd name="T1" fmla="*/ 39 h 39"/>
                  <a:gd name="T2" fmla="*/ 0 w 40"/>
                  <a:gd name="T3" fmla="*/ 18 h 39"/>
                  <a:gd name="T4" fmla="*/ 14 w 40"/>
                  <a:gd name="T5" fmla="*/ 0 h 39"/>
                  <a:gd name="T6" fmla="*/ 40 w 40"/>
                  <a:gd name="T7" fmla="*/ 21 h 39"/>
                  <a:gd name="T8" fmla="*/ 26 w 40"/>
                  <a:gd name="T9" fmla="*/ 39 h 39"/>
                </a:gdLst>
                <a:ahLst/>
                <a:cxnLst>
                  <a:cxn ang="0">
                    <a:pos x="T0" y="T1"/>
                  </a:cxn>
                  <a:cxn ang="0">
                    <a:pos x="T2" y="T3"/>
                  </a:cxn>
                  <a:cxn ang="0">
                    <a:pos x="T4" y="T5"/>
                  </a:cxn>
                  <a:cxn ang="0">
                    <a:pos x="T6" y="T7"/>
                  </a:cxn>
                  <a:cxn ang="0">
                    <a:pos x="T8" y="T9"/>
                  </a:cxn>
                </a:cxnLst>
                <a:rect l="0" t="0" r="r" b="b"/>
                <a:pathLst>
                  <a:path w="40" h="39">
                    <a:moveTo>
                      <a:pt x="26" y="39"/>
                    </a:moveTo>
                    <a:lnTo>
                      <a:pt x="0" y="18"/>
                    </a:lnTo>
                    <a:lnTo>
                      <a:pt x="14" y="0"/>
                    </a:lnTo>
                    <a:lnTo>
                      <a:pt x="40" y="21"/>
                    </a:lnTo>
                    <a:lnTo>
                      <a:pt x="26" y="39"/>
                    </a:lnTo>
                    <a:close/>
                  </a:path>
                </a:pathLst>
              </a:custGeom>
              <a:solidFill>
                <a:srgbClr val="3C3C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85644">
                  <a:defRPr/>
                </a:pPr>
                <a:endParaRPr lang="en-US" sz="1324" kern="0">
                  <a:solidFill>
                    <a:srgbClr val="1A1A1A"/>
                  </a:solidFill>
                  <a:latin typeface="Segoe UI"/>
                </a:endParaRPr>
              </a:p>
            </p:txBody>
          </p:sp>
          <p:sp>
            <p:nvSpPr>
              <p:cNvPr id="400" name="Freeform 38">
                <a:extLst>
                  <a:ext uri="{FF2B5EF4-FFF2-40B4-BE49-F238E27FC236}">
                    <a16:creationId xmlns:a16="http://schemas.microsoft.com/office/drawing/2014/main" id="{823FFDE5-D8CF-4F0E-A336-80CF9A1497C8}"/>
                  </a:ext>
                </a:extLst>
              </p:cNvPr>
              <p:cNvSpPr>
                <a:spLocks/>
              </p:cNvSpPr>
              <p:nvPr/>
            </p:nvSpPr>
            <p:spPr bwMode="auto">
              <a:xfrm>
                <a:off x="10959518" y="3651308"/>
                <a:ext cx="61912" cy="52388"/>
              </a:xfrm>
              <a:custGeom>
                <a:avLst/>
                <a:gdLst>
                  <a:gd name="T0" fmla="*/ 7 w 39"/>
                  <a:gd name="T1" fmla="*/ 33 h 33"/>
                  <a:gd name="T2" fmla="*/ 0 w 39"/>
                  <a:gd name="T3" fmla="*/ 10 h 33"/>
                  <a:gd name="T4" fmla="*/ 32 w 39"/>
                  <a:gd name="T5" fmla="*/ 0 h 33"/>
                  <a:gd name="T6" fmla="*/ 39 w 39"/>
                  <a:gd name="T7" fmla="*/ 21 h 33"/>
                  <a:gd name="T8" fmla="*/ 7 w 39"/>
                  <a:gd name="T9" fmla="*/ 33 h 33"/>
                </a:gdLst>
                <a:ahLst/>
                <a:cxnLst>
                  <a:cxn ang="0">
                    <a:pos x="T0" y="T1"/>
                  </a:cxn>
                  <a:cxn ang="0">
                    <a:pos x="T2" y="T3"/>
                  </a:cxn>
                  <a:cxn ang="0">
                    <a:pos x="T4" y="T5"/>
                  </a:cxn>
                  <a:cxn ang="0">
                    <a:pos x="T6" y="T7"/>
                  </a:cxn>
                  <a:cxn ang="0">
                    <a:pos x="T8" y="T9"/>
                  </a:cxn>
                </a:cxnLst>
                <a:rect l="0" t="0" r="r" b="b"/>
                <a:pathLst>
                  <a:path w="39" h="33">
                    <a:moveTo>
                      <a:pt x="7" y="33"/>
                    </a:moveTo>
                    <a:lnTo>
                      <a:pt x="0" y="10"/>
                    </a:lnTo>
                    <a:lnTo>
                      <a:pt x="32" y="0"/>
                    </a:lnTo>
                    <a:lnTo>
                      <a:pt x="39" y="21"/>
                    </a:lnTo>
                    <a:lnTo>
                      <a:pt x="7" y="33"/>
                    </a:lnTo>
                    <a:close/>
                  </a:path>
                </a:pathLst>
              </a:custGeom>
              <a:solidFill>
                <a:srgbClr val="3C3C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85644">
                  <a:defRPr/>
                </a:pPr>
                <a:endParaRPr lang="en-US" sz="1324" kern="0">
                  <a:solidFill>
                    <a:srgbClr val="1A1A1A"/>
                  </a:solidFill>
                  <a:latin typeface="Segoe UI"/>
                </a:endParaRPr>
              </a:p>
            </p:txBody>
          </p:sp>
          <p:sp>
            <p:nvSpPr>
              <p:cNvPr id="401" name="Freeform 39">
                <a:extLst>
                  <a:ext uri="{FF2B5EF4-FFF2-40B4-BE49-F238E27FC236}">
                    <a16:creationId xmlns:a16="http://schemas.microsoft.com/office/drawing/2014/main" id="{C896DF8A-74D6-4544-AE62-CA742E5473F7}"/>
                  </a:ext>
                </a:extLst>
              </p:cNvPr>
              <p:cNvSpPr>
                <a:spLocks/>
              </p:cNvSpPr>
              <p:nvPr/>
            </p:nvSpPr>
            <p:spPr bwMode="auto">
              <a:xfrm>
                <a:off x="10735680" y="3911658"/>
                <a:ext cx="65087" cy="52388"/>
              </a:xfrm>
              <a:custGeom>
                <a:avLst/>
                <a:gdLst>
                  <a:gd name="T0" fmla="*/ 9 w 41"/>
                  <a:gd name="T1" fmla="*/ 33 h 33"/>
                  <a:gd name="T2" fmla="*/ 0 w 41"/>
                  <a:gd name="T3" fmla="*/ 10 h 33"/>
                  <a:gd name="T4" fmla="*/ 32 w 41"/>
                  <a:gd name="T5" fmla="*/ 0 h 33"/>
                  <a:gd name="T6" fmla="*/ 41 w 41"/>
                  <a:gd name="T7" fmla="*/ 21 h 33"/>
                  <a:gd name="T8" fmla="*/ 9 w 41"/>
                  <a:gd name="T9" fmla="*/ 33 h 33"/>
                </a:gdLst>
                <a:ahLst/>
                <a:cxnLst>
                  <a:cxn ang="0">
                    <a:pos x="T0" y="T1"/>
                  </a:cxn>
                  <a:cxn ang="0">
                    <a:pos x="T2" y="T3"/>
                  </a:cxn>
                  <a:cxn ang="0">
                    <a:pos x="T4" y="T5"/>
                  </a:cxn>
                  <a:cxn ang="0">
                    <a:pos x="T6" y="T7"/>
                  </a:cxn>
                  <a:cxn ang="0">
                    <a:pos x="T8" y="T9"/>
                  </a:cxn>
                </a:cxnLst>
                <a:rect l="0" t="0" r="r" b="b"/>
                <a:pathLst>
                  <a:path w="41" h="33">
                    <a:moveTo>
                      <a:pt x="9" y="33"/>
                    </a:moveTo>
                    <a:lnTo>
                      <a:pt x="0" y="10"/>
                    </a:lnTo>
                    <a:lnTo>
                      <a:pt x="32" y="0"/>
                    </a:lnTo>
                    <a:lnTo>
                      <a:pt x="41" y="21"/>
                    </a:lnTo>
                    <a:lnTo>
                      <a:pt x="9" y="3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85644">
                  <a:defRPr/>
                </a:pPr>
                <a:endParaRPr lang="en-US" sz="1324" kern="0">
                  <a:solidFill>
                    <a:srgbClr val="1A1A1A"/>
                  </a:solidFill>
                  <a:latin typeface="Segoe UI"/>
                </a:endParaRPr>
              </a:p>
            </p:txBody>
          </p:sp>
          <p:sp>
            <p:nvSpPr>
              <p:cNvPr id="402" name="Freeform 42">
                <a:extLst>
                  <a:ext uri="{FF2B5EF4-FFF2-40B4-BE49-F238E27FC236}">
                    <a16:creationId xmlns:a16="http://schemas.microsoft.com/office/drawing/2014/main" id="{351DB683-8EA3-4F6F-B7BD-DAFE90890B2F}"/>
                  </a:ext>
                </a:extLst>
              </p:cNvPr>
              <p:cNvSpPr>
                <a:spLocks/>
              </p:cNvSpPr>
              <p:nvPr/>
            </p:nvSpPr>
            <p:spPr bwMode="auto">
              <a:xfrm>
                <a:off x="10907130" y="3937058"/>
                <a:ext cx="66675" cy="63500"/>
              </a:xfrm>
              <a:custGeom>
                <a:avLst/>
                <a:gdLst>
                  <a:gd name="T0" fmla="*/ 26 w 42"/>
                  <a:gd name="T1" fmla="*/ 40 h 40"/>
                  <a:gd name="T2" fmla="*/ 0 w 42"/>
                  <a:gd name="T3" fmla="*/ 19 h 40"/>
                  <a:gd name="T4" fmla="*/ 16 w 42"/>
                  <a:gd name="T5" fmla="*/ 0 h 40"/>
                  <a:gd name="T6" fmla="*/ 42 w 42"/>
                  <a:gd name="T7" fmla="*/ 21 h 40"/>
                  <a:gd name="T8" fmla="*/ 26 w 42"/>
                  <a:gd name="T9" fmla="*/ 40 h 40"/>
                </a:gdLst>
                <a:ahLst/>
                <a:cxnLst>
                  <a:cxn ang="0">
                    <a:pos x="T0" y="T1"/>
                  </a:cxn>
                  <a:cxn ang="0">
                    <a:pos x="T2" y="T3"/>
                  </a:cxn>
                  <a:cxn ang="0">
                    <a:pos x="T4" y="T5"/>
                  </a:cxn>
                  <a:cxn ang="0">
                    <a:pos x="T6" y="T7"/>
                  </a:cxn>
                  <a:cxn ang="0">
                    <a:pos x="T8" y="T9"/>
                  </a:cxn>
                </a:cxnLst>
                <a:rect l="0" t="0" r="r" b="b"/>
                <a:pathLst>
                  <a:path w="42" h="40">
                    <a:moveTo>
                      <a:pt x="26" y="40"/>
                    </a:moveTo>
                    <a:lnTo>
                      <a:pt x="0" y="19"/>
                    </a:lnTo>
                    <a:lnTo>
                      <a:pt x="16" y="0"/>
                    </a:lnTo>
                    <a:lnTo>
                      <a:pt x="42" y="21"/>
                    </a:lnTo>
                    <a:lnTo>
                      <a:pt x="26" y="40"/>
                    </a:lnTo>
                    <a:close/>
                  </a:path>
                </a:pathLst>
              </a:custGeom>
              <a:solidFill>
                <a:srgbClr val="30E5D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85644">
                  <a:defRPr/>
                </a:pPr>
                <a:endParaRPr lang="en-US" sz="1324" kern="0">
                  <a:solidFill>
                    <a:srgbClr val="1A1A1A"/>
                  </a:solidFill>
                  <a:latin typeface="Segoe UI"/>
                </a:endParaRPr>
              </a:p>
            </p:txBody>
          </p:sp>
          <p:sp>
            <p:nvSpPr>
              <p:cNvPr id="403" name="Freeform 43">
                <a:extLst>
                  <a:ext uri="{FF2B5EF4-FFF2-40B4-BE49-F238E27FC236}">
                    <a16:creationId xmlns:a16="http://schemas.microsoft.com/office/drawing/2014/main" id="{8DA64FC9-FB46-4790-8972-0EE2A48C1FA3}"/>
                  </a:ext>
                </a:extLst>
              </p:cNvPr>
              <p:cNvSpPr>
                <a:spLocks/>
              </p:cNvSpPr>
              <p:nvPr/>
            </p:nvSpPr>
            <p:spPr bwMode="auto">
              <a:xfrm>
                <a:off x="10618205" y="3592570"/>
                <a:ext cx="61912" cy="52388"/>
              </a:xfrm>
              <a:custGeom>
                <a:avLst/>
                <a:gdLst>
                  <a:gd name="T0" fmla="*/ 7 w 39"/>
                  <a:gd name="T1" fmla="*/ 33 h 33"/>
                  <a:gd name="T2" fmla="*/ 0 w 39"/>
                  <a:gd name="T3" fmla="*/ 10 h 33"/>
                  <a:gd name="T4" fmla="*/ 32 w 39"/>
                  <a:gd name="T5" fmla="*/ 0 h 33"/>
                  <a:gd name="T6" fmla="*/ 39 w 39"/>
                  <a:gd name="T7" fmla="*/ 21 h 33"/>
                  <a:gd name="T8" fmla="*/ 7 w 39"/>
                  <a:gd name="T9" fmla="*/ 33 h 33"/>
                </a:gdLst>
                <a:ahLst/>
                <a:cxnLst>
                  <a:cxn ang="0">
                    <a:pos x="T0" y="T1"/>
                  </a:cxn>
                  <a:cxn ang="0">
                    <a:pos x="T2" y="T3"/>
                  </a:cxn>
                  <a:cxn ang="0">
                    <a:pos x="T4" y="T5"/>
                  </a:cxn>
                  <a:cxn ang="0">
                    <a:pos x="T6" y="T7"/>
                  </a:cxn>
                  <a:cxn ang="0">
                    <a:pos x="T8" y="T9"/>
                  </a:cxn>
                </a:cxnLst>
                <a:rect l="0" t="0" r="r" b="b"/>
                <a:pathLst>
                  <a:path w="39" h="33">
                    <a:moveTo>
                      <a:pt x="7" y="33"/>
                    </a:moveTo>
                    <a:lnTo>
                      <a:pt x="0" y="10"/>
                    </a:lnTo>
                    <a:lnTo>
                      <a:pt x="32" y="0"/>
                    </a:lnTo>
                    <a:lnTo>
                      <a:pt x="39" y="21"/>
                    </a:lnTo>
                    <a:lnTo>
                      <a:pt x="7" y="3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85644">
                  <a:defRPr/>
                </a:pPr>
                <a:endParaRPr lang="en-US" sz="1324" kern="0">
                  <a:solidFill>
                    <a:srgbClr val="1A1A1A"/>
                  </a:solidFill>
                  <a:latin typeface="Segoe UI"/>
                </a:endParaRPr>
              </a:p>
            </p:txBody>
          </p:sp>
          <p:sp>
            <p:nvSpPr>
              <p:cNvPr id="404" name="Freeform 44">
                <a:extLst>
                  <a:ext uri="{FF2B5EF4-FFF2-40B4-BE49-F238E27FC236}">
                    <a16:creationId xmlns:a16="http://schemas.microsoft.com/office/drawing/2014/main" id="{0BA93C96-3914-42B4-B496-CDCBBF6E501C}"/>
                  </a:ext>
                </a:extLst>
              </p:cNvPr>
              <p:cNvSpPr>
                <a:spLocks/>
              </p:cNvSpPr>
              <p:nvPr/>
            </p:nvSpPr>
            <p:spPr bwMode="auto">
              <a:xfrm>
                <a:off x="10565818" y="3878320"/>
                <a:ext cx="66675" cy="63500"/>
              </a:xfrm>
              <a:custGeom>
                <a:avLst/>
                <a:gdLst>
                  <a:gd name="T0" fmla="*/ 26 w 42"/>
                  <a:gd name="T1" fmla="*/ 40 h 40"/>
                  <a:gd name="T2" fmla="*/ 0 w 42"/>
                  <a:gd name="T3" fmla="*/ 19 h 40"/>
                  <a:gd name="T4" fmla="*/ 16 w 42"/>
                  <a:gd name="T5" fmla="*/ 0 h 40"/>
                  <a:gd name="T6" fmla="*/ 42 w 42"/>
                  <a:gd name="T7" fmla="*/ 23 h 40"/>
                  <a:gd name="T8" fmla="*/ 26 w 42"/>
                  <a:gd name="T9" fmla="*/ 40 h 40"/>
                </a:gdLst>
                <a:ahLst/>
                <a:cxnLst>
                  <a:cxn ang="0">
                    <a:pos x="T0" y="T1"/>
                  </a:cxn>
                  <a:cxn ang="0">
                    <a:pos x="T2" y="T3"/>
                  </a:cxn>
                  <a:cxn ang="0">
                    <a:pos x="T4" y="T5"/>
                  </a:cxn>
                  <a:cxn ang="0">
                    <a:pos x="T6" y="T7"/>
                  </a:cxn>
                  <a:cxn ang="0">
                    <a:pos x="T8" y="T9"/>
                  </a:cxn>
                </a:cxnLst>
                <a:rect l="0" t="0" r="r" b="b"/>
                <a:pathLst>
                  <a:path w="42" h="40">
                    <a:moveTo>
                      <a:pt x="26" y="40"/>
                    </a:moveTo>
                    <a:lnTo>
                      <a:pt x="0" y="19"/>
                    </a:lnTo>
                    <a:lnTo>
                      <a:pt x="16" y="0"/>
                    </a:lnTo>
                    <a:lnTo>
                      <a:pt x="42" y="23"/>
                    </a:lnTo>
                    <a:lnTo>
                      <a:pt x="26" y="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85644">
                  <a:defRPr/>
                </a:pPr>
                <a:endParaRPr lang="en-US" sz="1324" kern="0">
                  <a:solidFill>
                    <a:srgbClr val="1A1A1A"/>
                  </a:solidFill>
                  <a:latin typeface="Segoe UI"/>
                </a:endParaRPr>
              </a:p>
            </p:txBody>
          </p:sp>
          <p:sp>
            <p:nvSpPr>
              <p:cNvPr id="405" name="Freeform 46">
                <a:extLst>
                  <a:ext uri="{FF2B5EF4-FFF2-40B4-BE49-F238E27FC236}">
                    <a16:creationId xmlns:a16="http://schemas.microsoft.com/office/drawing/2014/main" id="{ECB2C435-A228-4C12-94D5-549DEF757A05}"/>
                  </a:ext>
                </a:extLst>
              </p:cNvPr>
              <p:cNvSpPr>
                <a:spLocks/>
              </p:cNvSpPr>
              <p:nvPr/>
            </p:nvSpPr>
            <p:spPr bwMode="auto">
              <a:xfrm>
                <a:off x="10735680" y="3449695"/>
                <a:ext cx="47625" cy="69850"/>
              </a:xfrm>
              <a:custGeom>
                <a:avLst/>
                <a:gdLst>
                  <a:gd name="T0" fmla="*/ 23 w 30"/>
                  <a:gd name="T1" fmla="*/ 44 h 44"/>
                  <a:gd name="T2" fmla="*/ 0 w 30"/>
                  <a:gd name="T3" fmla="*/ 41 h 44"/>
                  <a:gd name="T4" fmla="*/ 7 w 30"/>
                  <a:gd name="T5" fmla="*/ 0 h 44"/>
                  <a:gd name="T6" fmla="*/ 30 w 30"/>
                  <a:gd name="T7" fmla="*/ 3 h 44"/>
                  <a:gd name="T8" fmla="*/ 23 w 30"/>
                  <a:gd name="T9" fmla="*/ 44 h 44"/>
                </a:gdLst>
                <a:ahLst/>
                <a:cxnLst>
                  <a:cxn ang="0">
                    <a:pos x="T0" y="T1"/>
                  </a:cxn>
                  <a:cxn ang="0">
                    <a:pos x="T2" y="T3"/>
                  </a:cxn>
                  <a:cxn ang="0">
                    <a:pos x="T4" y="T5"/>
                  </a:cxn>
                  <a:cxn ang="0">
                    <a:pos x="T6" y="T7"/>
                  </a:cxn>
                  <a:cxn ang="0">
                    <a:pos x="T8" y="T9"/>
                  </a:cxn>
                </a:cxnLst>
                <a:rect l="0" t="0" r="r" b="b"/>
                <a:pathLst>
                  <a:path w="30" h="44">
                    <a:moveTo>
                      <a:pt x="23" y="44"/>
                    </a:moveTo>
                    <a:lnTo>
                      <a:pt x="0" y="41"/>
                    </a:lnTo>
                    <a:lnTo>
                      <a:pt x="7" y="0"/>
                    </a:lnTo>
                    <a:lnTo>
                      <a:pt x="30" y="3"/>
                    </a:lnTo>
                    <a:lnTo>
                      <a:pt x="23" y="44"/>
                    </a:lnTo>
                    <a:close/>
                  </a:path>
                </a:pathLst>
              </a:custGeom>
              <a:solidFill>
                <a:srgbClr val="3C3C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85644">
                  <a:defRPr/>
                </a:pPr>
                <a:endParaRPr lang="en-US" sz="1324" kern="0">
                  <a:solidFill>
                    <a:srgbClr val="1A1A1A"/>
                  </a:solidFill>
                  <a:latin typeface="Segoe UI"/>
                </a:endParaRPr>
              </a:p>
            </p:txBody>
          </p:sp>
          <p:sp>
            <p:nvSpPr>
              <p:cNvPr id="406" name="Freeform 47">
                <a:extLst>
                  <a:ext uri="{FF2B5EF4-FFF2-40B4-BE49-F238E27FC236}">
                    <a16:creationId xmlns:a16="http://schemas.microsoft.com/office/drawing/2014/main" id="{F9F9AC5D-4C5A-4F9D-A6FC-170FDCC021D5}"/>
                  </a:ext>
                </a:extLst>
              </p:cNvPr>
              <p:cNvSpPr>
                <a:spLocks/>
              </p:cNvSpPr>
              <p:nvPr/>
            </p:nvSpPr>
            <p:spPr bwMode="auto">
              <a:xfrm>
                <a:off x="11013493" y="3343333"/>
                <a:ext cx="63500" cy="61913"/>
              </a:xfrm>
              <a:custGeom>
                <a:avLst/>
                <a:gdLst>
                  <a:gd name="T0" fmla="*/ 26 w 40"/>
                  <a:gd name="T1" fmla="*/ 39 h 39"/>
                  <a:gd name="T2" fmla="*/ 0 w 40"/>
                  <a:gd name="T3" fmla="*/ 18 h 39"/>
                  <a:gd name="T4" fmla="*/ 14 w 40"/>
                  <a:gd name="T5" fmla="*/ 0 h 39"/>
                  <a:gd name="T6" fmla="*/ 40 w 40"/>
                  <a:gd name="T7" fmla="*/ 21 h 39"/>
                  <a:gd name="T8" fmla="*/ 26 w 40"/>
                  <a:gd name="T9" fmla="*/ 39 h 39"/>
                </a:gdLst>
                <a:ahLst/>
                <a:cxnLst>
                  <a:cxn ang="0">
                    <a:pos x="T0" y="T1"/>
                  </a:cxn>
                  <a:cxn ang="0">
                    <a:pos x="T2" y="T3"/>
                  </a:cxn>
                  <a:cxn ang="0">
                    <a:pos x="T4" y="T5"/>
                  </a:cxn>
                  <a:cxn ang="0">
                    <a:pos x="T6" y="T7"/>
                  </a:cxn>
                  <a:cxn ang="0">
                    <a:pos x="T8" y="T9"/>
                  </a:cxn>
                </a:cxnLst>
                <a:rect l="0" t="0" r="r" b="b"/>
                <a:pathLst>
                  <a:path w="40" h="39">
                    <a:moveTo>
                      <a:pt x="26" y="39"/>
                    </a:moveTo>
                    <a:lnTo>
                      <a:pt x="0" y="18"/>
                    </a:lnTo>
                    <a:lnTo>
                      <a:pt x="14" y="0"/>
                    </a:lnTo>
                    <a:lnTo>
                      <a:pt x="40" y="21"/>
                    </a:lnTo>
                    <a:lnTo>
                      <a:pt x="26" y="39"/>
                    </a:lnTo>
                    <a:close/>
                  </a:path>
                </a:pathLst>
              </a:custGeom>
              <a:solidFill>
                <a:srgbClr val="3C3C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85644">
                  <a:defRPr/>
                </a:pPr>
                <a:endParaRPr lang="en-US" sz="1324" kern="0">
                  <a:solidFill>
                    <a:srgbClr val="1A1A1A"/>
                  </a:solidFill>
                  <a:latin typeface="Segoe UI"/>
                </a:endParaRPr>
              </a:p>
            </p:txBody>
          </p:sp>
          <p:sp>
            <p:nvSpPr>
              <p:cNvPr id="407" name="Freeform 48">
                <a:extLst>
                  <a:ext uri="{FF2B5EF4-FFF2-40B4-BE49-F238E27FC236}">
                    <a16:creationId xmlns:a16="http://schemas.microsoft.com/office/drawing/2014/main" id="{8F4BF8D5-C637-4B28-AFE2-7DE14A4CD77E}"/>
                  </a:ext>
                </a:extLst>
              </p:cNvPr>
              <p:cNvSpPr>
                <a:spLocks/>
              </p:cNvSpPr>
              <p:nvPr/>
            </p:nvSpPr>
            <p:spPr bwMode="auto">
              <a:xfrm>
                <a:off x="10838868" y="3321108"/>
                <a:ext cx="61912" cy="52388"/>
              </a:xfrm>
              <a:custGeom>
                <a:avLst/>
                <a:gdLst>
                  <a:gd name="T0" fmla="*/ 7 w 39"/>
                  <a:gd name="T1" fmla="*/ 33 h 33"/>
                  <a:gd name="T2" fmla="*/ 0 w 39"/>
                  <a:gd name="T3" fmla="*/ 10 h 33"/>
                  <a:gd name="T4" fmla="*/ 32 w 39"/>
                  <a:gd name="T5" fmla="*/ 0 h 33"/>
                  <a:gd name="T6" fmla="*/ 39 w 39"/>
                  <a:gd name="T7" fmla="*/ 21 h 33"/>
                  <a:gd name="T8" fmla="*/ 7 w 39"/>
                  <a:gd name="T9" fmla="*/ 33 h 33"/>
                </a:gdLst>
                <a:ahLst/>
                <a:cxnLst>
                  <a:cxn ang="0">
                    <a:pos x="T0" y="T1"/>
                  </a:cxn>
                  <a:cxn ang="0">
                    <a:pos x="T2" y="T3"/>
                  </a:cxn>
                  <a:cxn ang="0">
                    <a:pos x="T4" y="T5"/>
                  </a:cxn>
                  <a:cxn ang="0">
                    <a:pos x="T6" y="T7"/>
                  </a:cxn>
                  <a:cxn ang="0">
                    <a:pos x="T8" y="T9"/>
                  </a:cxn>
                </a:cxnLst>
                <a:rect l="0" t="0" r="r" b="b"/>
                <a:pathLst>
                  <a:path w="39" h="33">
                    <a:moveTo>
                      <a:pt x="7" y="33"/>
                    </a:moveTo>
                    <a:lnTo>
                      <a:pt x="0" y="10"/>
                    </a:lnTo>
                    <a:lnTo>
                      <a:pt x="32" y="0"/>
                    </a:lnTo>
                    <a:lnTo>
                      <a:pt x="39" y="21"/>
                    </a:lnTo>
                    <a:lnTo>
                      <a:pt x="7" y="33"/>
                    </a:lnTo>
                    <a:close/>
                  </a:path>
                </a:pathLst>
              </a:custGeom>
              <a:solidFill>
                <a:srgbClr val="3C3C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85644">
                  <a:defRPr/>
                </a:pPr>
                <a:endParaRPr lang="en-US" sz="1324" kern="0">
                  <a:solidFill>
                    <a:srgbClr val="1A1A1A"/>
                  </a:solidFill>
                  <a:latin typeface="Segoe UI"/>
                </a:endParaRPr>
              </a:p>
            </p:txBody>
          </p:sp>
        </p:grpSp>
      </p:grpSp>
      <p:grpSp>
        <p:nvGrpSpPr>
          <p:cNvPr id="145" name="Group 144">
            <a:extLst>
              <a:ext uri="{FF2B5EF4-FFF2-40B4-BE49-F238E27FC236}">
                <a16:creationId xmlns:a16="http://schemas.microsoft.com/office/drawing/2014/main" id="{60B68F6E-095D-4DB5-BA82-F104E5CF582E}"/>
              </a:ext>
            </a:extLst>
          </p:cNvPr>
          <p:cNvGrpSpPr/>
          <p:nvPr/>
        </p:nvGrpSpPr>
        <p:grpSpPr>
          <a:xfrm>
            <a:off x="2669287" y="1644266"/>
            <a:ext cx="388337" cy="388337"/>
            <a:chOff x="3617108" y="2357319"/>
            <a:chExt cx="517856" cy="517856"/>
          </a:xfrm>
        </p:grpSpPr>
        <p:sp>
          <p:nvSpPr>
            <p:cNvPr id="141" name="Oval 140">
              <a:extLst>
                <a:ext uri="{FF2B5EF4-FFF2-40B4-BE49-F238E27FC236}">
                  <a16:creationId xmlns:a16="http://schemas.microsoft.com/office/drawing/2014/main" id="{5A98ED68-B641-4D5E-B13C-DFC9B3EEB5F9}"/>
                </a:ext>
              </a:extLst>
            </p:cNvPr>
            <p:cNvSpPr/>
            <p:nvPr/>
          </p:nvSpPr>
          <p:spPr bwMode="auto">
            <a:xfrm>
              <a:off x="3617108" y="2357319"/>
              <a:ext cx="517856" cy="517856"/>
            </a:xfrm>
            <a:prstGeom prst="ellipse">
              <a:avLst/>
            </a:prstGeom>
            <a:solidFill>
              <a:schemeClr val="bg1"/>
            </a:solidFill>
            <a:ln w="19050">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1" tIns="109713" rIns="137141" bIns="109713" numCol="1" spcCol="0" rtlCol="0" fromWordArt="0" anchor="t" anchorCtr="0" forceAA="0" compatLnSpc="1">
              <a:prstTxWarp prst="textNoShape">
                <a:avLst/>
              </a:prstTxWarp>
              <a:noAutofit/>
            </a:bodyPr>
            <a:lstStyle/>
            <a:p>
              <a:pPr algn="ctr" defTabSz="699220" fontAlgn="base">
                <a:lnSpc>
                  <a:spcPct val="90000"/>
                </a:lnSpc>
                <a:spcBef>
                  <a:spcPct val="0"/>
                </a:spcBef>
                <a:spcAft>
                  <a:spcPct val="0"/>
                </a:spcAft>
                <a:defRPr/>
              </a:pPr>
              <a:endParaRPr lang="en-IN"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353" name="Ingest">
              <a:extLst>
                <a:ext uri="{FF2B5EF4-FFF2-40B4-BE49-F238E27FC236}">
                  <a16:creationId xmlns:a16="http://schemas.microsoft.com/office/drawing/2014/main" id="{F5A94802-E7EB-47FC-A01C-C05573B12F31}"/>
                </a:ext>
              </a:extLst>
            </p:cNvPr>
            <p:cNvGrpSpPr>
              <a:grpSpLocks noChangeAspect="1"/>
            </p:cNvGrpSpPr>
            <p:nvPr/>
          </p:nvGrpSpPr>
          <p:grpSpPr>
            <a:xfrm>
              <a:off x="3683478" y="2403360"/>
              <a:ext cx="408420" cy="408420"/>
              <a:chOff x="3634145" y="2011666"/>
              <a:chExt cx="563824" cy="563824"/>
            </a:xfrm>
          </p:grpSpPr>
          <p:pic>
            <p:nvPicPr>
              <p:cNvPr id="354" name="Graphic 353" descr="Network">
                <a:extLst>
                  <a:ext uri="{FF2B5EF4-FFF2-40B4-BE49-F238E27FC236}">
                    <a16:creationId xmlns:a16="http://schemas.microsoft.com/office/drawing/2014/main" id="{82FF0F66-2857-4BC1-8CFB-B21C50999A9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634145" y="2011666"/>
                <a:ext cx="563824" cy="563824"/>
              </a:xfrm>
              <a:prstGeom prst="rect">
                <a:avLst/>
              </a:prstGeom>
            </p:spPr>
          </p:pic>
          <p:sp>
            <p:nvSpPr>
              <p:cNvPr id="355" name="Oval 354">
                <a:extLst>
                  <a:ext uri="{FF2B5EF4-FFF2-40B4-BE49-F238E27FC236}">
                    <a16:creationId xmlns:a16="http://schemas.microsoft.com/office/drawing/2014/main" id="{A81D4C48-C01E-429B-A6F8-3DC309DD1039}"/>
                  </a:ext>
                </a:extLst>
              </p:cNvPr>
              <p:cNvSpPr/>
              <p:nvPr/>
            </p:nvSpPr>
            <p:spPr bwMode="auto">
              <a:xfrm>
                <a:off x="3848497" y="2247198"/>
                <a:ext cx="136413" cy="136413"/>
              </a:xfrm>
              <a:prstGeom prst="ellipse">
                <a:avLst/>
              </a:prstGeom>
              <a:solidFill>
                <a:srgbClr val="30E5D0"/>
              </a:solidFill>
              <a:ln w="9525" cap="flat" cmpd="sng" algn="ctr">
                <a:noFill/>
                <a:prstDash val="solid"/>
                <a:headEnd type="none" w="med" len="med"/>
                <a:tailEnd type="none" w="med" len="med"/>
              </a:ln>
              <a:effectLst/>
            </p:spPr>
            <p:txBody>
              <a:bodyPr rot="0" spcFirstLastPara="0" vertOverflow="overflow" horzOverflow="overflow" vert="horz" wrap="square" lIns="137141" tIns="109713" rIns="137141" bIns="109713" numCol="1" spcCol="0" rtlCol="0" fromWordArt="0" anchor="t" anchorCtr="0" forceAA="0" compatLnSpc="1">
                <a:prstTxWarp prst="textNoShape">
                  <a:avLst/>
                </a:prstTxWarp>
                <a:noAutofit/>
              </a:bodyPr>
              <a:lstStyle/>
              <a:p>
                <a:pPr algn="ctr" defTabSz="699220" fontAlgn="base">
                  <a:lnSpc>
                    <a:spcPct val="90000"/>
                  </a:lnSpc>
                  <a:spcBef>
                    <a:spcPct val="0"/>
                  </a:spcBef>
                  <a:spcAft>
                    <a:spcPct val="0"/>
                  </a:spcAft>
                  <a:defRPr/>
                </a:pPr>
                <a:endParaRPr lang="en-US" kern="0">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grpSp>
        <p:nvGrpSpPr>
          <p:cNvPr id="539" name="Group 538">
            <a:extLst>
              <a:ext uri="{FF2B5EF4-FFF2-40B4-BE49-F238E27FC236}">
                <a16:creationId xmlns:a16="http://schemas.microsoft.com/office/drawing/2014/main" id="{EFB96015-C899-4D4A-9DE8-427A9D2D26B6}"/>
              </a:ext>
            </a:extLst>
          </p:cNvPr>
          <p:cNvGrpSpPr/>
          <p:nvPr/>
        </p:nvGrpSpPr>
        <p:grpSpPr>
          <a:xfrm>
            <a:off x="4303544" y="1644266"/>
            <a:ext cx="388337" cy="388337"/>
            <a:chOff x="5796428" y="2357319"/>
            <a:chExt cx="517856" cy="517856"/>
          </a:xfrm>
        </p:grpSpPr>
        <p:sp>
          <p:nvSpPr>
            <p:cNvPr id="540" name="Oval 539">
              <a:extLst>
                <a:ext uri="{FF2B5EF4-FFF2-40B4-BE49-F238E27FC236}">
                  <a16:creationId xmlns:a16="http://schemas.microsoft.com/office/drawing/2014/main" id="{B5EED846-6FBE-4DB4-941C-42660C3718DB}"/>
                </a:ext>
              </a:extLst>
            </p:cNvPr>
            <p:cNvSpPr/>
            <p:nvPr/>
          </p:nvSpPr>
          <p:spPr bwMode="auto">
            <a:xfrm>
              <a:off x="5796428" y="2357319"/>
              <a:ext cx="517856" cy="517856"/>
            </a:xfrm>
            <a:prstGeom prst="ellipse">
              <a:avLst/>
            </a:prstGeom>
            <a:solidFill>
              <a:schemeClr val="bg1"/>
            </a:solidFill>
            <a:ln w="19050">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1" tIns="109713" rIns="137141" bIns="109713" numCol="1" spcCol="0" rtlCol="0" fromWordArt="0" anchor="t" anchorCtr="0" forceAA="0" compatLnSpc="1">
              <a:prstTxWarp prst="textNoShape">
                <a:avLst/>
              </a:prstTxWarp>
              <a:noAutofit/>
            </a:bodyPr>
            <a:lstStyle/>
            <a:p>
              <a:pPr algn="ctr" defTabSz="699220" fontAlgn="base">
                <a:lnSpc>
                  <a:spcPct val="90000"/>
                </a:lnSpc>
                <a:spcBef>
                  <a:spcPct val="0"/>
                </a:spcBef>
                <a:spcAft>
                  <a:spcPct val="0"/>
                </a:spcAft>
                <a:defRPr/>
              </a:pPr>
              <a:endParaRPr lang="en-IN"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541" name="Map &amp; match">
              <a:extLst>
                <a:ext uri="{FF2B5EF4-FFF2-40B4-BE49-F238E27FC236}">
                  <a16:creationId xmlns:a16="http://schemas.microsoft.com/office/drawing/2014/main" id="{75A21AF8-D3BC-4D68-A59A-6103771F6B98}"/>
                </a:ext>
              </a:extLst>
            </p:cNvPr>
            <p:cNvGrpSpPr>
              <a:grpSpLocks noChangeAspect="1"/>
            </p:cNvGrpSpPr>
            <p:nvPr/>
          </p:nvGrpSpPr>
          <p:grpSpPr bwMode="auto">
            <a:xfrm>
              <a:off x="5918585" y="2458806"/>
              <a:ext cx="284095" cy="292974"/>
              <a:chOff x="3272" y="1441"/>
              <a:chExt cx="256" cy="264"/>
            </a:xfrm>
          </p:grpSpPr>
          <p:sp>
            <p:nvSpPr>
              <p:cNvPr id="542" name="AutoShape 21">
                <a:extLst>
                  <a:ext uri="{FF2B5EF4-FFF2-40B4-BE49-F238E27FC236}">
                    <a16:creationId xmlns:a16="http://schemas.microsoft.com/office/drawing/2014/main" id="{2E43DF6C-3E6F-46E6-9321-FCDE97B13E42}"/>
                  </a:ext>
                </a:extLst>
              </p:cNvPr>
              <p:cNvSpPr>
                <a:spLocks noChangeAspect="1" noChangeArrowheads="1" noTextEdit="1"/>
              </p:cNvSpPr>
              <p:nvPr/>
            </p:nvSpPr>
            <p:spPr bwMode="auto">
              <a:xfrm>
                <a:off x="3272" y="1443"/>
                <a:ext cx="256" cy="256"/>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68570" tIns="34285" rIns="68570" bIns="34285" numCol="1" anchor="t" anchorCtr="0" compatLnSpc="1">
                <a:prstTxWarp prst="textNoShape">
                  <a:avLst/>
                </a:prstTxWarp>
              </a:bodyPr>
              <a:lstStyle/>
              <a:p>
                <a:pPr defTabSz="685669">
                  <a:defRPr/>
                </a:pPr>
                <a:endParaRPr lang="en-US" sz="1350" kern="0">
                  <a:solidFill>
                    <a:srgbClr val="3C3C41"/>
                  </a:solidFill>
                  <a:latin typeface="Segoe UI"/>
                </a:endParaRPr>
              </a:p>
            </p:txBody>
          </p:sp>
          <p:sp>
            <p:nvSpPr>
              <p:cNvPr id="543" name="Freeform 23">
                <a:extLst>
                  <a:ext uri="{FF2B5EF4-FFF2-40B4-BE49-F238E27FC236}">
                    <a16:creationId xmlns:a16="http://schemas.microsoft.com/office/drawing/2014/main" id="{A6F497DC-5752-4F73-B3FB-0BF5CB840121}"/>
                  </a:ext>
                </a:extLst>
              </p:cNvPr>
              <p:cNvSpPr>
                <a:spLocks/>
              </p:cNvSpPr>
              <p:nvPr/>
            </p:nvSpPr>
            <p:spPr bwMode="auto">
              <a:xfrm>
                <a:off x="3429" y="1556"/>
                <a:ext cx="73" cy="65"/>
              </a:xfrm>
              <a:custGeom>
                <a:avLst/>
                <a:gdLst>
                  <a:gd name="T0" fmla="*/ 117 w 117"/>
                  <a:gd name="T1" fmla="*/ 105 h 105"/>
                  <a:gd name="T2" fmla="*/ 117 w 117"/>
                  <a:gd name="T3" fmla="*/ 105 h 105"/>
                  <a:gd name="T4" fmla="*/ 82 w 117"/>
                  <a:gd name="T5" fmla="*/ 0 h 105"/>
                  <a:gd name="T6" fmla="*/ 1 w 117"/>
                  <a:gd name="T7" fmla="*/ 0 h 105"/>
                  <a:gd name="T8" fmla="*/ 0 w 117"/>
                  <a:gd name="T9" fmla="*/ 105 h 105"/>
                  <a:gd name="T10" fmla="*/ 117 w 117"/>
                  <a:gd name="T11" fmla="*/ 105 h 105"/>
                </a:gdLst>
                <a:ahLst/>
                <a:cxnLst>
                  <a:cxn ang="0">
                    <a:pos x="T0" y="T1"/>
                  </a:cxn>
                  <a:cxn ang="0">
                    <a:pos x="T2" y="T3"/>
                  </a:cxn>
                  <a:cxn ang="0">
                    <a:pos x="T4" y="T5"/>
                  </a:cxn>
                  <a:cxn ang="0">
                    <a:pos x="T6" y="T7"/>
                  </a:cxn>
                  <a:cxn ang="0">
                    <a:pos x="T8" y="T9"/>
                  </a:cxn>
                  <a:cxn ang="0">
                    <a:pos x="T10" y="T11"/>
                  </a:cxn>
                </a:cxnLst>
                <a:rect l="0" t="0" r="r" b="b"/>
                <a:pathLst>
                  <a:path w="117" h="105">
                    <a:moveTo>
                      <a:pt x="117" y="105"/>
                    </a:moveTo>
                    <a:lnTo>
                      <a:pt x="117" y="105"/>
                    </a:lnTo>
                    <a:lnTo>
                      <a:pt x="82" y="0"/>
                    </a:lnTo>
                    <a:lnTo>
                      <a:pt x="1" y="0"/>
                    </a:lnTo>
                    <a:lnTo>
                      <a:pt x="0" y="105"/>
                    </a:lnTo>
                    <a:lnTo>
                      <a:pt x="117" y="105"/>
                    </a:lnTo>
                    <a:close/>
                  </a:path>
                </a:pathLst>
              </a:custGeom>
              <a:solidFill>
                <a:srgbClr val="75757A"/>
              </a:solidFill>
              <a:ln w="0">
                <a:noFill/>
                <a:prstDash val="solid"/>
                <a:round/>
                <a:headEnd/>
                <a:tailEnd/>
              </a:ln>
            </p:spPr>
            <p:txBody>
              <a:bodyPr vert="horz" wrap="square" lIns="68570" tIns="34285" rIns="68570" bIns="34285" numCol="1" anchor="t" anchorCtr="0" compatLnSpc="1">
                <a:prstTxWarp prst="textNoShape">
                  <a:avLst/>
                </a:prstTxWarp>
              </a:bodyPr>
              <a:lstStyle/>
              <a:p>
                <a:pPr defTabSz="685669">
                  <a:defRPr/>
                </a:pPr>
                <a:endParaRPr lang="en-US" sz="1350" kern="0">
                  <a:solidFill>
                    <a:srgbClr val="3C3C41"/>
                  </a:solidFill>
                  <a:latin typeface="Segoe UI"/>
                </a:endParaRPr>
              </a:p>
            </p:txBody>
          </p:sp>
          <p:sp>
            <p:nvSpPr>
              <p:cNvPr id="544" name="Freeform 24">
                <a:extLst>
                  <a:ext uri="{FF2B5EF4-FFF2-40B4-BE49-F238E27FC236}">
                    <a16:creationId xmlns:a16="http://schemas.microsoft.com/office/drawing/2014/main" id="{665D4B39-3723-4AA1-8B59-2A2A11DB8E76}"/>
                  </a:ext>
                </a:extLst>
              </p:cNvPr>
              <p:cNvSpPr>
                <a:spLocks/>
              </p:cNvSpPr>
              <p:nvPr/>
            </p:nvSpPr>
            <p:spPr bwMode="auto">
              <a:xfrm>
                <a:off x="3309" y="1556"/>
                <a:ext cx="71" cy="65"/>
              </a:xfrm>
              <a:custGeom>
                <a:avLst/>
                <a:gdLst>
                  <a:gd name="T0" fmla="*/ 114 w 114"/>
                  <a:gd name="T1" fmla="*/ 0 h 105"/>
                  <a:gd name="T2" fmla="*/ 114 w 114"/>
                  <a:gd name="T3" fmla="*/ 0 h 105"/>
                  <a:gd name="T4" fmla="*/ 35 w 114"/>
                  <a:gd name="T5" fmla="*/ 0 h 105"/>
                  <a:gd name="T6" fmla="*/ 0 w 114"/>
                  <a:gd name="T7" fmla="*/ 105 h 105"/>
                  <a:gd name="T8" fmla="*/ 113 w 114"/>
                  <a:gd name="T9" fmla="*/ 105 h 105"/>
                  <a:gd name="T10" fmla="*/ 114 w 114"/>
                  <a:gd name="T11" fmla="*/ 0 h 105"/>
                </a:gdLst>
                <a:ahLst/>
                <a:cxnLst>
                  <a:cxn ang="0">
                    <a:pos x="T0" y="T1"/>
                  </a:cxn>
                  <a:cxn ang="0">
                    <a:pos x="T2" y="T3"/>
                  </a:cxn>
                  <a:cxn ang="0">
                    <a:pos x="T4" y="T5"/>
                  </a:cxn>
                  <a:cxn ang="0">
                    <a:pos x="T6" y="T7"/>
                  </a:cxn>
                  <a:cxn ang="0">
                    <a:pos x="T8" y="T9"/>
                  </a:cxn>
                  <a:cxn ang="0">
                    <a:pos x="T10" y="T11"/>
                  </a:cxn>
                </a:cxnLst>
                <a:rect l="0" t="0" r="r" b="b"/>
                <a:pathLst>
                  <a:path w="114" h="105">
                    <a:moveTo>
                      <a:pt x="114" y="0"/>
                    </a:moveTo>
                    <a:lnTo>
                      <a:pt x="114" y="0"/>
                    </a:lnTo>
                    <a:lnTo>
                      <a:pt x="35" y="0"/>
                    </a:lnTo>
                    <a:lnTo>
                      <a:pt x="0" y="105"/>
                    </a:lnTo>
                    <a:lnTo>
                      <a:pt x="113" y="105"/>
                    </a:lnTo>
                    <a:lnTo>
                      <a:pt x="114" y="0"/>
                    </a:lnTo>
                    <a:close/>
                  </a:path>
                </a:pathLst>
              </a:custGeom>
              <a:solidFill>
                <a:srgbClr val="75757A"/>
              </a:solidFill>
              <a:ln w="0">
                <a:noFill/>
                <a:prstDash val="solid"/>
                <a:round/>
                <a:headEnd/>
                <a:tailEnd/>
              </a:ln>
            </p:spPr>
            <p:txBody>
              <a:bodyPr vert="horz" wrap="square" lIns="68570" tIns="34285" rIns="68570" bIns="34285" numCol="1" anchor="t" anchorCtr="0" compatLnSpc="1">
                <a:prstTxWarp prst="textNoShape">
                  <a:avLst/>
                </a:prstTxWarp>
              </a:bodyPr>
              <a:lstStyle/>
              <a:p>
                <a:pPr defTabSz="685669">
                  <a:defRPr/>
                </a:pPr>
                <a:endParaRPr lang="en-US" sz="1350" kern="0">
                  <a:solidFill>
                    <a:srgbClr val="3C3C41"/>
                  </a:solidFill>
                  <a:latin typeface="Segoe UI"/>
                </a:endParaRPr>
              </a:p>
            </p:txBody>
          </p:sp>
          <p:sp>
            <p:nvSpPr>
              <p:cNvPr id="545" name="Freeform 25">
                <a:extLst>
                  <a:ext uri="{FF2B5EF4-FFF2-40B4-BE49-F238E27FC236}">
                    <a16:creationId xmlns:a16="http://schemas.microsoft.com/office/drawing/2014/main" id="{F14A1103-B041-422B-94B2-4AFB90DC7DBA}"/>
                  </a:ext>
                </a:extLst>
              </p:cNvPr>
              <p:cNvSpPr>
                <a:spLocks/>
              </p:cNvSpPr>
              <p:nvPr/>
            </p:nvSpPr>
            <p:spPr bwMode="auto">
              <a:xfrm>
                <a:off x="3280" y="1638"/>
                <a:ext cx="248" cy="67"/>
              </a:xfrm>
              <a:custGeom>
                <a:avLst/>
                <a:gdLst>
                  <a:gd name="T0" fmla="*/ 400 w 400"/>
                  <a:gd name="T1" fmla="*/ 108 h 108"/>
                  <a:gd name="T2" fmla="*/ 400 w 400"/>
                  <a:gd name="T3" fmla="*/ 108 h 108"/>
                  <a:gd name="T4" fmla="*/ 364 w 400"/>
                  <a:gd name="T5" fmla="*/ 0 h 108"/>
                  <a:gd name="T6" fmla="*/ 238 w 400"/>
                  <a:gd name="T7" fmla="*/ 0 h 108"/>
                  <a:gd name="T8" fmla="*/ 238 w 400"/>
                  <a:gd name="T9" fmla="*/ 0 h 108"/>
                  <a:gd name="T10" fmla="*/ 197 w 400"/>
                  <a:gd name="T11" fmla="*/ 40 h 108"/>
                  <a:gd name="T12" fmla="*/ 169 w 400"/>
                  <a:gd name="T13" fmla="*/ 28 h 108"/>
                  <a:gd name="T14" fmla="*/ 158 w 400"/>
                  <a:gd name="T15" fmla="*/ 0 h 108"/>
                  <a:gd name="T16" fmla="*/ 36 w 400"/>
                  <a:gd name="T17" fmla="*/ 0 h 108"/>
                  <a:gd name="T18" fmla="*/ 0 w 400"/>
                  <a:gd name="T19" fmla="*/ 108 h 108"/>
                  <a:gd name="T20" fmla="*/ 400 w 400"/>
                  <a:gd name="T21" fmla="*/ 10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00" h="108">
                    <a:moveTo>
                      <a:pt x="400" y="108"/>
                    </a:moveTo>
                    <a:lnTo>
                      <a:pt x="400" y="108"/>
                    </a:lnTo>
                    <a:lnTo>
                      <a:pt x="364" y="0"/>
                    </a:lnTo>
                    <a:lnTo>
                      <a:pt x="238" y="0"/>
                    </a:lnTo>
                    <a:lnTo>
                      <a:pt x="238" y="0"/>
                    </a:lnTo>
                    <a:cubicBezTo>
                      <a:pt x="237" y="22"/>
                      <a:pt x="219" y="40"/>
                      <a:pt x="197" y="40"/>
                    </a:cubicBezTo>
                    <a:cubicBezTo>
                      <a:pt x="186" y="40"/>
                      <a:pt x="176" y="35"/>
                      <a:pt x="169" y="28"/>
                    </a:cubicBezTo>
                    <a:cubicBezTo>
                      <a:pt x="162" y="20"/>
                      <a:pt x="158" y="10"/>
                      <a:pt x="158" y="0"/>
                    </a:cubicBezTo>
                    <a:lnTo>
                      <a:pt x="36" y="0"/>
                    </a:lnTo>
                    <a:lnTo>
                      <a:pt x="0" y="108"/>
                    </a:lnTo>
                    <a:lnTo>
                      <a:pt x="400" y="108"/>
                    </a:lnTo>
                    <a:close/>
                  </a:path>
                </a:pathLst>
              </a:custGeom>
              <a:solidFill>
                <a:srgbClr val="75757A"/>
              </a:solidFill>
              <a:ln w="0">
                <a:noFill/>
                <a:prstDash val="solid"/>
                <a:round/>
                <a:headEnd/>
                <a:tailEnd/>
              </a:ln>
            </p:spPr>
            <p:txBody>
              <a:bodyPr vert="horz" wrap="square" lIns="68570" tIns="34285" rIns="68570" bIns="34285" numCol="1" anchor="t" anchorCtr="0" compatLnSpc="1">
                <a:prstTxWarp prst="textNoShape">
                  <a:avLst/>
                </a:prstTxWarp>
              </a:bodyPr>
              <a:lstStyle/>
              <a:p>
                <a:pPr defTabSz="685669">
                  <a:defRPr/>
                </a:pPr>
                <a:endParaRPr lang="en-US" sz="1350" kern="0">
                  <a:solidFill>
                    <a:srgbClr val="3C3C41"/>
                  </a:solidFill>
                  <a:latin typeface="Segoe UI"/>
                </a:endParaRPr>
              </a:p>
            </p:txBody>
          </p:sp>
          <p:sp>
            <p:nvSpPr>
              <p:cNvPr id="546" name="Freeform 26">
                <a:extLst>
                  <a:ext uri="{FF2B5EF4-FFF2-40B4-BE49-F238E27FC236}">
                    <a16:creationId xmlns:a16="http://schemas.microsoft.com/office/drawing/2014/main" id="{EF7912A4-BC43-4946-BF6D-A9B11B10EE10}"/>
                  </a:ext>
                </a:extLst>
              </p:cNvPr>
              <p:cNvSpPr>
                <a:spLocks/>
              </p:cNvSpPr>
              <p:nvPr/>
            </p:nvSpPr>
            <p:spPr bwMode="auto">
              <a:xfrm>
                <a:off x="3396" y="1514"/>
                <a:ext cx="16" cy="132"/>
              </a:xfrm>
              <a:custGeom>
                <a:avLst/>
                <a:gdLst>
                  <a:gd name="T0" fmla="*/ 14 w 27"/>
                  <a:gd name="T1" fmla="*/ 212 h 212"/>
                  <a:gd name="T2" fmla="*/ 14 w 27"/>
                  <a:gd name="T3" fmla="*/ 212 h 212"/>
                  <a:gd name="T4" fmla="*/ 0 w 27"/>
                  <a:gd name="T5" fmla="*/ 199 h 212"/>
                  <a:gd name="T6" fmla="*/ 0 w 27"/>
                  <a:gd name="T7" fmla="*/ 13 h 212"/>
                  <a:gd name="T8" fmla="*/ 14 w 27"/>
                  <a:gd name="T9" fmla="*/ 0 h 212"/>
                  <a:gd name="T10" fmla="*/ 27 w 27"/>
                  <a:gd name="T11" fmla="*/ 13 h 212"/>
                  <a:gd name="T12" fmla="*/ 27 w 27"/>
                  <a:gd name="T13" fmla="*/ 199 h 212"/>
                  <a:gd name="T14" fmla="*/ 14 w 27"/>
                  <a:gd name="T15" fmla="*/ 212 h 2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7" h="212">
                    <a:moveTo>
                      <a:pt x="14" y="212"/>
                    </a:moveTo>
                    <a:lnTo>
                      <a:pt x="14" y="212"/>
                    </a:lnTo>
                    <a:cubicBezTo>
                      <a:pt x="6" y="212"/>
                      <a:pt x="0" y="206"/>
                      <a:pt x="0" y="199"/>
                    </a:cubicBezTo>
                    <a:lnTo>
                      <a:pt x="0" y="13"/>
                    </a:lnTo>
                    <a:cubicBezTo>
                      <a:pt x="0" y="6"/>
                      <a:pt x="6" y="0"/>
                      <a:pt x="14" y="0"/>
                    </a:cubicBezTo>
                    <a:cubicBezTo>
                      <a:pt x="21" y="0"/>
                      <a:pt x="27" y="6"/>
                      <a:pt x="27" y="13"/>
                    </a:cubicBezTo>
                    <a:lnTo>
                      <a:pt x="27" y="199"/>
                    </a:lnTo>
                    <a:cubicBezTo>
                      <a:pt x="27" y="206"/>
                      <a:pt x="21" y="212"/>
                      <a:pt x="14" y="212"/>
                    </a:cubicBezTo>
                    <a:close/>
                  </a:path>
                </a:pathLst>
              </a:custGeom>
              <a:solidFill>
                <a:srgbClr val="2F2F2F"/>
              </a:solidFill>
              <a:ln w="0">
                <a:noFill/>
                <a:prstDash val="solid"/>
                <a:round/>
                <a:headEnd/>
                <a:tailEnd/>
              </a:ln>
            </p:spPr>
            <p:txBody>
              <a:bodyPr vert="horz" wrap="square" lIns="68570" tIns="34285" rIns="68570" bIns="34285" numCol="1" anchor="t" anchorCtr="0" compatLnSpc="1">
                <a:prstTxWarp prst="textNoShape">
                  <a:avLst/>
                </a:prstTxWarp>
              </a:bodyPr>
              <a:lstStyle/>
              <a:p>
                <a:pPr defTabSz="685669">
                  <a:defRPr/>
                </a:pPr>
                <a:endParaRPr lang="en-US" sz="1350" kern="0">
                  <a:solidFill>
                    <a:srgbClr val="3C3C41"/>
                  </a:solidFill>
                  <a:latin typeface="Segoe UI"/>
                </a:endParaRPr>
              </a:p>
            </p:txBody>
          </p:sp>
          <p:sp>
            <p:nvSpPr>
              <p:cNvPr id="547" name="Freeform 27">
                <a:extLst>
                  <a:ext uri="{FF2B5EF4-FFF2-40B4-BE49-F238E27FC236}">
                    <a16:creationId xmlns:a16="http://schemas.microsoft.com/office/drawing/2014/main" id="{03A69003-D90E-424A-B283-9175E6BAC152}"/>
                  </a:ext>
                </a:extLst>
              </p:cNvPr>
              <p:cNvSpPr>
                <a:spLocks/>
              </p:cNvSpPr>
              <p:nvPr/>
            </p:nvSpPr>
            <p:spPr bwMode="auto">
              <a:xfrm>
                <a:off x="3363" y="1441"/>
                <a:ext cx="83" cy="81"/>
              </a:xfrm>
              <a:custGeom>
                <a:avLst/>
                <a:gdLst>
                  <a:gd name="T0" fmla="*/ 128 w 134"/>
                  <a:gd name="T1" fmla="*/ 39 h 132"/>
                  <a:gd name="T2" fmla="*/ 128 w 134"/>
                  <a:gd name="T3" fmla="*/ 39 h 132"/>
                  <a:gd name="T4" fmla="*/ 114 w 134"/>
                  <a:gd name="T5" fmla="*/ 18 h 132"/>
                  <a:gd name="T6" fmla="*/ 93 w 134"/>
                  <a:gd name="T7" fmla="*/ 4 h 132"/>
                  <a:gd name="T8" fmla="*/ 67 w 134"/>
                  <a:gd name="T9" fmla="*/ 0 h 132"/>
                  <a:gd name="T10" fmla="*/ 41 w 134"/>
                  <a:gd name="T11" fmla="*/ 4 h 132"/>
                  <a:gd name="T12" fmla="*/ 20 w 134"/>
                  <a:gd name="T13" fmla="*/ 18 h 132"/>
                  <a:gd name="T14" fmla="*/ 5 w 134"/>
                  <a:gd name="T15" fmla="*/ 39 h 132"/>
                  <a:gd name="T16" fmla="*/ 0 w 134"/>
                  <a:gd name="T17" fmla="*/ 65 h 132"/>
                  <a:gd name="T18" fmla="*/ 5 w 134"/>
                  <a:gd name="T19" fmla="*/ 92 h 132"/>
                  <a:gd name="T20" fmla="*/ 20 w 134"/>
                  <a:gd name="T21" fmla="*/ 113 h 132"/>
                  <a:gd name="T22" fmla="*/ 29 w 134"/>
                  <a:gd name="T23" fmla="*/ 120 h 132"/>
                  <a:gd name="T24" fmla="*/ 41 w 134"/>
                  <a:gd name="T25" fmla="*/ 127 h 132"/>
                  <a:gd name="T26" fmla="*/ 41 w 134"/>
                  <a:gd name="T27" fmla="*/ 127 h 132"/>
                  <a:gd name="T28" fmla="*/ 54 w 134"/>
                  <a:gd name="T29" fmla="*/ 131 h 132"/>
                  <a:gd name="T30" fmla="*/ 67 w 134"/>
                  <a:gd name="T31" fmla="*/ 132 h 132"/>
                  <a:gd name="T32" fmla="*/ 80 w 134"/>
                  <a:gd name="T33" fmla="*/ 131 h 132"/>
                  <a:gd name="T34" fmla="*/ 93 w 134"/>
                  <a:gd name="T35" fmla="*/ 127 h 132"/>
                  <a:gd name="T36" fmla="*/ 93 w 134"/>
                  <a:gd name="T37" fmla="*/ 127 h 132"/>
                  <a:gd name="T38" fmla="*/ 105 w 134"/>
                  <a:gd name="T39" fmla="*/ 120 h 132"/>
                  <a:gd name="T40" fmla="*/ 114 w 134"/>
                  <a:gd name="T41" fmla="*/ 113 h 132"/>
                  <a:gd name="T42" fmla="*/ 128 w 134"/>
                  <a:gd name="T43" fmla="*/ 92 h 132"/>
                  <a:gd name="T44" fmla="*/ 134 w 134"/>
                  <a:gd name="T45" fmla="*/ 65 h 132"/>
                  <a:gd name="T46" fmla="*/ 128 w 134"/>
                  <a:gd name="T47" fmla="*/ 39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34" h="132">
                    <a:moveTo>
                      <a:pt x="128" y="39"/>
                    </a:moveTo>
                    <a:lnTo>
                      <a:pt x="128" y="39"/>
                    </a:lnTo>
                    <a:cubicBezTo>
                      <a:pt x="125" y="31"/>
                      <a:pt x="120" y="24"/>
                      <a:pt x="114" y="18"/>
                    </a:cubicBezTo>
                    <a:cubicBezTo>
                      <a:pt x="108" y="12"/>
                      <a:pt x="101" y="8"/>
                      <a:pt x="93" y="4"/>
                    </a:cubicBezTo>
                    <a:cubicBezTo>
                      <a:pt x="85" y="2"/>
                      <a:pt x="76" y="0"/>
                      <a:pt x="67" y="0"/>
                    </a:cubicBezTo>
                    <a:cubicBezTo>
                      <a:pt x="58" y="0"/>
                      <a:pt x="49" y="2"/>
                      <a:pt x="41" y="4"/>
                    </a:cubicBezTo>
                    <a:cubicBezTo>
                      <a:pt x="33" y="8"/>
                      <a:pt x="26" y="12"/>
                      <a:pt x="20" y="18"/>
                    </a:cubicBezTo>
                    <a:cubicBezTo>
                      <a:pt x="14" y="24"/>
                      <a:pt x="9" y="31"/>
                      <a:pt x="5" y="39"/>
                    </a:cubicBezTo>
                    <a:cubicBezTo>
                      <a:pt x="2" y="48"/>
                      <a:pt x="0" y="56"/>
                      <a:pt x="0" y="65"/>
                    </a:cubicBezTo>
                    <a:cubicBezTo>
                      <a:pt x="0" y="75"/>
                      <a:pt x="2" y="83"/>
                      <a:pt x="5" y="92"/>
                    </a:cubicBezTo>
                    <a:cubicBezTo>
                      <a:pt x="9" y="100"/>
                      <a:pt x="14" y="107"/>
                      <a:pt x="20" y="113"/>
                    </a:cubicBezTo>
                    <a:cubicBezTo>
                      <a:pt x="22" y="116"/>
                      <a:pt x="26" y="118"/>
                      <a:pt x="29" y="120"/>
                    </a:cubicBezTo>
                    <a:cubicBezTo>
                      <a:pt x="33" y="123"/>
                      <a:pt x="36" y="125"/>
                      <a:pt x="41" y="127"/>
                    </a:cubicBezTo>
                    <a:cubicBezTo>
                      <a:pt x="41" y="127"/>
                      <a:pt x="41" y="127"/>
                      <a:pt x="41" y="127"/>
                    </a:cubicBezTo>
                    <a:cubicBezTo>
                      <a:pt x="45" y="129"/>
                      <a:pt x="49" y="130"/>
                      <a:pt x="54" y="131"/>
                    </a:cubicBezTo>
                    <a:cubicBezTo>
                      <a:pt x="58" y="132"/>
                      <a:pt x="62" y="132"/>
                      <a:pt x="67" y="132"/>
                    </a:cubicBezTo>
                    <a:cubicBezTo>
                      <a:pt x="71" y="132"/>
                      <a:pt x="76" y="132"/>
                      <a:pt x="80" y="131"/>
                    </a:cubicBezTo>
                    <a:cubicBezTo>
                      <a:pt x="84" y="130"/>
                      <a:pt x="89" y="129"/>
                      <a:pt x="93" y="127"/>
                    </a:cubicBezTo>
                    <a:cubicBezTo>
                      <a:pt x="93" y="127"/>
                      <a:pt x="93" y="127"/>
                      <a:pt x="93" y="127"/>
                    </a:cubicBezTo>
                    <a:cubicBezTo>
                      <a:pt x="97" y="125"/>
                      <a:pt x="101" y="123"/>
                      <a:pt x="105" y="120"/>
                    </a:cubicBezTo>
                    <a:cubicBezTo>
                      <a:pt x="108" y="118"/>
                      <a:pt x="111" y="116"/>
                      <a:pt x="114" y="113"/>
                    </a:cubicBezTo>
                    <a:cubicBezTo>
                      <a:pt x="120" y="107"/>
                      <a:pt x="125" y="100"/>
                      <a:pt x="128" y="92"/>
                    </a:cubicBezTo>
                    <a:cubicBezTo>
                      <a:pt x="132" y="83"/>
                      <a:pt x="134" y="75"/>
                      <a:pt x="134" y="65"/>
                    </a:cubicBezTo>
                    <a:cubicBezTo>
                      <a:pt x="134" y="56"/>
                      <a:pt x="132" y="48"/>
                      <a:pt x="128" y="39"/>
                    </a:cubicBezTo>
                    <a:close/>
                  </a:path>
                </a:pathLst>
              </a:custGeom>
              <a:solidFill>
                <a:srgbClr val="30E5D0"/>
              </a:solidFill>
              <a:ln w="0">
                <a:noFill/>
                <a:prstDash val="solid"/>
                <a:round/>
                <a:headEnd/>
                <a:tailEnd/>
              </a:ln>
            </p:spPr>
            <p:txBody>
              <a:bodyPr vert="horz" wrap="square" lIns="68570" tIns="34285" rIns="68570" bIns="34285" numCol="1" anchor="t" anchorCtr="0" compatLnSpc="1">
                <a:prstTxWarp prst="textNoShape">
                  <a:avLst/>
                </a:prstTxWarp>
              </a:bodyPr>
              <a:lstStyle/>
              <a:p>
                <a:pPr defTabSz="685669">
                  <a:defRPr/>
                </a:pPr>
                <a:endParaRPr lang="en-US" sz="1350" kern="0">
                  <a:solidFill>
                    <a:srgbClr val="3C3C41"/>
                  </a:solidFill>
                  <a:latin typeface="Segoe UI"/>
                </a:endParaRPr>
              </a:p>
            </p:txBody>
          </p:sp>
        </p:grpSp>
      </p:grpSp>
      <p:grpSp>
        <p:nvGrpSpPr>
          <p:cNvPr id="548" name="Group 547">
            <a:extLst>
              <a:ext uri="{FF2B5EF4-FFF2-40B4-BE49-F238E27FC236}">
                <a16:creationId xmlns:a16="http://schemas.microsoft.com/office/drawing/2014/main" id="{E87B1BC4-15EC-4400-B23D-7B7BA3AC30F7}"/>
              </a:ext>
            </a:extLst>
          </p:cNvPr>
          <p:cNvGrpSpPr/>
          <p:nvPr/>
        </p:nvGrpSpPr>
        <p:grpSpPr>
          <a:xfrm>
            <a:off x="2735032" y="1778718"/>
            <a:ext cx="1901246" cy="1630861"/>
            <a:chOff x="3646360" y="2600114"/>
            <a:chExt cx="2535355" cy="2174790"/>
          </a:xfrm>
        </p:grpSpPr>
        <p:sp>
          <p:nvSpPr>
            <p:cNvPr id="373" name="CENTER CIRCLE">
              <a:extLst>
                <a:ext uri="{FF2B5EF4-FFF2-40B4-BE49-F238E27FC236}">
                  <a16:creationId xmlns:a16="http://schemas.microsoft.com/office/drawing/2014/main" id="{71CA987E-ED7E-44B9-8B08-EDBFFEE0230D}"/>
                </a:ext>
              </a:extLst>
            </p:cNvPr>
            <p:cNvSpPr/>
            <p:nvPr/>
          </p:nvSpPr>
          <p:spPr bwMode="auto">
            <a:xfrm>
              <a:off x="3939660" y="2622336"/>
              <a:ext cx="1932817" cy="1932818"/>
            </a:xfrm>
            <a:prstGeom prst="ellipse">
              <a:avLst/>
            </a:prstGeom>
            <a:solidFill>
              <a:srgbClr val="30E5D0"/>
            </a:solidFill>
            <a:ln w="76200" cap="flat" cmpd="sng" algn="ctr">
              <a:noFill/>
              <a:prstDash val="solid"/>
              <a:headEnd type="none" w="med" len="med"/>
              <a:tailEnd type="none" w="med" len="med"/>
            </a:ln>
            <a:effectLst/>
          </p:spPr>
          <p:txBody>
            <a:bodyPr rot="0" spcFirstLastPara="0" vertOverflow="overflow" horzOverflow="overflow" vert="horz" wrap="square" lIns="67223" tIns="33611" rIns="67223" bIns="33611" numCol="1" spcCol="0" rtlCol="0" fromWordArt="0" anchor="ctr" anchorCtr="0" forceAA="0" compatLnSpc="1">
              <a:prstTxWarp prst="textNoShape">
                <a:avLst/>
              </a:prstTxWarp>
              <a:noAutofit/>
            </a:bodyPr>
            <a:lstStyle/>
            <a:p>
              <a:pPr algn="ctr" defTabSz="685445" fontAlgn="base">
                <a:spcBef>
                  <a:spcPct val="0"/>
                </a:spcBef>
                <a:spcAft>
                  <a:spcPct val="0"/>
                </a:spcAft>
                <a:defRPr/>
              </a:pPr>
              <a:endParaRPr lang="en-US" sz="450" kern="0">
                <a:solidFill>
                  <a:srgbClr val="FFFFFF"/>
                </a:solidFill>
                <a:latin typeface="Segoe UI"/>
                <a:ea typeface="Segoe UI" pitchFamily="34" charset="0"/>
                <a:cs typeface="Segoe UI" pitchFamily="34" charset="0"/>
              </a:endParaRPr>
            </a:p>
          </p:txBody>
        </p:sp>
        <p:sp>
          <p:nvSpPr>
            <p:cNvPr id="370" name="DEMOGRAPHIC">
              <a:extLst>
                <a:ext uri="{FF2B5EF4-FFF2-40B4-BE49-F238E27FC236}">
                  <a16:creationId xmlns:a16="http://schemas.microsoft.com/office/drawing/2014/main" id="{E9DEA7F5-1C91-4E89-A60A-8CFE95ED84DD}"/>
                </a:ext>
              </a:extLst>
            </p:cNvPr>
            <p:cNvSpPr txBox="1">
              <a:spLocks noChangeAspect="1"/>
            </p:cNvSpPr>
            <p:nvPr/>
          </p:nvSpPr>
          <p:spPr>
            <a:xfrm rot="16200000">
              <a:off x="3965055" y="2647734"/>
              <a:ext cx="1882026" cy="1882024"/>
            </a:xfrm>
            <a:prstGeom prst="ellipse">
              <a:avLst/>
            </a:prstGeom>
            <a:noFill/>
          </p:spPr>
          <p:txBody>
            <a:bodyPr spcFirstLastPara="1" wrap="square" lIns="134444" tIns="107555" rIns="134444" bIns="107555" numCol="1" rtlCol="0">
              <a:prstTxWarp prst="textCircle">
                <a:avLst>
                  <a:gd name="adj" fmla="val 17824100"/>
                </a:avLst>
              </a:prstTxWarp>
              <a:spAutoFit/>
            </a:bodyPr>
            <a:lstStyle/>
            <a:p>
              <a:pPr algn="ctr" defTabSz="685577">
                <a:lnSpc>
                  <a:spcPct val="90000"/>
                </a:lnSpc>
                <a:spcAft>
                  <a:spcPts val="441"/>
                </a:spcAft>
                <a:defRPr/>
              </a:pPr>
              <a:r>
                <a:rPr lang="en-US" sz="525" b="1" kern="0" spc="225">
                  <a:solidFill>
                    <a:srgbClr val="3C3C41"/>
                  </a:solidFill>
                  <a:latin typeface="Segoe UI"/>
                </a:rPr>
                <a:t>DEMOGRAPHIC</a:t>
              </a:r>
            </a:p>
          </p:txBody>
        </p:sp>
        <p:sp>
          <p:nvSpPr>
            <p:cNvPr id="371" name="TRANSACTIONAL">
              <a:extLst>
                <a:ext uri="{FF2B5EF4-FFF2-40B4-BE49-F238E27FC236}">
                  <a16:creationId xmlns:a16="http://schemas.microsoft.com/office/drawing/2014/main" id="{711262BC-BCBB-4E29-80E1-A7B44FF81E1E}"/>
                </a:ext>
              </a:extLst>
            </p:cNvPr>
            <p:cNvSpPr txBox="1">
              <a:spLocks noChangeAspect="1"/>
            </p:cNvSpPr>
            <p:nvPr/>
          </p:nvSpPr>
          <p:spPr>
            <a:xfrm rot="2177777">
              <a:off x="3943193" y="2625870"/>
              <a:ext cx="1925750" cy="1925750"/>
            </a:xfrm>
            <a:prstGeom prst="ellipse">
              <a:avLst/>
            </a:prstGeom>
            <a:noFill/>
          </p:spPr>
          <p:txBody>
            <a:bodyPr spcFirstLastPara="1" wrap="square" lIns="134444" tIns="107555" rIns="134444" bIns="107555" numCol="1" rtlCol="0">
              <a:prstTxWarp prst="textCircle">
                <a:avLst>
                  <a:gd name="adj" fmla="val 18020480"/>
                </a:avLst>
              </a:prstTxWarp>
              <a:spAutoFit/>
            </a:bodyPr>
            <a:lstStyle/>
            <a:p>
              <a:pPr algn="ctr" defTabSz="685577">
                <a:lnSpc>
                  <a:spcPct val="90000"/>
                </a:lnSpc>
                <a:spcAft>
                  <a:spcPts val="441"/>
                </a:spcAft>
                <a:defRPr/>
              </a:pPr>
              <a:r>
                <a:rPr lang="en-US" sz="525" b="1" kern="0" spc="225">
                  <a:solidFill>
                    <a:srgbClr val="3C3C41"/>
                  </a:solidFill>
                  <a:latin typeface="Segoe UI"/>
                </a:rPr>
                <a:t>TRANSACTIONAL</a:t>
              </a:r>
            </a:p>
          </p:txBody>
        </p:sp>
        <p:sp>
          <p:nvSpPr>
            <p:cNvPr id="372" name="BEHAVIORAL">
              <a:extLst>
                <a:ext uri="{FF2B5EF4-FFF2-40B4-BE49-F238E27FC236}">
                  <a16:creationId xmlns:a16="http://schemas.microsoft.com/office/drawing/2014/main" id="{26A5587D-DFF6-4DEC-8F43-C9835726432E}"/>
                </a:ext>
              </a:extLst>
            </p:cNvPr>
            <p:cNvSpPr txBox="1">
              <a:spLocks noChangeAspect="1"/>
            </p:cNvSpPr>
            <p:nvPr/>
          </p:nvSpPr>
          <p:spPr>
            <a:xfrm rot="9727855">
              <a:off x="3917439" y="2600114"/>
              <a:ext cx="1977258" cy="1977262"/>
            </a:xfrm>
            <a:prstGeom prst="ellipse">
              <a:avLst/>
            </a:prstGeom>
            <a:noFill/>
          </p:spPr>
          <p:txBody>
            <a:bodyPr spcFirstLastPara="1" wrap="square" lIns="134444" tIns="107555" rIns="134444" bIns="107555" numCol="1" rtlCol="0">
              <a:prstTxWarp prst="textCircle">
                <a:avLst>
                  <a:gd name="adj" fmla="val 17122592"/>
                </a:avLst>
              </a:prstTxWarp>
              <a:spAutoFit/>
            </a:bodyPr>
            <a:lstStyle/>
            <a:p>
              <a:pPr algn="ctr" defTabSz="685577">
                <a:lnSpc>
                  <a:spcPct val="90000"/>
                </a:lnSpc>
                <a:spcAft>
                  <a:spcPts val="441"/>
                </a:spcAft>
                <a:defRPr/>
              </a:pPr>
              <a:r>
                <a:rPr lang="en-US" sz="525" b="1" kern="0" spc="225">
                  <a:solidFill>
                    <a:srgbClr val="3C3C41"/>
                  </a:solidFill>
                  <a:latin typeface="Segoe UI"/>
                </a:rPr>
                <a:t>BEHAVIORAL</a:t>
              </a:r>
            </a:p>
          </p:txBody>
        </p:sp>
        <p:grpSp>
          <p:nvGrpSpPr>
            <p:cNvPr id="139" name="Group 138">
              <a:extLst>
                <a:ext uri="{FF2B5EF4-FFF2-40B4-BE49-F238E27FC236}">
                  <a16:creationId xmlns:a16="http://schemas.microsoft.com/office/drawing/2014/main" id="{48E58307-A408-48E0-B023-CD7937BCABC3}"/>
                </a:ext>
              </a:extLst>
            </p:cNvPr>
            <p:cNvGrpSpPr/>
            <p:nvPr/>
          </p:nvGrpSpPr>
          <p:grpSpPr>
            <a:xfrm>
              <a:off x="3646360" y="2998784"/>
              <a:ext cx="2535355" cy="1776120"/>
              <a:chOff x="3704780" y="2935284"/>
              <a:chExt cx="2535355" cy="1776120"/>
            </a:xfrm>
          </p:grpSpPr>
          <p:cxnSp>
            <p:nvCxnSpPr>
              <p:cNvPr id="136" name="Straight Connector 135">
                <a:extLst>
                  <a:ext uri="{FF2B5EF4-FFF2-40B4-BE49-F238E27FC236}">
                    <a16:creationId xmlns:a16="http://schemas.microsoft.com/office/drawing/2014/main" id="{A0F6239C-12BA-41D7-A4CB-CC82CCFC7B2D}"/>
                  </a:ext>
                </a:extLst>
              </p:cNvPr>
              <p:cNvCxnSpPr/>
              <p:nvPr/>
            </p:nvCxnSpPr>
            <p:spPr>
              <a:xfrm>
                <a:off x="3704780" y="2935284"/>
                <a:ext cx="1006920" cy="468316"/>
              </a:xfrm>
              <a:prstGeom prst="line">
                <a:avLst/>
              </a:prstGeom>
              <a:noFill/>
              <a:ln w="34925" cap="flat" cmpd="sng" algn="ctr">
                <a:solidFill>
                  <a:schemeClr val="bg1"/>
                </a:solidFill>
                <a:prstDash val="solid"/>
                <a:headEnd type="none" w="med" len="med"/>
                <a:tailEnd type="none" w="med" len="med"/>
              </a:ln>
              <a:effectLst/>
            </p:spPr>
          </p:cxnSp>
          <p:cxnSp>
            <p:nvCxnSpPr>
              <p:cNvPr id="245" name="Straight Connector 244">
                <a:extLst>
                  <a:ext uri="{FF2B5EF4-FFF2-40B4-BE49-F238E27FC236}">
                    <a16:creationId xmlns:a16="http://schemas.microsoft.com/office/drawing/2014/main" id="{C84F72D0-9215-4DF6-B59F-8950BBEBB14C}"/>
                  </a:ext>
                </a:extLst>
              </p:cNvPr>
              <p:cNvCxnSpPr>
                <a:cxnSpLocks/>
              </p:cNvCxnSpPr>
              <p:nvPr/>
            </p:nvCxnSpPr>
            <p:spPr>
              <a:xfrm flipH="1">
                <a:off x="5260530" y="2947988"/>
                <a:ext cx="979605" cy="455612"/>
              </a:xfrm>
              <a:prstGeom prst="line">
                <a:avLst/>
              </a:prstGeom>
              <a:noFill/>
              <a:ln w="34925" cap="flat" cmpd="sng" algn="ctr">
                <a:solidFill>
                  <a:schemeClr val="bg1"/>
                </a:solidFill>
                <a:prstDash val="solid"/>
                <a:headEnd type="none" w="med" len="med"/>
                <a:tailEnd type="none" w="med" len="med"/>
              </a:ln>
              <a:effectLst/>
            </p:spPr>
          </p:cxnSp>
          <p:cxnSp>
            <p:nvCxnSpPr>
              <p:cNvPr id="246" name="Straight Connector 245">
                <a:extLst>
                  <a:ext uri="{FF2B5EF4-FFF2-40B4-BE49-F238E27FC236}">
                    <a16:creationId xmlns:a16="http://schemas.microsoft.com/office/drawing/2014/main" id="{30359A7B-C33E-4E6F-A97E-5794B15A5983}"/>
                  </a:ext>
                </a:extLst>
              </p:cNvPr>
              <p:cNvCxnSpPr>
                <a:cxnSpLocks/>
                <a:stCxn id="242" idx="4"/>
              </p:cNvCxnSpPr>
              <p:nvPr/>
            </p:nvCxnSpPr>
            <p:spPr>
              <a:xfrm flipV="1">
                <a:off x="5015995" y="3763048"/>
                <a:ext cx="0" cy="948356"/>
              </a:xfrm>
              <a:prstGeom prst="line">
                <a:avLst/>
              </a:prstGeom>
              <a:noFill/>
              <a:ln w="34925" cap="flat" cmpd="sng" algn="ctr">
                <a:solidFill>
                  <a:schemeClr val="bg1"/>
                </a:solidFill>
                <a:prstDash val="solid"/>
                <a:headEnd type="none" w="med" len="med"/>
                <a:tailEnd type="none" w="med" len="med"/>
              </a:ln>
              <a:effectLst/>
            </p:spPr>
          </p:cxnSp>
        </p:grpSp>
        <p:sp>
          <p:nvSpPr>
            <p:cNvPr id="357" name="Oval 356">
              <a:extLst>
                <a:ext uri="{FF2B5EF4-FFF2-40B4-BE49-F238E27FC236}">
                  <a16:creationId xmlns:a16="http://schemas.microsoft.com/office/drawing/2014/main" id="{549C93AC-500E-4CE8-BF0E-2FCB73934518}"/>
                </a:ext>
              </a:extLst>
            </p:cNvPr>
            <p:cNvSpPr>
              <a:spLocks noChangeAspect="1"/>
            </p:cNvSpPr>
            <p:nvPr/>
          </p:nvSpPr>
          <p:spPr bwMode="auto">
            <a:xfrm>
              <a:off x="4348736" y="3047246"/>
              <a:ext cx="1114668" cy="1114669"/>
            </a:xfrm>
            <a:prstGeom prst="ellipse">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37141" tIns="109713" rIns="137141" bIns="109713" numCol="1" spcCol="0" rtlCol="0" fromWordArt="0" anchor="t" anchorCtr="0" forceAA="0" compatLnSpc="1">
              <a:prstTxWarp prst="textNoShape">
                <a:avLst/>
              </a:prstTxWarp>
              <a:noAutofit/>
            </a:bodyPr>
            <a:lstStyle/>
            <a:p>
              <a:pPr algn="ctr" defTabSz="699220" fontAlgn="base">
                <a:lnSpc>
                  <a:spcPct val="90000"/>
                </a:lnSpc>
                <a:spcBef>
                  <a:spcPct val="0"/>
                </a:spcBef>
                <a:spcAft>
                  <a:spcPct val="0"/>
                </a:spcAft>
                <a:defRPr/>
              </a:pPr>
              <a:endParaRPr lang="en-US" sz="450" kern="0">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526" name="Group 525">
            <a:extLst>
              <a:ext uri="{FF2B5EF4-FFF2-40B4-BE49-F238E27FC236}">
                <a16:creationId xmlns:a16="http://schemas.microsoft.com/office/drawing/2014/main" id="{E422690C-8794-48E7-9E9C-01403BA0402E}"/>
              </a:ext>
            </a:extLst>
          </p:cNvPr>
          <p:cNvGrpSpPr/>
          <p:nvPr/>
        </p:nvGrpSpPr>
        <p:grpSpPr>
          <a:xfrm>
            <a:off x="3418659" y="2230340"/>
            <a:ext cx="521210" cy="522111"/>
            <a:chOff x="3567113" y="5113338"/>
            <a:chExt cx="917576" cy="919163"/>
          </a:xfrm>
        </p:grpSpPr>
        <p:sp>
          <p:nvSpPr>
            <p:cNvPr id="518" name="Freeform 12">
              <a:extLst>
                <a:ext uri="{FF2B5EF4-FFF2-40B4-BE49-F238E27FC236}">
                  <a16:creationId xmlns:a16="http://schemas.microsoft.com/office/drawing/2014/main" id="{F3D4574B-564D-4CA8-87D0-54747D5B597F}"/>
                </a:ext>
              </a:extLst>
            </p:cNvPr>
            <p:cNvSpPr>
              <a:spLocks/>
            </p:cNvSpPr>
            <p:nvPr/>
          </p:nvSpPr>
          <p:spPr bwMode="auto">
            <a:xfrm>
              <a:off x="3567113" y="5549901"/>
              <a:ext cx="150813" cy="52388"/>
            </a:xfrm>
            <a:custGeom>
              <a:avLst/>
              <a:gdLst>
                <a:gd name="T0" fmla="*/ 58 w 70"/>
                <a:gd name="T1" fmla="*/ 24 h 24"/>
                <a:gd name="T2" fmla="*/ 12 w 70"/>
                <a:gd name="T3" fmla="*/ 24 h 24"/>
                <a:gd name="T4" fmla="*/ 0 w 70"/>
                <a:gd name="T5" fmla="*/ 12 h 24"/>
                <a:gd name="T6" fmla="*/ 12 w 70"/>
                <a:gd name="T7" fmla="*/ 0 h 24"/>
                <a:gd name="T8" fmla="*/ 58 w 70"/>
                <a:gd name="T9" fmla="*/ 0 h 24"/>
                <a:gd name="T10" fmla="*/ 70 w 70"/>
                <a:gd name="T11" fmla="*/ 12 h 24"/>
                <a:gd name="T12" fmla="*/ 58 w 70"/>
                <a:gd name="T13" fmla="*/ 24 h 24"/>
              </a:gdLst>
              <a:ahLst/>
              <a:cxnLst>
                <a:cxn ang="0">
                  <a:pos x="T0" y="T1"/>
                </a:cxn>
                <a:cxn ang="0">
                  <a:pos x="T2" y="T3"/>
                </a:cxn>
                <a:cxn ang="0">
                  <a:pos x="T4" y="T5"/>
                </a:cxn>
                <a:cxn ang="0">
                  <a:pos x="T6" y="T7"/>
                </a:cxn>
                <a:cxn ang="0">
                  <a:pos x="T8" y="T9"/>
                </a:cxn>
                <a:cxn ang="0">
                  <a:pos x="T10" y="T11"/>
                </a:cxn>
                <a:cxn ang="0">
                  <a:pos x="T12" y="T13"/>
                </a:cxn>
              </a:cxnLst>
              <a:rect l="0" t="0" r="r" b="b"/>
              <a:pathLst>
                <a:path w="70" h="24">
                  <a:moveTo>
                    <a:pt x="58" y="24"/>
                  </a:moveTo>
                  <a:cubicBezTo>
                    <a:pt x="12" y="24"/>
                    <a:pt x="12" y="24"/>
                    <a:pt x="12" y="24"/>
                  </a:cubicBezTo>
                  <a:cubicBezTo>
                    <a:pt x="5" y="24"/>
                    <a:pt x="0" y="19"/>
                    <a:pt x="0" y="12"/>
                  </a:cubicBezTo>
                  <a:cubicBezTo>
                    <a:pt x="0" y="6"/>
                    <a:pt x="5" y="0"/>
                    <a:pt x="12" y="0"/>
                  </a:cubicBezTo>
                  <a:cubicBezTo>
                    <a:pt x="58" y="0"/>
                    <a:pt x="58" y="0"/>
                    <a:pt x="58" y="0"/>
                  </a:cubicBezTo>
                  <a:cubicBezTo>
                    <a:pt x="64" y="0"/>
                    <a:pt x="70" y="6"/>
                    <a:pt x="70" y="12"/>
                  </a:cubicBezTo>
                  <a:cubicBezTo>
                    <a:pt x="70" y="19"/>
                    <a:pt x="64" y="24"/>
                    <a:pt x="58" y="24"/>
                  </a:cubicBezTo>
                  <a:close/>
                </a:path>
              </a:pathLst>
            </a:custGeom>
            <a:solidFill>
              <a:srgbClr val="30E5D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85669">
                <a:defRPr/>
              </a:pPr>
              <a:endParaRPr lang="en-IN" sz="1350">
                <a:solidFill>
                  <a:srgbClr val="3C3C41"/>
                </a:solidFill>
                <a:latin typeface="Segoe UI"/>
              </a:endParaRPr>
            </a:p>
          </p:txBody>
        </p:sp>
        <p:sp>
          <p:nvSpPr>
            <p:cNvPr id="519" name="Freeform 13">
              <a:extLst>
                <a:ext uri="{FF2B5EF4-FFF2-40B4-BE49-F238E27FC236}">
                  <a16:creationId xmlns:a16="http://schemas.microsoft.com/office/drawing/2014/main" id="{0A48520E-B5B0-4114-954E-D15547024A31}"/>
                </a:ext>
              </a:extLst>
            </p:cNvPr>
            <p:cNvSpPr>
              <a:spLocks/>
            </p:cNvSpPr>
            <p:nvPr/>
          </p:nvSpPr>
          <p:spPr bwMode="auto">
            <a:xfrm>
              <a:off x="3692526" y="5783263"/>
              <a:ext cx="127000" cy="125413"/>
            </a:xfrm>
            <a:custGeom>
              <a:avLst/>
              <a:gdLst>
                <a:gd name="T0" fmla="*/ 13 w 59"/>
                <a:gd name="T1" fmla="*/ 58 h 58"/>
                <a:gd name="T2" fmla="*/ 5 w 59"/>
                <a:gd name="T3" fmla="*/ 54 h 58"/>
                <a:gd name="T4" fmla="*/ 5 w 59"/>
                <a:gd name="T5" fmla="*/ 37 h 58"/>
                <a:gd name="T6" fmla="*/ 37 w 59"/>
                <a:gd name="T7" fmla="*/ 5 h 58"/>
                <a:gd name="T8" fmla="*/ 54 w 59"/>
                <a:gd name="T9" fmla="*/ 5 h 58"/>
                <a:gd name="T10" fmla="*/ 54 w 59"/>
                <a:gd name="T11" fmla="*/ 22 h 58"/>
                <a:gd name="T12" fmla="*/ 22 w 59"/>
                <a:gd name="T13" fmla="*/ 54 h 58"/>
                <a:gd name="T14" fmla="*/ 13 w 59"/>
                <a:gd name="T15" fmla="*/ 58 h 5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9" h="58">
                  <a:moveTo>
                    <a:pt x="13" y="58"/>
                  </a:moveTo>
                  <a:cubicBezTo>
                    <a:pt x="10" y="58"/>
                    <a:pt x="7" y="56"/>
                    <a:pt x="5" y="54"/>
                  </a:cubicBezTo>
                  <a:cubicBezTo>
                    <a:pt x="0" y="49"/>
                    <a:pt x="0" y="42"/>
                    <a:pt x="5" y="37"/>
                  </a:cubicBezTo>
                  <a:cubicBezTo>
                    <a:pt x="37" y="5"/>
                    <a:pt x="37" y="5"/>
                    <a:pt x="37" y="5"/>
                  </a:cubicBezTo>
                  <a:cubicBezTo>
                    <a:pt x="42" y="0"/>
                    <a:pt x="50" y="0"/>
                    <a:pt x="54" y="5"/>
                  </a:cubicBezTo>
                  <a:cubicBezTo>
                    <a:pt x="59" y="9"/>
                    <a:pt x="59" y="17"/>
                    <a:pt x="54" y="22"/>
                  </a:cubicBezTo>
                  <a:cubicBezTo>
                    <a:pt x="22" y="54"/>
                    <a:pt x="22" y="54"/>
                    <a:pt x="22" y="54"/>
                  </a:cubicBezTo>
                  <a:cubicBezTo>
                    <a:pt x="20" y="56"/>
                    <a:pt x="16" y="58"/>
                    <a:pt x="13" y="58"/>
                  </a:cubicBezTo>
                  <a:close/>
                </a:path>
              </a:pathLst>
            </a:custGeom>
            <a:no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85669">
                <a:defRPr/>
              </a:pPr>
              <a:endParaRPr lang="en-IN" sz="1350">
                <a:solidFill>
                  <a:srgbClr val="3C3C41"/>
                </a:solidFill>
                <a:latin typeface="Segoe UI"/>
              </a:endParaRPr>
            </a:p>
          </p:txBody>
        </p:sp>
        <p:sp>
          <p:nvSpPr>
            <p:cNvPr id="520" name="Freeform 14">
              <a:extLst>
                <a:ext uri="{FF2B5EF4-FFF2-40B4-BE49-F238E27FC236}">
                  <a16:creationId xmlns:a16="http://schemas.microsoft.com/office/drawing/2014/main" id="{D76A20C5-E34E-42C5-8459-E305D9337780}"/>
                </a:ext>
              </a:extLst>
            </p:cNvPr>
            <p:cNvSpPr>
              <a:spLocks/>
            </p:cNvSpPr>
            <p:nvPr/>
          </p:nvSpPr>
          <p:spPr bwMode="auto">
            <a:xfrm>
              <a:off x="4003676" y="5881688"/>
              <a:ext cx="50800" cy="150813"/>
            </a:xfrm>
            <a:custGeom>
              <a:avLst/>
              <a:gdLst>
                <a:gd name="T0" fmla="*/ 12 w 24"/>
                <a:gd name="T1" fmla="*/ 70 h 70"/>
                <a:gd name="T2" fmla="*/ 0 w 24"/>
                <a:gd name="T3" fmla="*/ 58 h 70"/>
                <a:gd name="T4" fmla="*/ 0 w 24"/>
                <a:gd name="T5" fmla="*/ 12 h 70"/>
                <a:gd name="T6" fmla="*/ 12 w 24"/>
                <a:gd name="T7" fmla="*/ 0 h 70"/>
                <a:gd name="T8" fmla="*/ 24 w 24"/>
                <a:gd name="T9" fmla="*/ 12 h 70"/>
                <a:gd name="T10" fmla="*/ 24 w 24"/>
                <a:gd name="T11" fmla="*/ 58 h 70"/>
                <a:gd name="T12" fmla="*/ 12 w 24"/>
                <a:gd name="T13" fmla="*/ 70 h 70"/>
              </a:gdLst>
              <a:ahLst/>
              <a:cxnLst>
                <a:cxn ang="0">
                  <a:pos x="T0" y="T1"/>
                </a:cxn>
                <a:cxn ang="0">
                  <a:pos x="T2" y="T3"/>
                </a:cxn>
                <a:cxn ang="0">
                  <a:pos x="T4" y="T5"/>
                </a:cxn>
                <a:cxn ang="0">
                  <a:pos x="T6" y="T7"/>
                </a:cxn>
                <a:cxn ang="0">
                  <a:pos x="T8" y="T9"/>
                </a:cxn>
                <a:cxn ang="0">
                  <a:pos x="T10" y="T11"/>
                </a:cxn>
                <a:cxn ang="0">
                  <a:pos x="T12" y="T13"/>
                </a:cxn>
              </a:cxnLst>
              <a:rect l="0" t="0" r="r" b="b"/>
              <a:pathLst>
                <a:path w="24" h="70">
                  <a:moveTo>
                    <a:pt x="12" y="70"/>
                  </a:moveTo>
                  <a:cubicBezTo>
                    <a:pt x="5" y="70"/>
                    <a:pt x="0" y="65"/>
                    <a:pt x="0" y="58"/>
                  </a:cubicBezTo>
                  <a:cubicBezTo>
                    <a:pt x="0" y="12"/>
                    <a:pt x="0" y="12"/>
                    <a:pt x="0" y="12"/>
                  </a:cubicBezTo>
                  <a:cubicBezTo>
                    <a:pt x="0" y="6"/>
                    <a:pt x="5" y="0"/>
                    <a:pt x="12" y="0"/>
                  </a:cubicBezTo>
                  <a:cubicBezTo>
                    <a:pt x="18" y="0"/>
                    <a:pt x="24" y="6"/>
                    <a:pt x="24" y="12"/>
                  </a:cubicBezTo>
                  <a:cubicBezTo>
                    <a:pt x="24" y="58"/>
                    <a:pt x="24" y="58"/>
                    <a:pt x="24" y="58"/>
                  </a:cubicBezTo>
                  <a:cubicBezTo>
                    <a:pt x="24" y="65"/>
                    <a:pt x="18" y="70"/>
                    <a:pt x="12" y="70"/>
                  </a:cubicBezTo>
                  <a:close/>
                </a:path>
              </a:pathLst>
            </a:custGeom>
            <a:no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85669">
                <a:defRPr/>
              </a:pPr>
              <a:endParaRPr lang="en-IN" sz="1350">
                <a:solidFill>
                  <a:srgbClr val="3C3C41"/>
                </a:solidFill>
                <a:latin typeface="Segoe UI"/>
              </a:endParaRPr>
            </a:p>
          </p:txBody>
        </p:sp>
        <p:sp>
          <p:nvSpPr>
            <p:cNvPr id="521" name="Freeform 15">
              <a:extLst>
                <a:ext uri="{FF2B5EF4-FFF2-40B4-BE49-F238E27FC236}">
                  <a16:creationId xmlns:a16="http://schemas.microsoft.com/office/drawing/2014/main" id="{86EBEB72-6B94-4B99-BA10-F01C3F262B17}"/>
                </a:ext>
              </a:extLst>
            </p:cNvPr>
            <p:cNvSpPr>
              <a:spLocks/>
            </p:cNvSpPr>
            <p:nvPr/>
          </p:nvSpPr>
          <p:spPr bwMode="auto">
            <a:xfrm>
              <a:off x="4233863" y="5780088"/>
              <a:ext cx="128588" cy="125413"/>
            </a:xfrm>
            <a:custGeom>
              <a:avLst/>
              <a:gdLst>
                <a:gd name="T0" fmla="*/ 46 w 59"/>
                <a:gd name="T1" fmla="*/ 58 h 58"/>
                <a:gd name="T2" fmla="*/ 37 w 59"/>
                <a:gd name="T3" fmla="*/ 54 h 58"/>
                <a:gd name="T4" fmla="*/ 5 w 59"/>
                <a:gd name="T5" fmla="*/ 22 h 58"/>
                <a:gd name="T6" fmla="*/ 5 w 59"/>
                <a:gd name="T7" fmla="*/ 5 h 58"/>
                <a:gd name="T8" fmla="*/ 22 w 59"/>
                <a:gd name="T9" fmla="*/ 5 h 58"/>
                <a:gd name="T10" fmla="*/ 54 w 59"/>
                <a:gd name="T11" fmla="*/ 37 h 58"/>
                <a:gd name="T12" fmla="*/ 54 w 59"/>
                <a:gd name="T13" fmla="*/ 54 h 58"/>
                <a:gd name="T14" fmla="*/ 46 w 59"/>
                <a:gd name="T15" fmla="*/ 58 h 5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9" h="58">
                  <a:moveTo>
                    <a:pt x="46" y="58"/>
                  </a:moveTo>
                  <a:cubicBezTo>
                    <a:pt x="43" y="58"/>
                    <a:pt x="40" y="57"/>
                    <a:pt x="37" y="54"/>
                  </a:cubicBezTo>
                  <a:cubicBezTo>
                    <a:pt x="5" y="22"/>
                    <a:pt x="5" y="22"/>
                    <a:pt x="5" y="22"/>
                  </a:cubicBezTo>
                  <a:cubicBezTo>
                    <a:pt x="0" y="17"/>
                    <a:pt x="0" y="9"/>
                    <a:pt x="5" y="5"/>
                  </a:cubicBezTo>
                  <a:cubicBezTo>
                    <a:pt x="10" y="0"/>
                    <a:pt x="17" y="0"/>
                    <a:pt x="22" y="5"/>
                  </a:cubicBezTo>
                  <a:cubicBezTo>
                    <a:pt x="54" y="37"/>
                    <a:pt x="54" y="37"/>
                    <a:pt x="54" y="37"/>
                  </a:cubicBezTo>
                  <a:cubicBezTo>
                    <a:pt x="59" y="42"/>
                    <a:pt x="59" y="49"/>
                    <a:pt x="54" y="54"/>
                  </a:cubicBezTo>
                  <a:cubicBezTo>
                    <a:pt x="52" y="57"/>
                    <a:pt x="49" y="58"/>
                    <a:pt x="46" y="58"/>
                  </a:cubicBezTo>
                  <a:close/>
                </a:path>
              </a:pathLst>
            </a:custGeom>
            <a:no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85669">
                <a:defRPr/>
              </a:pPr>
              <a:endParaRPr lang="en-IN" sz="1350">
                <a:solidFill>
                  <a:srgbClr val="3C3C41"/>
                </a:solidFill>
                <a:latin typeface="Segoe UI"/>
              </a:endParaRPr>
            </a:p>
          </p:txBody>
        </p:sp>
        <p:sp>
          <p:nvSpPr>
            <p:cNvPr id="522" name="Freeform 16">
              <a:extLst>
                <a:ext uri="{FF2B5EF4-FFF2-40B4-BE49-F238E27FC236}">
                  <a16:creationId xmlns:a16="http://schemas.microsoft.com/office/drawing/2014/main" id="{B9AFEB1A-83CD-4749-B19F-250FE6C754F5}"/>
                </a:ext>
              </a:extLst>
            </p:cNvPr>
            <p:cNvSpPr>
              <a:spLocks/>
            </p:cNvSpPr>
            <p:nvPr/>
          </p:nvSpPr>
          <p:spPr bwMode="auto">
            <a:xfrm>
              <a:off x="4333876" y="5546726"/>
              <a:ext cx="150813" cy="50800"/>
            </a:xfrm>
            <a:custGeom>
              <a:avLst/>
              <a:gdLst>
                <a:gd name="T0" fmla="*/ 58 w 70"/>
                <a:gd name="T1" fmla="*/ 24 h 24"/>
                <a:gd name="T2" fmla="*/ 12 w 70"/>
                <a:gd name="T3" fmla="*/ 24 h 24"/>
                <a:gd name="T4" fmla="*/ 0 w 70"/>
                <a:gd name="T5" fmla="*/ 12 h 24"/>
                <a:gd name="T6" fmla="*/ 12 w 70"/>
                <a:gd name="T7" fmla="*/ 0 h 24"/>
                <a:gd name="T8" fmla="*/ 58 w 70"/>
                <a:gd name="T9" fmla="*/ 0 h 24"/>
                <a:gd name="T10" fmla="*/ 70 w 70"/>
                <a:gd name="T11" fmla="*/ 12 h 24"/>
                <a:gd name="T12" fmla="*/ 58 w 70"/>
                <a:gd name="T13" fmla="*/ 24 h 24"/>
              </a:gdLst>
              <a:ahLst/>
              <a:cxnLst>
                <a:cxn ang="0">
                  <a:pos x="T0" y="T1"/>
                </a:cxn>
                <a:cxn ang="0">
                  <a:pos x="T2" y="T3"/>
                </a:cxn>
                <a:cxn ang="0">
                  <a:pos x="T4" y="T5"/>
                </a:cxn>
                <a:cxn ang="0">
                  <a:pos x="T6" y="T7"/>
                </a:cxn>
                <a:cxn ang="0">
                  <a:pos x="T8" y="T9"/>
                </a:cxn>
                <a:cxn ang="0">
                  <a:pos x="T10" y="T11"/>
                </a:cxn>
                <a:cxn ang="0">
                  <a:pos x="T12" y="T13"/>
                </a:cxn>
              </a:cxnLst>
              <a:rect l="0" t="0" r="r" b="b"/>
              <a:pathLst>
                <a:path w="70" h="24">
                  <a:moveTo>
                    <a:pt x="58" y="24"/>
                  </a:moveTo>
                  <a:cubicBezTo>
                    <a:pt x="12" y="24"/>
                    <a:pt x="12" y="24"/>
                    <a:pt x="12" y="24"/>
                  </a:cubicBezTo>
                  <a:cubicBezTo>
                    <a:pt x="5" y="24"/>
                    <a:pt x="0" y="18"/>
                    <a:pt x="0" y="12"/>
                  </a:cubicBezTo>
                  <a:cubicBezTo>
                    <a:pt x="0" y="5"/>
                    <a:pt x="5" y="0"/>
                    <a:pt x="12" y="0"/>
                  </a:cubicBezTo>
                  <a:cubicBezTo>
                    <a:pt x="58" y="0"/>
                    <a:pt x="58" y="0"/>
                    <a:pt x="58" y="0"/>
                  </a:cubicBezTo>
                  <a:cubicBezTo>
                    <a:pt x="64" y="0"/>
                    <a:pt x="70" y="5"/>
                    <a:pt x="70" y="12"/>
                  </a:cubicBezTo>
                  <a:cubicBezTo>
                    <a:pt x="70" y="18"/>
                    <a:pt x="64" y="24"/>
                    <a:pt x="58" y="24"/>
                  </a:cubicBezTo>
                  <a:close/>
                </a:path>
              </a:pathLst>
            </a:custGeom>
            <a:solidFill>
              <a:srgbClr val="30E5D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85669">
                <a:defRPr/>
              </a:pPr>
              <a:endParaRPr lang="en-IN" sz="1350">
                <a:solidFill>
                  <a:srgbClr val="3C3C41"/>
                </a:solidFill>
                <a:latin typeface="Segoe UI"/>
              </a:endParaRPr>
            </a:p>
          </p:txBody>
        </p:sp>
        <p:sp>
          <p:nvSpPr>
            <p:cNvPr id="523" name="Freeform 17">
              <a:extLst>
                <a:ext uri="{FF2B5EF4-FFF2-40B4-BE49-F238E27FC236}">
                  <a16:creationId xmlns:a16="http://schemas.microsoft.com/office/drawing/2014/main" id="{1724F64F-1979-437C-AD5C-F6687EF666D1}"/>
                </a:ext>
              </a:extLst>
            </p:cNvPr>
            <p:cNvSpPr>
              <a:spLocks/>
            </p:cNvSpPr>
            <p:nvPr/>
          </p:nvSpPr>
          <p:spPr bwMode="auto">
            <a:xfrm>
              <a:off x="4230688" y="5237163"/>
              <a:ext cx="127000" cy="125413"/>
            </a:xfrm>
            <a:custGeom>
              <a:avLst/>
              <a:gdLst>
                <a:gd name="T0" fmla="*/ 14 w 59"/>
                <a:gd name="T1" fmla="*/ 58 h 58"/>
                <a:gd name="T2" fmla="*/ 5 w 59"/>
                <a:gd name="T3" fmla="*/ 54 h 58"/>
                <a:gd name="T4" fmla="*/ 5 w 59"/>
                <a:gd name="T5" fmla="*/ 37 h 58"/>
                <a:gd name="T6" fmla="*/ 38 w 59"/>
                <a:gd name="T7" fmla="*/ 5 h 58"/>
                <a:gd name="T8" fmla="*/ 54 w 59"/>
                <a:gd name="T9" fmla="*/ 5 h 58"/>
                <a:gd name="T10" fmla="*/ 54 w 59"/>
                <a:gd name="T11" fmla="*/ 22 h 58"/>
                <a:gd name="T12" fmla="*/ 22 w 59"/>
                <a:gd name="T13" fmla="*/ 54 h 58"/>
                <a:gd name="T14" fmla="*/ 14 w 59"/>
                <a:gd name="T15" fmla="*/ 58 h 5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9" h="58">
                  <a:moveTo>
                    <a:pt x="14" y="58"/>
                  </a:moveTo>
                  <a:cubicBezTo>
                    <a:pt x="10" y="58"/>
                    <a:pt x="7" y="56"/>
                    <a:pt x="5" y="54"/>
                  </a:cubicBezTo>
                  <a:cubicBezTo>
                    <a:pt x="0" y="49"/>
                    <a:pt x="0" y="42"/>
                    <a:pt x="5" y="37"/>
                  </a:cubicBezTo>
                  <a:cubicBezTo>
                    <a:pt x="38" y="5"/>
                    <a:pt x="38" y="5"/>
                    <a:pt x="38" y="5"/>
                  </a:cubicBezTo>
                  <a:cubicBezTo>
                    <a:pt x="42" y="0"/>
                    <a:pt x="50" y="0"/>
                    <a:pt x="54" y="5"/>
                  </a:cubicBezTo>
                  <a:cubicBezTo>
                    <a:pt x="59" y="9"/>
                    <a:pt x="59" y="17"/>
                    <a:pt x="54" y="22"/>
                  </a:cubicBezTo>
                  <a:cubicBezTo>
                    <a:pt x="22" y="54"/>
                    <a:pt x="22" y="54"/>
                    <a:pt x="22" y="54"/>
                  </a:cubicBezTo>
                  <a:cubicBezTo>
                    <a:pt x="20" y="56"/>
                    <a:pt x="17" y="58"/>
                    <a:pt x="14" y="58"/>
                  </a:cubicBezTo>
                  <a:close/>
                </a:path>
              </a:pathLst>
            </a:custGeom>
            <a:solidFill>
              <a:srgbClr val="30E5D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85669">
                <a:defRPr/>
              </a:pPr>
              <a:endParaRPr lang="en-IN" sz="1350">
                <a:solidFill>
                  <a:srgbClr val="3C3C41"/>
                </a:solidFill>
                <a:latin typeface="Segoe UI"/>
              </a:endParaRPr>
            </a:p>
          </p:txBody>
        </p:sp>
        <p:sp>
          <p:nvSpPr>
            <p:cNvPr id="524" name="Freeform 18">
              <a:extLst>
                <a:ext uri="{FF2B5EF4-FFF2-40B4-BE49-F238E27FC236}">
                  <a16:creationId xmlns:a16="http://schemas.microsoft.com/office/drawing/2014/main" id="{0F0CCCFF-2EA2-40C3-B4CA-32B6B62C87A5}"/>
                </a:ext>
              </a:extLst>
            </p:cNvPr>
            <p:cNvSpPr>
              <a:spLocks/>
            </p:cNvSpPr>
            <p:nvPr/>
          </p:nvSpPr>
          <p:spPr bwMode="auto">
            <a:xfrm>
              <a:off x="3997326" y="5113338"/>
              <a:ext cx="50800" cy="152400"/>
            </a:xfrm>
            <a:custGeom>
              <a:avLst/>
              <a:gdLst>
                <a:gd name="T0" fmla="*/ 12 w 24"/>
                <a:gd name="T1" fmla="*/ 70 h 70"/>
                <a:gd name="T2" fmla="*/ 0 w 24"/>
                <a:gd name="T3" fmla="*/ 58 h 70"/>
                <a:gd name="T4" fmla="*/ 0 w 24"/>
                <a:gd name="T5" fmla="*/ 12 h 70"/>
                <a:gd name="T6" fmla="*/ 12 w 24"/>
                <a:gd name="T7" fmla="*/ 0 h 70"/>
                <a:gd name="T8" fmla="*/ 24 w 24"/>
                <a:gd name="T9" fmla="*/ 12 h 70"/>
                <a:gd name="T10" fmla="*/ 24 w 24"/>
                <a:gd name="T11" fmla="*/ 58 h 70"/>
                <a:gd name="T12" fmla="*/ 12 w 24"/>
                <a:gd name="T13" fmla="*/ 70 h 70"/>
              </a:gdLst>
              <a:ahLst/>
              <a:cxnLst>
                <a:cxn ang="0">
                  <a:pos x="T0" y="T1"/>
                </a:cxn>
                <a:cxn ang="0">
                  <a:pos x="T2" y="T3"/>
                </a:cxn>
                <a:cxn ang="0">
                  <a:pos x="T4" y="T5"/>
                </a:cxn>
                <a:cxn ang="0">
                  <a:pos x="T6" y="T7"/>
                </a:cxn>
                <a:cxn ang="0">
                  <a:pos x="T8" y="T9"/>
                </a:cxn>
                <a:cxn ang="0">
                  <a:pos x="T10" y="T11"/>
                </a:cxn>
                <a:cxn ang="0">
                  <a:pos x="T12" y="T13"/>
                </a:cxn>
              </a:cxnLst>
              <a:rect l="0" t="0" r="r" b="b"/>
              <a:pathLst>
                <a:path w="24" h="70">
                  <a:moveTo>
                    <a:pt x="12" y="70"/>
                  </a:moveTo>
                  <a:cubicBezTo>
                    <a:pt x="5" y="70"/>
                    <a:pt x="0" y="65"/>
                    <a:pt x="0" y="58"/>
                  </a:cubicBezTo>
                  <a:cubicBezTo>
                    <a:pt x="0" y="12"/>
                    <a:pt x="0" y="12"/>
                    <a:pt x="0" y="12"/>
                  </a:cubicBezTo>
                  <a:cubicBezTo>
                    <a:pt x="0" y="6"/>
                    <a:pt x="5" y="0"/>
                    <a:pt x="12" y="0"/>
                  </a:cubicBezTo>
                  <a:cubicBezTo>
                    <a:pt x="18" y="0"/>
                    <a:pt x="24" y="6"/>
                    <a:pt x="24" y="12"/>
                  </a:cubicBezTo>
                  <a:cubicBezTo>
                    <a:pt x="24" y="58"/>
                    <a:pt x="24" y="58"/>
                    <a:pt x="24" y="58"/>
                  </a:cubicBezTo>
                  <a:cubicBezTo>
                    <a:pt x="24" y="65"/>
                    <a:pt x="18" y="70"/>
                    <a:pt x="12" y="70"/>
                  </a:cubicBezTo>
                  <a:close/>
                </a:path>
              </a:pathLst>
            </a:custGeom>
            <a:solidFill>
              <a:srgbClr val="30E5D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85669">
                <a:defRPr/>
              </a:pPr>
              <a:endParaRPr lang="en-IN" sz="1350">
                <a:solidFill>
                  <a:srgbClr val="3C3C41"/>
                </a:solidFill>
                <a:latin typeface="Segoe UI"/>
              </a:endParaRPr>
            </a:p>
          </p:txBody>
        </p:sp>
        <p:sp>
          <p:nvSpPr>
            <p:cNvPr id="525" name="Freeform 19">
              <a:extLst>
                <a:ext uri="{FF2B5EF4-FFF2-40B4-BE49-F238E27FC236}">
                  <a16:creationId xmlns:a16="http://schemas.microsoft.com/office/drawing/2014/main" id="{3A604AC9-25BE-4854-8E84-C44783D0A343}"/>
                </a:ext>
              </a:extLst>
            </p:cNvPr>
            <p:cNvSpPr>
              <a:spLocks/>
            </p:cNvSpPr>
            <p:nvPr/>
          </p:nvSpPr>
          <p:spPr bwMode="auto">
            <a:xfrm>
              <a:off x="3687763" y="5241926"/>
              <a:ext cx="127000" cy="125413"/>
            </a:xfrm>
            <a:custGeom>
              <a:avLst/>
              <a:gdLst>
                <a:gd name="T0" fmla="*/ 46 w 59"/>
                <a:gd name="T1" fmla="*/ 58 h 58"/>
                <a:gd name="T2" fmla="*/ 37 w 59"/>
                <a:gd name="T3" fmla="*/ 54 h 58"/>
                <a:gd name="T4" fmla="*/ 5 w 59"/>
                <a:gd name="T5" fmla="*/ 22 h 58"/>
                <a:gd name="T6" fmla="*/ 5 w 59"/>
                <a:gd name="T7" fmla="*/ 5 h 58"/>
                <a:gd name="T8" fmla="*/ 22 w 59"/>
                <a:gd name="T9" fmla="*/ 5 h 58"/>
                <a:gd name="T10" fmla="*/ 54 w 59"/>
                <a:gd name="T11" fmla="*/ 37 h 58"/>
                <a:gd name="T12" fmla="*/ 54 w 59"/>
                <a:gd name="T13" fmla="*/ 54 h 58"/>
                <a:gd name="T14" fmla="*/ 46 w 59"/>
                <a:gd name="T15" fmla="*/ 58 h 5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9" h="58">
                  <a:moveTo>
                    <a:pt x="46" y="58"/>
                  </a:moveTo>
                  <a:cubicBezTo>
                    <a:pt x="43" y="58"/>
                    <a:pt x="40" y="56"/>
                    <a:pt x="37" y="54"/>
                  </a:cubicBezTo>
                  <a:cubicBezTo>
                    <a:pt x="5" y="22"/>
                    <a:pt x="5" y="22"/>
                    <a:pt x="5" y="22"/>
                  </a:cubicBezTo>
                  <a:cubicBezTo>
                    <a:pt x="0" y="17"/>
                    <a:pt x="0" y="9"/>
                    <a:pt x="5" y="5"/>
                  </a:cubicBezTo>
                  <a:cubicBezTo>
                    <a:pt x="10" y="0"/>
                    <a:pt x="17" y="0"/>
                    <a:pt x="22" y="5"/>
                  </a:cubicBezTo>
                  <a:cubicBezTo>
                    <a:pt x="54" y="37"/>
                    <a:pt x="54" y="37"/>
                    <a:pt x="54" y="37"/>
                  </a:cubicBezTo>
                  <a:cubicBezTo>
                    <a:pt x="59" y="42"/>
                    <a:pt x="59" y="49"/>
                    <a:pt x="54" y="54"/>
                  </a:cubicBezTo>
                  <a:cubicBezTo>
                    <a:pt x="52" y="56"/>
                    <a:pt x="49" y="58"/>
                    <a:pt x="46" y="58"/>
                  </a:cubicBezTo>
                  <a:close/>
                </a:path>
              </a:pathLst>
            </a:custGeom>
            <a:solidFill>
              <a:srgbClr val="30E5D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85669">
                <a:defRPr/>
              </a:pPr>
              <a:endParaRPr lang="en-IN" sz="1350">
                <a:solidFill>
                  <a:srgbClr val="3C3C41"/>
                </a:solidFill>
                <a:latin typeface="Segoe UI"/>
              </a:endParaRPr>
            </a:p>
          </p:txBody>
        </p:sp>
      </p:grpSp>
      <p:grpSp>
        <p:nvGrpSpPr>
          <p:cNvPr id="239" name="Group 8">
            <a:extLst>
              <a:ext uri="{FF2B5EF4-FFF2-40B4-BE49-F238E27FC236}">
                <a16:creationId xmlns:a16="http://schemas.microsoft.com/office/drawing/2014/main" id="{009708D9-5043-4847-8262-564AF57E54A5}"/>
              </a:ext>
            </a:extLst>
          </p:cNvPr>
          <p:cNvGrpSpPr>
            <a:grpSpLocks noChangeAspect="1"/>
          </p:cNvGrpSpPr>
          <p:nvPr/>
        </p:nvGrpSpPr>
        <p:grpSpPr bwMode="auto">
          <a:xfrm>
            <a:off x="3525068" y="2339311"/>
            <a:ext cx="307496" cy="430133"/>
            <a:chOff x="3669" y="1974"/>
            <a:chExt cx="341" cy="477"/>
          </a:xfrm>
        </p:grpSpPr>
        <p:sp>
          <p:nvSpPr>
            <p:cNvPr id="241" name="Freeform 9">
              <a:extLst>
                <a:ext uri="{FF2B5EF4-FFF2-40B4-BE49-F238E27FC236}">
                  <a16:creationId xmlns:a16="http://schemas.microsoft.com/office/drawing/2014/main" id="{DE8BE066-F6C9-4E50-B019-B7125A77C169}"/>
                </a:ext>
              </a:extLst>
            </p:cNvPr>
            <p:cNvSpPr>
              <a:spLocks/>
            </p:cNvSpPr>
            <p:nvPr/>
          </p:nvSpPr>
          <p:spPr bwMode="auto">
            <a:xfrm>
              <a:off x="3669" y="1974"/>
              <a:ext cx="341" cy="391"/>
            </a:xfrm>
            <a:custGeom>
              <a:avLst/>
              <a:gdLst>
                <a:gd name="T0" fmla="*/ 250 w 250"/>
                <a:gd name="T1" fmla="*/ 128 h 287"/>
                <a:gd name="T2" fmla="*/ 117 w 250"/>
                <a:gd name="T3" fmla="*/ 5 h 287"/>
                <a:gd name="T4" fmla="*/ 2 w 250"/>
                <a:gd name="T5" fmla="*/ 119 h 287"/>
                <a:gd name="T6" fmla="*/ 39 w 250"/>
                <a:gd name="T7" fmla="*/ 217 h 287"/>
                <a:gd name="T8" fmla="*/ 63 w 250"/>
                <a:gd name="T9" fmla="*/ 274 h 287"/>
                <a:gd name="T10" fmla="*/ 63 w 250"/>
                <a:gd name="T11" fmla="*/ 274 h 287"/>
                <a:gd name="T12" fmla="*/ 76 w 250"/>
                <a:gd name="T13" fmla="*/ 287 h 287"/>
                <a:gd name="T14" fmla="*/ 176 w 250"/>
                <a:gd name="T15" fmla="*/ 287 h 287"/>
                <a:gd name="T16" fmla="*/ 189 w 250"/>
                <a:gd name="T17" fmla="*/ 274 h 287"/>
                <a:gd name="T18" fmla="*/ 189 w 250"/>
                <a:gd name="T19" fmla="*/ 274 h 287"/>
                <a:gd name="T20" fmla="*/ 213 w 250"/>
                <a:gd name="T21" fmla="*/ 216 h 287"/>
                <a:gd name="T22" fmla="*/ 250 w 250"/>
                <a:gd name="T23" fmla="*/ 128 h 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50" h="287">
                  <a:moveTo>
                    <a:pt x="250" y="128"/>
                  </a:moveTo>
                  <a:cubicBezTo>
                    <a:pt x="250" y="57"/>
                    <a:pt x="189" y="0"/>
                    <a:pt x="117" y="5"/>
                  </a:cubicBezTo>
                  <a:cubicBezTo>
                    <a:pt x="56" y="9"/>
                    <a:pt x="7" y="58"/>
                    <a:pt x="2" y="119"/>
                  </a:cubicBezTo>
                  <a:cubicBezTo>
                    <a:pt x="0" y="157"/>
                    <a:pt x="14" y="192"/>
                    <a:pt x="39" y="217"/>
                  </a:cubicBezTo>
                  <a:cubicBezTo>
                    <a:pt x="55" y="232"/>
                    <a:pt x="63" y="253"/>
                    <a:pt x="63" y="274"/>
                  </a:cubicBezTo>
                  <a:cubicBezTo>
                    <a:pt x="63" y="274"/>
                    <a:pt x="63" y="274"/>
                    <a:pt x="63" y="274"/>
                  </a:cubicBezTo>
                  <a:cubicBezTo>
                    <a:pt x="63" y="281"/>
                    <a:pt x="69" y="287"/>
                    <a:pt x="76" y="287"/>
                  </a:cubicBezTo>
                  <a:cubicBezTo>
                    <a:pt x="176" y="287"/>
                    <a:pt x="176" y="287"/>
                    <a:pt x="176" y="287"/>
                  </a:cubicBezTo>
                  <a:cubicBezTo>
                    <a:pt x="183" y="287"/>
                    <a:pt x="189" y="281"/>
                    <a:pt x="189" y="274"/>
                  </a:cubicBezTo>
                  <a:cubicBezTo>
                    <a:pt x="189" y="274"/>
                    <a:pt x="189" y="274"/>
                    <a:pt x="189" y="274"/>
                  </a:cubicBezTo>
                  <a:cubicBezTo>
                    <a:pt x="189" y="252"/>
                    <a:pt x="198" y="231"/>
                    <a:pt x="213" y="216"/>
                  </a:cubicBezTo>
                  <a:cubicBezTo>
                    <a:pt x="236" y="193"/>
                    <a:pt x="250" y="162"/>
                    <a:pt x="250" y="128"/>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85669">
                <a:defRPr/>
              </a:pPr>
              <a:endParaRPr lang="en-IN" sz="1350">
                <a:solidFill>
                  <a:srgbClr val="3C3C41"/>
                </a:solidFill>
                <a:latin typeface="Segoe UI"/>
              </a:endParaRPr>
            </a:p>
          </p:txBody>
        </p:sp>
        <p:sp>
          <p:nvSpPr>
            <p:cNvPr id="243" name="Freeform 10">
              <a:extLst>
                <a:ext uri="{FF2B5EF4-FFF2-40B4-BE49-F238E27FC236}">
                  <a16:creationId xmlns:a16="http://schemas.microsoft.com/office/drawing/2014/main" id="{27F73DE2-3A63-47F8-9C9D-5B6F6588595E}"/>
                </a:ext>
              </a:extLst>
            </p:cNvPr>
            <p:cNvSpPr>
              <a:spLocks/>
            </p:cNvSpPr>
            <p:nvPr/>
          </p:nvSpPr>
          <p:spPr bwMode="auto">
            <a:xfrm>
              <a:off x="3759" y="2373"/>
              <a:ext cx="162" cy="35"/>
            </a:xfrm>
            <a:custGeom>
              <a:avLst/>
              <a:gdLst>
                <a:gd name="T0" fmla="*/ 112 w 119"/>
                <a:gd name="T1" fmla="*/ 26 h 26"/>
                <a:gd name="T2" fmla="*/ 8 w 119"/>
                <a:gd name="T3" fmla="*/ 26 h 26"/>
                <a:gd name="T4" fmla="*/ 0 w 119"/>
                <a:gd name="T5" fmla="*/ 19 h 26"/>
                <a:gd name="T6" fmla="*/ 0 w 119"/>
                <a:gd name="T7" fmla="*/ 8 h 26"/>
                <a:gd name="T8" fmla="*/ 8 w 119"/>
                <a:gd name="T9" fmla="*/ 0 h 26"/>
                <a:gd name="T10" fmla="*/ 112 w 119"/>
                <a:gd name="T11" fmla="*/ 0 h 26"/>
                <a:gd name="T12" fmla="*/ 119 w 119"/>
                <a:gd name="T13" fmla="*/ 8 h 26"/>
                <a:gd name="T14" fmla="*/ 119 w 119"/>
                <a:gd name="T15" fmla="*/ 19 h 26"/>
                <a:gd name="T16" fmla="*/ 112 w 119"/>
                <a:gd name="T17" fmla="*/ 26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9" h="26">
                  <a:moveTo>
                    <a:pt x="112" y="26"/>
                  </a:moveTo>
                  <a:cubicBezTo>
                    <a:pt x="8" y="26"/>
                    <a:pt x="8" y="26"/>
                    <a:pt x="8" y="26"/>
                  </a:cubicBezTo>
                  <a:cubicBezTo>
                    <a:pt x="4" y="26"/>
                    <a:pt x="0" y="23"/>
                    <a:pt x="0" y="19"/>
                  </a:cubicBezTo>
                  <a:cubicBezTo>
                    <a:pt x="0" y="8"/>
                    <a:pt x="0" y="8"/>
                    <a:pt x="0" y="8"/>
                  </a:cubicBezTo>
                  <a:cubicBezTo>
                    <a:pt x="0" y="4"/>
                    <a:pt x="4" y="0"/>
                    <a:pt x="8" y="0"/>
                  </a:cubicBezTo>
                  <a:cubicBezTo>
                    <a:pt x="112" y="0"/>
                    <a:pt x="112" y="0"/>
                    <a:pt x="112" y="0"/>
                  </a:cubicBezTo>
                  <a:cubicBezTo>
                    <a:pt x="116" y="0"/>
                    <a:pt x="119" y="4"/>
                    <a:pt x="119" y="8"/>
                  </a:cubicBezTo>
                  <a:cubicBezTo>
                    <a:pt x="119" y="19"/>
                    <a:pt x="119" y="19"/>
                    <a:pt x="119" y="19"/>
                  </a:cubicBezTo>
                  <a:cubicBezTo>
                    <a:pt x="119" y="23"/>
                    <a:pt x="116" y="26"/>
                    <a:pt x="112" y="26"/>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85669">
                <a:defRPr/>
              </a:pPr>
              <a:endParaRPr lang="en-IN" sz="1350">
                <a:solidFill>
                  <a:srgbClr val="3C3C41"/>
                </a:solidFill>
                <a:latin typeface="Segoe UI"/>
              </a:endParaRPr>
            </a:p>
          </p:txBody>
        </p:sp>
        <p:sp>
          <p:nvSpPr>
            <p:cNvPr id="244" name="Freeform 11">
              <a:extLst>
                <a:ext uri="{FF2B5EF4-FFF2-40B4-BE49-F238E27FC236}">
                  <a16:creationId xmlns:a16="http://schemas.microsoft.com/office/drawing/2014/main" id="{55883344-43E1-4CE8-B284-7965512F7DE1}"/>
                </a:ext>
              </a:extLst>
            </p:cNvPr>
            <p:cNvSpPr>
              <a:spLocks/>
            </p:cNvSpPr>
            <p:nvPr/>
          </p:nvSpPr>
          <p:spPr bwMode="auto">
            <a:xfrm>
              <a:off x="3759" y="2415"/>
              <a:ext cx="162" cy="36"/>
            </a:xfrm>
            <a:custGeom>
              <a:avLst/>
              <a:gdLst>
                <a:gd name="T0" fmla="*/ 112 w 119"/>
                <a:gd name="T1" fmla="*/ 26 h 26"/>
                <a:gd name="T2" fmla="*/ 8 w 119"/>
                <a:gd name="T3" fmla="*/ 26 h 26"/>
                <a:gd name="T4" fmla="*/ 0 w 119"/>
                <a:gd name="T5" fmla="*/ 18 h 26"/>
                <a:gd name="T6" fmla="*/ 0 w 119"/>
                <a:gd name="T7" fmla="*/ 8 h 26"/>
                <a:gd name="T8" fmla="*/ 8 w 119"/>
                <a:gd name="T9" fmla="*/ 0 h 26"/>
                <a:gd name="T10" fmla="*/ 112 w 119"/>
                <a:gd name="T11" fmla="*/ 0 h 26"/>
                <a:gd name="T12" fmla="*/ 119 w 119"/>
                <a:gd name="T13" fmla="*/ 8 h 26"/>
                <a:gd name="T14" fmla="*/ 119 w 119"/>
                <a:gd name="T15" fmla="*/ 18 h 26"/>
                <a:gd name="T16" fmla="*/ 112 w 119"/>
                <a:gd name="T17" fmla="*/ 26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9" h="26">
                  <a:moveTo>
                    <a:pt x="112" y="26"/>
                  </a:moveTo>
                  <a:cubicBezTo>
                    <a:pt x="8" y="26"/>
                    <a:pt x="8" y="26"/>
                    <a:pt x="8" y="26"/>
                  </a:cubicBezTo>
                  <a:cubicBezTo>
                    <a:pt x="4" y="26"/>
                    <a:pt x="0" y="22"/>
                    <a:pt x="0" y="18"/>
                  </a:cubicBezTo>
                  <a:cubicBezTo>
                    <a:pt x="0" y="8"/>
                    <a:pt x="0" y="8"/>
                    <a:pt x="0" y="8"/>
                  </a:cubicBezTo>
                  <a:cubicBezTo>
                    <a:pt x="0" y="3"/>
                    <a:pt x="4" y="0"/>
                    <a:pt x="8" y="0"/>
                  </a:cubicBezTo>
                  <a:cubicBezTo>
                    <a:pt x="112" y="0"/>
                    <a:pt x="112" y="0"/>
                    <a:pt x="112" y="0"/>
                  </a:cubicBezTo>
                  <a:cubicBezTo>
                    <a:pt x="116" y="0"/>
                    <a:pt x="119" y="3"/>
                    <a:pt x="119" y="8"/>
                  </a:cubicBezTo>
                  <a:cubicBezTo>
                    <a:pt x="119" y="18"/>
                    <a:pt x="119" y="18"/>
                    <a:pt x="119" y="18"/>
                  </a:cubicBezTo>
                  <a:cubicBezTo>
                    <a:pt x="119" y="22"/>
                    <a:pt x="116" y="26"/>
                    <a:pt x="112" y="26"/>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85669">
                <a:defRPr/>
              </a:pPr>
              <a:endParaRPr lang="en-IN" sz="1350">
                <a:solidFill>
                  <a:srgbClr val="3C3C41"/>
                </a:solidFill>
                <a:latin typeface="Segoe UI"/>
              </a:endParaRPr>
            </a:p>
          </p:txBody>
        </p:sp>
        <p:sp>
          <p:nvSpPr>
            <p:cNvPr id="517" name="Freeform 20">
              <a:extLst>
                <a:ext uri="{FF2B5EF4-FFF2-40B4-BE49-F238E27FC236}">
                  <a16:creationId xmlns:a16="http://schemas.microsoft.com/office/drawing/2014/main" id="{FFC3C63B-668D-422E-B2B0-FBE36A092F70}"/>
                </a:ext>
              </a:extLst>
            </p:cNvPr>
            <p:cNvSpPr>
              <a:spLocks/>
            </p:cNvSpPr>
            <p:nvPr/>
          </p:nvSpPr>
          <p:spPr bwMode="auto">
            <a:xfrm>
              <a:off x="3781" y="2138"/>
              <a:ext cx="121" cy="228"/>
            </a:xfrm>
            <a:custGeom>
              <a:avLst/>
              <a:gdLst>
                <a:gd name="T0" fmla="*/ 52 w 89"/>
                <a:gd name="T1" fmla="*/ 168 h 168"/>
                <a:gd name="T2" fmla="*/ 36 w 89"/>
                <a:gd name="T3" fmla="*/ 168 h 168"/>
                <a:gd name="T4" fmla="*/ 36 w 89"/>
                <a:gd name="T5" fmla="*/ 55 h 168"/>
                <a:gd name="T6" fmla="*/ 27 w 89"/>
                <a:gd name="T7" fmla="*/ 46 h 168"/>
                <a:gd name="T8" fmla="*/ 22 w 89"/>
                <a:gd name="T9" fmla="*/ 46 h 168"/>
                <a:gd name="T10" fmla="*/ 0 w 89"/>
                <a:gd name="T11" fmla="*/ 23 h 168"/>
                <a:gd name="T12" fmla="*/ 22 w 89"/>
                <a:gd name="T13" fmla="*/ 0 h 168"/>
                <a:gd name="T14" fmla="*/ 66 w 89"/>
                <a:gd name="T15" fmla="*/ 0 h 168"/>
                <a:gd name="T16" fmla="*/ 89 w 89"/>
                <a:gd name="T17" fmla="*/ 23 h 168"/>
                <a:gd name="T18" fmla="*/ 66 w 89"/>
                <a:gd name="T19" fmla="*/ 47 h 168"/>
                <a:gd name="T20" fmla="*/ 57 w 89"/>
                <a:gd name="T21" fmla="*/ 47 h 168"/>
                <a:gd name="T22" fmla="*/ 57 w 89"/>
                <a:gd name="T23" fmla="*/ 31 h 168"/>
                <a:gd name="T24" fmla="*/ 66 w 89"/>
                <a:gd name="T25" fmla="*/ 31 h 168"/>
                <a:gd name="T26" fmla="*/ 73 w 89"/>
                <a:gd name="T27" fmla="*/ 23 h 168"/>
                <a:gd name="T28" fmla="*/ 66 w 89"/>
                <a:gd name="T29" fmla="*/ 16 h 168"/>
                <a:gd name="T30" fmla="*/ 22 w 89"/>
                <a:gd name="T31" fmla="*/ 16 h 168"/>
                <a:gd name="T32" fmla="*/ 16 w 89"/>
                <a:gd name="T33" fmla="*/ 23 h 168"/>
                <a:gd name="T34" fmla="*/ 22 w 89"/>
                <a:gd name="T35" fmla="*/ 30 h 168"/>
                <a:gd name="T36" fmla="*/ 27 w 89"/>
                <a:gd name="T37" fmla="*/ 30 h 168"/>
                <a:gd name="T38" fmla="*/ 52 w 89"/>
                <a:gd name="T39" fmla="*/ 55 h 168"/>
                <a:gd name="T40" fmla="*/ 52 w 89"/>
                <a:gd name="T41" fmla="*/ 168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9" h="168">
                  <a:moveTo>
                    <a:pt x="52" y="168"/>
                  </a:moveTo>
                  <a:cubicBezTo>
                    <a:pt x="36" y="168"/>
                    <a:pt x="36" y="168"/>
                    <a:pt x="36" y="168"/>
                  </a:cubicBezTo>
                  <a:cubicBezTo>
                    <a:pt x="36" y="55"/>
                    <a:pt x="36" y="55"/>
                    <a:pt x="36" y="55"/>
                  </a:cubicBezTo>
                  <a:cubicBezTo>
                    <a:pt x="36" y="50"/>
                    <a:pt x="32" y="46"/>
                    <a:pt x="27" y="46"/>
                  </a:cubicBezTo>
                  <a:cubicBezTo>
                    <a:pt x="22" y="46"/>
                    <a:pt x="22" y="46"/>
                    <a:pt x="22" y="46"/>
                  </a:cubicBezTo>
                  <a:cubicBezTo>
                    <a:pt x="10" y="46"/>
                    <a:pt x="0" y="35"/>
                    <a:pt x="0" y="23"/>
                  </a:cubicBezTo>
                  <a:cubicBezTo>
                    <a:pt x="0" y="10"/>
                    <a:pt x="10" y="0"/>
                    <a:pt x="22" y="0"/>
                  </a:cubicBezTo>
                  <a:cubicBezTo>
                    <a:pt x="66" y="0"/>
                    <a:pt x="66" y="0"/>
                    <a:pt x="66" y="0"/>
                  </a:cubicBezTo>
                  <a:cubicBezTo>
                    <a:pt x="79" y="0"/>
                    <a:pt x="89" y="11"/>
                    <a:pt x="89" y="23"/>
                  </a:cubicBezTo>
                  <a:cubicBezTo>
                    <a:pt x="89" y="36"/>
                    <a:pt x="79" y="47"/>
                    <a:pt x="66" y="47"/>
                  </a:cubicBezTo>
                  <a:cubicBezTo>
                    <a:pt x="57" y="47"/>
                    <a:pt x="57" y="47"/>
                    <a:pt x="57" y="47"/>
                  </a:cubicBezTo>
                  <a:cubicBezTo>
                    <a:pt x="57" y="31"/>
                    <a:pt x="57" y="31"/>
                    <a:pt x="57" y="31"/>
                  </a:cubicBezTo>
                  <a:cubicBezTo>
                    <a:pt x="66" y="31"/>
                    <a:pt x="66" y="31"/>
                    <a:pt x="66" y="31"/>
                  </a:cubicBezTo>
                  <a:cubicBezTo>
                    <a:pt x="70" y="31"/>
                    <a:pt x="73" y="27"/>
                    <a:pt x="73" y="23"/>
                  </a:cubicBezTo>
                  <a:cubicBezTo>
                    <a:pt x="73" y="19"/>
                    <a:pt x="70" y="16"/>
                    <a:pt x="66" y="16"/>
                  </a:cubicBezTo>
                  <a:cubicBezTo>
                    <a:pt x="22" y="16"/>
                    <a:pt x="22" y="16"/>
                    <a:pt x="22" y="16"/>
                  </a:cubicBezTo>
                  <a:cubicBezTo>
                    <a:pt x="19" y="16"/>
                    <a:pt x="16" y="19"/>
                    <a:pt x="16" y="23"/>
                  </a:cubicBezTo>
                  <a:cubicBezTo>
                    <a:pt x="16" y="27"/>
                    <a:pt x="19" y="30"/>
                    <a:pt x="22" y="30"/>
                  </a:cubicBezTo>
                  <a:cubicBezTo>
                    <a:pt x="27" y="30"/>
                    <a:pt x="27" y="30"/>
                    <a:pt x="27" y="30"/>
                  </a:cubicBezTo>
                  <a:cubicBezTo>
                    <a:pt x="41" y="30"/>
                    <a:pt x="52" y="41"/>
                    <a:pt x="52" y="55"/>
                  </a:cubicBezTo>
                  <a:lnTo>
                    <a:pt x="52" y="168"/>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85669">
                <a:defRPr/>
              </a:pPr>
              <a:endParaRPr lang="en-IN" sz="1350">
                <a:solidFill>
                  <a:srgbClr val="3C3C41"/>
                </a:solidFill>
                <a:latin typeface="Segoe UI"/>
              </a:endParaRPr>
            </a:p>
          </p:txBody>
        </p:sp>
      </p:grpSp>
      <p:grpSp>
        <p:nvGrpSpPr>
          <p:cNvPr id="253" name="Group 252">
            <a:extLst>
              <a:ext uri="{FF2B5EF4-FFF2-40B4-BE49-F238E27FC236}">
                <a16:creationId xmlns:a16="http://schemas.microsoft.com/office/drawing/2014/main" id="{693E2801-A7B6-4B8C-82BA-D6F75F7C7689}"/>
              </a:ext>
            </a:extLst>
          </p:cNvPr>
          <p:cNvGrpSpPr/>
          <p:nvPr/>
        </p:nvGrpSpPr>
        <p:grpSpPr>
          <a:xfrm>
            <a:off x="395780" y="1904523"/>
            <a:ext cx="1073496" cy="1243327"/>
            <a:chOff x="1979813" y="4586319"/>
            <a:chExt cx="8239244" cy="13129305"/>
          </a:xfrm>
          <a:effectLst>
            <a:outerShdw blurRad="177800" dist="38100" dir="5400000" algn="t" rotWithShape="0">
              <a:prstClr val="black">
                <a:alpha val="40000"/>
              </a:prstClr>
            </a:outerShdw>
          </a:effectLst>
        </p:grpSpPr>
        <p:sp>
          <p:nvSpPr>
            <p:cNvPr id="254" name="Rectangle 253">
              <a:extLst>
                <a:ext uri="{FF2B5EF4-FFF2-40B4-BE49-F238E27FC236}">
                  <a16:creationId xmlns:a16="http://schemas.microsoft.com/office/drawing/2014/main" id="{02EF9CE5-64E8-46BC-A66F-244BA8FBAFCE}"/>
                </a:ext>
              </a:extLst>
            </p:cNvPr>
            <p:cNvSpPr/>
            <p:nvPr/>
          </p:nvSpPr>
          <p:spPr bwMode="auto">
            <a:xfrm>
              <a:off x="1979813" y="4586319"/>
              <a:ext cx="8239244" cy="13129305"/>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1" tIns="109713" rIns="137141" bIns="109713" numCol="1" spcCol="0" rtlCol="0" fromWordArt="0" anchor="t" anchorCtr="0" forceAA="0" compatLnSpc="1">
              <a:prstTxWarp prst="textNoShape">
                <a:avLst/>
              </a:prstTxWarp>
              <a:noAutofit/>
            </a:bodyPr>
            <a:lstStyle/>
            <a:p>
              <a:pPr defTabSz="699220" fontAlgn="base">
                <a:spcBef>
                  <a:spcPct val="0"/>
                </a:spcBef>
                <a:spcAft>
                  <a:spcPct val="0"/>
                </a:spcAft>
                <a:defRPr/>
              </a:pPr>
              <a:endParaRPr lang="en-US" sz="150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257" name="Picture 256">
              <a:extLst>
                <a:ext uri="{FF2B5EF4-FFF2-40B4-BE49-F238E27FC236}">
                  <a16:creationId xmlns:a16="http://schemas.microsoft.com/office/drawing/2014/main" id="{50AB80C7-75C9-4516-BC33-4A1ED12DFDE6}"/>
                </a:ext>
              </a:extLst>
            </p:cNvPr>
            <p:cNvPicPr>
              <a:picLocks noChangeAspect="1"/>
            </p:cNvPicPr>
            <p:nvPr/>
          </p:nvPicPr>
          <p:blipFill>
            <a:blip r:embed="rId5"/>
            <a:stretch>
              <a:fillRect/>
            </a:stretch>
          </p:blipFill>
          <p:spPr>
            <a:xfrm>
              <a:off x="2627329" y="5742321"/>
              <a:ext cx="6944217" cy="10968170"/>
            </a:xfrm>
            <a:prstGeom prst="rect">
              <a:avLst/>
            </a:prstGeom>
          </p:spPr>
        </p:pic>
      </p:grpSp>
      <p:sp>
        <p:nvSpPr>
          <p:cNvPr id="266" name="Rectangle 265">
            <a:extLst>
              <a:ext uri="{FF2B5EF4-FFF2-40B4-BE49-F238E27FC236}">
                <a16:creationId xmlns:a16="http://schemas.microsoft.com/office/drawing/2014/main" id="{F83C1B99-CF04-48B3-AB31-584936CCD40B}"/>
              </a:ext>
            </a:extLst>
          </p:cNvPr>
          <p:cNvSpPr/>
          <p:nvPr/>
        </p:nvSpPr>
        <p:spPr bwMode="auto">
          <a:xfrm>
            <a:off x="470179" y="1917977"/>
            <a:ext cx="235343" cy="8084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1" tIns="109713" rIns="137141" bIns="109713" numCol="1" spcCol="0" rtlCol="0" fromWordArt="0" anchor="t" anchorCtr="0" forceAA="0" compatLnSpc="1">
            <a:prstTxWarp prst="textNoShape">
              <a:avLst/>
            </a:prstTxWarp>
            <a:noAutofit/>
          </a:bodyPr>
          <a:lstStyle/>
          <a:p>
            <a:pPr defTabSz="699220" fontAlgn="base">
              <a:spcBef>
                <a:spcPct val="0"/>
              </a:spcBef>
              <a:spcAft>
                <a:spcPct val="0"/>
              </a:spcAft>
              <a:defRPr/>
            </a:pPr>
            <a:endParaRPr lang="en-US" sz="15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73" name="Rectangle 272">
            <a:extLst>
              <a:ext uri="{FF2B5EF4-FFF2-40B4-BE49-F238E27FC236}">
                <a16:creationId xmlns:a16="http://schemas.microsoft.com/office/drawing/2014/main" id="{63F825E0-0721-489A-A794-6B613AD6D76C}"/>
              </a:ext>
            </a:extLst>
          </p:cNvPr>
          <p:cNvSpPr/>
          <p:nvPr/>
        </p:nvSpPr>
        <p:spPr bwMode="auto">
          <a:xfrm>
            <a:off x="705110" y="3053672"/>
            <a:ext cx="223920" cy="8084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1" tIns="109713" rIns="137141" bIns="109713" numCol="1" spcCol="0" rtlCol="0" fromWordArt="0" anchor="t" anchorCtr="0" forceAA="0" compatLnSpc="1">
            <a:prstTxWarp prst="textNoShape">
              <a:avLst/>
            </a:prstTxWarp>
            <a:noAutofit/>
          </a:bodyPr>
          <a:lstStyle/>
          <a:p>
            <a:pPr defTabSz="699220" fontAlgn="base">
              <a:spcBef>
                <a:spcPct val="0"/>
              </a:spcBef>
              <a:spcAft>
                <a:spcPct val="0"/>
              </a:spcAft>
              <a:defRPr/>
            </a:pPr>
            <a:endParaRPr lang="en-US" sz="15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79" name="Rectangle 278">
            <a:extLst>
              <a:ext uri="{FF2B5EF4-FFF2-40B4-BE49-F238E27FC236}">
                <a16:creationId xmlns:a16="http://schemas.microsoft.com/office/drawing/2014/main" id="{C7005B64-E613-4D55-8BC5-1B5DE0228E69}"/>
              </a:ext>
            </a:extLst>
          </p:cNvPr>
          <p:cNvSpPr/>
          <p:nvPr/>
        </p:nvSpPr>
        <p:spPr bwMode="auto">
          <a:xfrm>
            <a:off x="923263" y="1917977"/>
            <a:ext cx="235343" cy="8084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1" tIns="109713" rIns="137141" bIns="109713" numCol="1" spcCol="0" rtlCol="0" fromWordArt="0" anchor="t" anchorCtr="0" forceAA="0" compatLnSpc="1">
            <a:prstTxWarp prst="textNoShape">
              <a:avLst/>
            </a:prstTxWarp>
            <a:noAutofit/>
          </a:bodyPr>
          <a:lstStyle/>
          <a:p>
            <a:pPr defTabSz="699220" fontAlgn="base">
              <a:spcBef>
                <a:spcPct val="0"/>
              </a:spcBef>
              <a:spcAft>
                <a:spcPct val="0"/>
              </a:spcAft>
              <a:defRPr/>
            </a:pPr>
            <a:endParaRPr lang="en-US" sz="15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81" name="Rectangle 280">
            <a:extLst>
              <a:ext uri="{FF2B5EF4-FFF2-40B4-BE49-F238E27FC236}">
                <a16:creationId xmlns:a16="http://schemas.microsoft.com/office/drawing/2014/main" id="{7041F0D0-20E7-4864-BDFF-69C0D635A782}"/>
              </a:ext>
            </a:extLst>
          </p:cNvPr>
          <p:cNvSpPr/>
          <p:nvPr/>
        </p:nvSpPr>
        <p:spPr bwMode="auto">
          <a:xfrm>
            <a:off x="1161410" y="3053672"/>
            <a:ext cx="235343" cy="8084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1" tIns="109713" rIns="137141" bIns="109713" numCol="1" spcCol="0" rtlCol="0" fromWordArt="0" anchor="t" anchorCtr="0" forceAA="0" compatLnSpc="1">
            <a:prstTxWarp prst="textNoShape">
              <a:avLst/>
            </a:prstTxWarp>
            <a:noAutofit/>
          </a:bodyPr>
          <a:lstStyle/>
          <a:p>
            <a:pPr defTabSz="699220" fontAlgn="base">
              <a:spcBef>
                <a:spcPct val="0"/>
              </a:spcBef>
              <a:spcAft>
                <a:spcPct val="0"/>
              </a:spcAft>
              <a:defRPr/>
            </a:pPr>
            <a:endParaRPr lang="en-US" sz="15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51" name="Rectangle 350">
            <a:extLst>
              <a:ext uri="{FF2B5EF4-FFF2-40B4-BE49-F238E27FC236}">
                <a16:creationId xmlns:a16="http://schemas.microsoft.com/office/drawing/2014/main" id="{C03C1DE4-BF34-4881-9358-7B9FE48096C0}"/>
              </a:ext>
            </a:extLst>
          </p:cNvPr>
          <p:cNvSpPr/>
          <p:nvPr/>
        </p:nvSpPr>
        <p:spPr bwMode="auto">
          <a:xfrm>
            <a:off x="1329261" y="2658667"/>
            <a:ext cx="49937" cy="82694"/>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1" tIns="109713" rIns="137141" bIns="109713" numCol="1" spcCol="0" rtlCol="0" fromWordArt="0" anchor="t" anchorCtr="0" forceAA="0" compatLnSpc="1">
            <a:prstTxWarp prst="textNoShape">
              <a:avLst/>
            </a:prstTxWarp>
            <a:noAutofit/>
          </a:bodyPr>
          <a:lstStyle/>
          <a:p>
            <a:pPr algn="ctr" defTabSz="699220" fontAlgn="base">
              <a:lnSpc>
                <a:spcPct val="90000"/>
              </a:lnSpc>
              <a:spcBef>
                <a:spcPct val="0"/>
              </a:spcBef>
              <a:spcAft>
                <a:spcPct val="0"/>
              </a:spcAft>
              <a:defRPr/>
            </a:pPr>
            <a:endParaRPr lang="en-IN"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13" name="Group 12">
            <a:extLst>
              <a:ext uri="{FF2B5EF4-FFF2-40B4-BE49-F238E27FC236}">
                <a16:creationId xmlns:a16="http://schemas.microsoft.com/office/drawing/2014/main" id="{0D531C05-49E5-47C6-A20B-5767A7356C5B}"/>
              </a:ext>
            </a:extLst>
          </p:cNvPr>
          <p:cNvGrpSpPr/>
          <p:nvPr/>
        </p:nvGrpSpPr>
        <p:grpSpPr>
          <a:xfrm>
            <a:off x="595345" y="2008677"/>
            <a:ext cx="442787" cy="866607"/>
            <a:chOff x="793040" y="2906770"/>
            <a:chExt cx="590466" cy="1155640"/>
          </a:xfrm>
        </p:grpSpPr>
        <p:sp>
          <p:nvSpPr>
            <p:cNvPr id="305" name="Rectangle 304">
              <a:extLst>
                <a:ext uri="{FF2B5EF4-FFF2-40B4-BE49-F238E27FC236}">
                  <a16:creationId xmlns:a16="http://schemas.microsoft.com/office/drawing/2014/main" id="{6313B8D7-3C97-4590-AF47-13DAECD4881C}"/>
                </a:ext>
              </a:extLst>
            </p:cNvPr>
            <p:cNvSpPr/>
            <p:nvPr/>
          </p:nvSpPr>
          <p:spPr bwMode="auto">
            <a:xfrm>
              <a:off x="1316914" y="3668772"/>
              <a:ext cx="66592" cy="88839"/>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1" tIns="109713" rIns="137141" bIns="109713" numCol="1" spcCol="0" rtlCol="0" fromWordArt="0" anchor="t" anchorCtr="0" forceAA="0" compatLnSpc="1">
              <a:prstTxWarp prst="textNoShape">
                <a:avLst/>
              </a:prstTxWarp>
              <a:noAutofit/>
            </a:bodyPr>
            <a:lstStyle/>
            <a:p>
              <a:pPr algn="ctr" defTabSz="699220" fontAlgn="base">
                <a:lnSpc>
                  <a:spcPct val="90000"/>
                </a:lnSpc>
                <a:spcBef>
                  <a:spcPct val="0"/>
                </a:spcBef>
                <a:spcAft>
                  <a:spcPct val="0"/>
                </a:spcAft>
                <a:defRPr/>
              </a:pPr>
              <a:endParaRPr lang="en-IN"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45" name="Rectangle 344">
              <a:extLst>
                <a:ext uri="{FF2B5EF4-FFF2-40B4-BE49-F238E27FC236}">
                  <a16:creationId xmlns:a16="http://schemas.microsoft.com/office/drawing/2014/main" id="{1A3C37AD-F608-4091-A214-F3DBF5EE03B6}"/>
                </a:ext>
              </a:extLst>
            </p:cNvPr>
            <p:cNvSpPr/>
            <p:nvPr/>
          </p:nvSpPr>
          <p:spPr bwMode="auto">
            <a:xfrm>
              <a:off x="793040" y="3973571"/>
              <a:ext cx="66592" cy="88839"/>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1" tIns="109713" rIns="137141" bIns="109713" numCol="1" spcCol="0" rtlCol="0" fromWordArt="0" anchor="t" anchorCtr="0" forceAA="0" compatLnSpc="1">
              <a:prstTxWarp prst="textNoShape">
                <a:avLst/>
              </a:prstTxWarp>
              <a:noAutofit/>
            </a:bodyPr>
            <a:lstStyle/>
            <a:p>
              <a:pPr algn="ctr" defTabSz="699220" fontAlgn="base">
                <a:lnSpc>
                  <a:spcPct val="90000"/>
                </a:lnSpc>
                <a:spcBef>
                  <a:spcPct val="0"/>
                </a:spcBef>
                <a:spcAft>
                  <a:spcPct val="0"/>
                </a:spcAft>
                <a:defRPr/>
              </a:pPr>
              <a:endParaRPr lang="en-IN"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59" name="Rectangle 358">
              <a:extLst>
                <a:ext uri="{FF2B5EF4-FFF2-40B4-BE49-F238E27FC236}">
                  <a16:creationId xmlns:a16="http://schemas.microsoft.com/office/drawing/2014/main" id="{261E1728-57FA-4851-BC03-1D2F8BA15D54}"/>
                </a:ext>
              </a:extLst>
            </p:cNvPr>
            <p:cNvSpPr/>
            <p:nvPr/>
          </p:nvSpPr>
          <p:spPr bwMode="auto">
            <a:xfrm>
              <a:off x="1095459" y="2913913"/>
              <a:ext cx="66592" cy="88839"/>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1" tIns="109713" rIns="137141" bIns="109713" numCol="1" spcCol="0" rtlCol="0" fromWordArt="0" anchor="t" anchorCtr="0" forceAA="0" compatLnSpc="1">
              <a:prstTxWarp prst="textNoShape">
                <a:avLst/>
              </a:prstTxWarp>
              <a:noAutofit/>
            </a:bodyPr>
            <a:lstStyle/>
            <a:p>
              <a:pPr algn="ctr" defTabSz="699220" fontAlgn="base">
                <a:lnSpc>
                  <a:spcPct val="90000"/>
                </a:lnSpc>
                <a:spcBef>
                  <a:spcPct val="0"/>
                </a:spcBef>
                <a:spcAft>
                  <a:spcPct val="0"/>
                </a:spcAft>
                <a:defRPr/>
              </a:pPr>
              <a:endParaRPr lang="en-IN"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60" name="Rectangle 359">
              <a:extLst>
                <a:ext uri="{FF2B5EF4-FFF2-40B4-BE49-F238E27FC236}">
                  <a16:creationId xmlns:a16="http://schemas.microsoft.com/office/drawing/2014/main" id="{25D95912-E84A-4233-975E-F23C4D77AF77}"/>
                </a:ext>
              </a:extLst>
            </p:cNvPr>
            <p:cNvSpPr/>
            <p:nvPr/>
          </p:nvSpPr>
          <p:spPr bwMode="auto">
            <a:xfrm>
              <a:off x="869239" y="2906770"/>
              <a:ext cx="66592" cy="88839"/>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1" tIns="109713" rIns="137141" bIns="109713" numCol="1" spcCol="0" rtlCol="0" fromWordArt="0" anchor="t" anchorCtr="0" forceAA="0" compatLnSpc="1">
              <a:prstTxWarp prst="textNoShape">
                <a:avLst/>
              </a:prstTxWarp>
              <a:noAutofit/>
            </a:bodyPr>
            <a:lstStyle/>
            <a:p>
              <a:pPr algn="ctr" defTabSz="699220" fontAlgn="base">
                <a:lnSpc>
                  <a:spcPct val="90000"/>
                </a:lnSpc>
                <a:spcBef>
                  <a:spcPct val="0"/>
                </a:spcBef>
                <a:spcAft>
                  <a:spcPct val="0"/>
                </a:spcAft>
                <a:defRPr/>
              </a:pPr>
              <a:endParaRPr lang="en-IN"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12" name="Group 11">
            <a:extLst>
              <a:ext uri="{FF2B5EF4-FFF2-40B4-BE49-F238E27FC236}">
                <a16:creationId xmlns:a16="http://schemas.microsoft.com/office/drawing/2014/main" id="{DDC58B21-4B17-4B90-B896-C76CF6EF8B9F}"/>
              </a:ext>
            </a:extLst>
          </p:cNvPr>
          <p:cNvGrpSpPr/>
          <p:nvPr/>
        </p:nvGrpSpPr>
        <p:grpSpPr>
          <a:xfrm>
            <a:off x="481060" y="2094391"/>
            <a:ext cx="728498" cy="791608"/>
            <a:chOff x="640639" y="3021070"/>
            <a:chExt cx="971468" cy="1055627"/>
          </a:xfrm>
        </p:grpSpPr>
        <p:sp>
          <p:nvSpPr>
            <p:cNvPr id="10" name="Rectangle 9">
              <a:extLst>
                <a:ext uri="{FF2B5EF4-FFF2-40B4-BE49-F238E27FC236}">
                  <a16:creationId xmlns:a16="http://schemas.microsoft.com/office/drawing/2014/main" id="{52E0D71D-D7E0-452B-84A6-696046BE09C8}"/>
                </a:ext>
              </a:extLst>
            </p:cNvPr>
            <p:cNvSpPr/>
            <p:nvPr/>
          </p:nvSpPr>
          <p:spPr bwMode="auto">
            <a:xfrm>
              <a:off x="640639" y="3237766"/>
              <a:ext cx="66592" cy="88839"/>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1" tIns="109713" rIns="137141" bIns="109713" numCol="1" spcCol="0" rtlCol="0" fromWordArt="0" anchor="t" anchorCtr="0" forceAA="0" compatLnSpc="1">
              <a:prstTxWarp prst="textNoShape">
                <a:avLst/>
              </a:prstTxWarp>
              <a:noAutofit/>
            </a:bodyPr>
            <a:lstStyle/>
            <a:p>
              <a:pPr algn="ctr" defTabSz="699220" fontAlgn="base">
                <a:lnSpc>
                  <a:spcPct val="90000"/>
                </a:lnSpc>
                <a:spcBef>
                  <a:spcPct val="0"/>
                </a:spcBef>
                <a:spcAft>
                  <a:spcPct val="0"/>
                </a:spcAft>
                <a:defRPr/>
              </a:pPr>
              <a:endParaRPr lang="en-IN"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37" name="Rectangle 336">
              <a:extLst>
                <a:ext uri="{FF2B5EF4-FFF2-40B4-BE49-F238E27FC236}">
                  <a16:creationId xmlns:a16="http://schemas.microsoft.com/office/drawing/2014/main" id="{477FE063-1F69-4F68-A1D0-E5F57CF7C974}"/>
                </a:ext>
              </a:extLst>
            </p:cNvPr>
            <p:cNvSpPr/>
            <p:nvPr/>
          </p:nvSpPr>
          <p:spPr bwMode="auto">
            <a:xfrm>
              <a:off x="1545515" y="3671153"/>
              <a:ext cx="66592" cy="88839"/>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1" tIns="109713" rIns="137141" bIns="109713" numCol="1" spcCol="0" rtlCol="0" fromWordArt="0" anchor="t" anchorCtr="0" forceAA="0" compatLnSpc="1">
              <a:prstTxWarp prst="textNoShape">
                <a:avLst/>
              </a:prstTxWarp>
              <a:noAutofit/>
            </a:bodyPr>
            <a:lstStyle/>
            <a:p>
              <a:pPr algn="ctr" defTabSz="699220" fontAlgn="base">
                <a:lnSpc>
                  <a:spcPct val="90000"/>
                </a:lnSpc>
                <a:spcBef>
                  <a:spcPct val="0"/>
                </a:spcBef>
                <a:spcAft>
                  <a:spcPct val="0"/>
                </a:spcAft>
                <a:defRPr/>
              </a:pPr>
              <a:endParaRPr lang="en-IN"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50" name="Rectangle 349">
              <a:extLst>
                <a:ext uri="{FF2B5EF4-FFF2-40B4-BE49-F238E27FC236}">
                  <a16:creationId xmlns:a16="http://schemas.microsoft.com/office/drawing/2014/main" id="{3860BC02-7AF7-4264-B68E-88FDD1F7AEEA}"/>
                </a:ext>
              </a:extLst>
            </p:cNvPr>
            <p:cNvSpPr/>
            <p:nvPr/>
          </p:nvSpPr>
          <p:spPr bwMode="auto">
            <a:xfrm>
              <a:off x="1474078" y="3987858"/>
              <a:ext cx="66592" cy="88839"/>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1" tIns="109713" rIns="137141" bIns="109713" numCol="1" spcCol="0" rtlCol="0" fromWordArt="0" anchor="t" anchorCtr="0" forceAA="0" compatLnSpc="1">
              <a:prstTxWarp prst="textNoShape">
                <a:avLst/>
              </a:prstTxWarp>
              <a:noAutofit/>
            </a:bodyPr>
            <a:lstStyle/>
            <a:p>
              <a:pPr algn="ctr" defTabSz="699220" fontAlgn="base">
                <a:lnSpc>
                  <a:spcPct val="90000"/>
                </a:lnSpc>
                <a:spcBef>
                  <a:spcPct val="0"/>
                </a:spcBef>
                <a:spcAft>
                  <a:spcPct val="0"/>
                </a:spcAft>
                <a:defRPr/>
              </a:pPr>
              <a:endParaRPr lang="en-IN"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61" name="Rectangle 360">
              <a:extLst>
                <a:ext uri="{FF2B5EF4-FFF2-40B4-BE49-F238E27FC236}">
                  <a16:creationId xmlns:a16="http://schemas.microsoft.com/office/drawing/2014/main" id="{F4EA884A-41CD-4EA0-A4A7-3D6713DED38D}"/>
                </a:ext>
              </a:extLst>
            </p:cNvPr>
            <p:cNvSpPr/>
            <p:nvPr/>
          </p:nvSpPr>
          <p:spPr bwMode="auto">
            <a:xfrm>
              <a:off x="1245478" y="3021070"/>
              <a:ext cx="66592" cy="88839"/>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1" tIns="109713" rIns="137141" bIns="109713" numCol="1" spcCol="0" rtlCol="0" fromWordArt="0" anchor="t" anchorCtr="0" forceAA="0" compatLnSpc="1">
              <a:prstTxWarp prst="textNoShape">
                <a:avLst/>
              </a:prstTxWarp>
              <a:noAutofit/>
            </a:bodyPr>
            <a:lstStyle/>
            <a:p>
              <a:pPr algn="ctr" defTabSz="699220" fontAlgn="base">
                <a:lnSpc>
                  <a:spcPct val="90000"/>
                </a:lnSpc>
                <a:spcBef>
                  <a:spcPct val="0"/>
                </a:spcBef>
                <a:spcAft>
                  <a:spcPct val="0"/>
                </a:spcAft>
                <a:defRPr/>
              </a:pPr>
              <a:endParaRPr lang="en-IN"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62" name="Rectangle 361">
              <a:extLst>
                <a:ext uri="{FF2B5EF4-FFF2-40B4-BE49-F238E27FC236}">
                  <a16:creationId xmlns:a16="http://schemas.microsoft.com/office/drawing/2014/main" id="{2459EB3E-2B49-4815-8E2A-BD300FAB13A7}"/>
                </a:ext>
              </a:extLst>
            </p:cNvPr>
            <p:cNvSpPr/>
            <p:nvPr/>
          </p:nvSpPr>
          <p:spPr bwMode="auto">
            <a:xfrm>
              <a:off x="1169277" y="3235382"/>
              <a:ext cx="66592" cy="88839"/>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1" tIns="109713" rIns="137141" bIns="109713" numCol="1" spcCol="0" rtlCol="0" fromWordArt="0" anchor="t" anchorCtr="0" forceAA="0" compatLnSpc="1">
              <a:prstTxWarp prst="textNoShape">
                <a:avLst/>
              </a:prstTxWarp>
              <a:noAutofit/>
            </a:bodyPr>
            <a:lstStyle/>
            <a:p>
              <a:pPr algn="ctr" defTabSz="699220" fontAlgn="base">
                <a:lnSpc>
                  <a:spcPct val="90000"/>
                </a:lnSpc>
                <a:spcBef>
                  <a:spcPct val="0"/>
                </a:spcBef>
                <a:spcAft>
                  <a:spcPct val="0"/>
                </a:spcAft>
                <a:defRPr/>
              </a:pPr>
              <a:endParaRPr lang="en-IN"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14" name="Group 13">
            <a:extLst>
              <a:ext uri="{FF2B5EF4-FFF2-40B4-BE49-F238E27FC236}">
                <a16:creationId xmlns:a16="http://schemas.microsoft.com/office/drawing/2014/main" id="{B902280D-0E03-4741-867A-A5EDF74C9725}"/>
              </a:ext>
            </a:extLst>
          </p:cNvPr>
          <p:cNvGrpSpPr/>
          <p:nvPr/>
        </p:nvGrpSpPr>
        <p:grpSpPr>
          <a:xfrm>
            <a:off x="820340" y="2249746"/>
            <a:ext cx="387432" cy="311258"/>
            <a:chOff x="1093077" y="3228240"/>
            <a:chExt cx="516649" cy="415069"/>
          </a:xfrm>
        </p:grpSpPr>
        <p:sp>
          <p:nvSpPr>
            <p:cNvPr id="304" name="Rectangle 303">
              <a:extLst>
                <a:ext uri="{FF2B5EF4-FFF2-40B4-BE49-F238E27FC236}">
                  <a16:creationId xmlns:a16="http://schemas.microsoft.com/office/drawing/2014/main" id="{F1E3B711-3CBE-43F4-B6E2-B661FB5CFE1F}"/>
                </a:ext>
              </a:extLst>
            </p:cNvPr>
            <p:cNvSpPr/>
            <p:nvPr/>
          </p:nvSpPr>
          <p:spPr bwMode="auto">
            <a:xfrm>
              <a:off x="1093077" y="3342541"/>
              <a:ext cx="66592" cy="88839"/>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1" tIns="109713" rIns="137141" bIns="109713" numCol="1" spcCol="0" rtlCol="0" fromWordArt="0" anchor="t" anchorCtr="0" forceAA="0" compatLnSpc="1">
              <a:prstTxWarp prst="textNoShape">
                <a:avLst/>
              </a:prstTxWarp>
              <a:noAutofit/>
            </a:bodyPr>
            <a:lstStyle/>
            <a:p>
              <a:pPr algn="ctr" defTabSz="699220" fontAlgn="base">
                <a:lnSpc>
                  <a:spcPct val="90000"/>
                </a:lnSpc>
                <a:spcBef>
                  <a:spcPct val="0"/>
                </a:spcBef>
                <a:spcAft>
                  <a:spcPct val="0"/>
                </a:spcAft>
                <a:defRPr/>
              </a:pPr>
              <a:endParaRPr lang="en-IN"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42" name="Rectangle 341">
              <a:extLst>
                <a:ext uri="{FF2B5EF4-FFF2-40B4-BE49-F238E27FC236}">
                  <a16:creationId xmlns:a16="http://schemas.microsoft.com/office/drawing/2014/main" id="{3784045E-1BAD-458E-BFF0-EC247C34DEC1}"/>
                </a:ext>
              </a:extLst>
            </p:cNvPr>
            <p:cNvSpPr/>
            <p:nvPr/>
          </p:nvSpPr>
          <p:spPr bwMode="auto">
            <a:xfrm>
              <a:off x="1543134" y="3228240"/>
              <a:ext cx="66592" cy="88839"/>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1" tIns="109713" rIns="137141" bIns="109713" numCol="1" spcCol="0" rtlCol="0" fromWordArt="0" anchor="t" anchorCtr="0" forceAA="0" compatLnSpc="1">
              <a:prstTxWarp prst="textNoShape">
                <a:avLst/>
              </a:prstTxWarp>
              <a:noAutofit/>
            </a:bodyPr>
            <a:lstStyle/>
            <a:p>
              <a:pPr algn="ctr" defTabSz="699220" fontAlgn="base">
                <a:lnSpc>
                  <a:spcPct val="90000"/>
                </a:lnSpc>
                <a:spcBef>
                  <a:spcPct val="0"/>
                </a:spcBef>
                <a:spcAft>
                  <a:spcPct val="0"/>
                </a:spcAft>
                <a:defRPr/>
              </a:pPr>
              <a:endParaRPr lang="en-IN"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56" name="Rectangle 355">
              <a:extLst>
                <a:ext uri="{FF2B5EF4-FFF2-40B4-BE49-F238E27FC236}">
                  <a16:creationId xmlns:a16="http://schemas.microsoft.com/office/drawing/2014/main" id="{DF7754A9-3241-4186-96AF-B53F02ACB2AD}"/>
                </a:ext>
              </a:extLst>
            </p:cNvPr>
            <p:cNvSpPr/>
            <p:nvPr/>
          </p:nvSpPr>
          <p:spPr bwMode="auto">
            <a:xfrm>
              <a:off x="1395496" y="3447314"/>
              <a:ext cx="66592" cy="88839"/>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1" tIns="109713" rIns="137141" bIns="109713" numCol="1" spcCol="0" rtlCol="0" fromWordArt="0" anchor="t" anchorCtr="0" forceAA="0" compatLnSpc="1">
              <a:prstTxWarp prst="textNoShape">
                <a:avLst/>
              </a:prstTxWarp>
              <a:noAutofit/>
            </a:bodyPr>
            <a:lstStyle/>
            <a:p>
              <a:pPr algn="ctr" defTabSz="699220" fontAlgn="base">
                <a:lnSpc>
                  <a:spcPct val="90000"/>
                </a:lnSpc>
                <a:spcBef>
                  <a:spcPct val="0"/>
                </a:spcBef>
                <a:spcAft>
                  <a:spcPct val="0"/>
                </a:spcAft>
                <a:defRPr/>
              </a:pPr>
              <a:endParaRPr lang="en-IN"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63" name="Rectangle 362">
              <a:extLst>
                <a:ext uri="{FF2B5EF4-FFF2-40B4-BE49-F238E27FC236}">
                  <a16:creationId xmlns:a16="http://schemas.microsoft.com/office/drawing/2014/main" id="{D04FF2B0-746C-4427-8C59-CD76F2A2061E}"/>
                </a:ext>
              </a:extLst>
            </p:cNvPr>
            <p:cNvSpPr/>
            <p:nvPr/>
          </p:nvSpPr>
          <p:spPr bwMode="auto">
            <a:xfrm>
              <a:off x="1169278" y="3554470"/>
              <a:ext cx="66592" cy="88839"/>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1" tIns="109713" rIns="137141" bIns="109713" numCol="1" spcCol="0" rtlCol="0" fromWordArt="0" anchor="t" anchorCtr="0" forceAA="0" compatLnSpc="1">
              <a:prstTxWarp prst="textNoShape">
                <a:avLst/>
              </a:prstTxWarp>
              <a:noAutofit/>
            </a:bodyPr>
            <a:lstStyle/>
            <a:p>
              <a:pPr algn="ctr" defTabSz="699220" fontAlgn="base">
                <a:lnSpc>
                  <a:spcPct val="90000"/>
                </a:lnSpc>
                <a:spcBef>
                  <a:spcPct val="0"/>
                </a:spcBef>
                <a:spcAft>
                  <a:spcPct val="0"/>
                </a:spcAft>
                <a:defRPr/>
              </a:pPr>
              <a:endParaRPr lang="en-IN"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15" name="Group 14">
            <a:extLst>
              <a:ext uri="{FF2B5EF4-FFF2-40B4-BE49-F238E27FC236}">
                <a16:creationId xmlns:a16="http://schemas.microsoft.com/office/drawing/2014/main" id="{C1F8F367-0DCF-43C4-8C2D-59E8CC75CDE6}"/>
              </a:ext>
            </a:extLst>
          </p:cNvPr>
          <p:cNvGrpSpPr/>
          <p:nvPr/>
        </p:nvGrpSpPr>
        <p:grpSpPr>
          <a:xfrm>
            <a:off x="538202" y="2742595"/>
            <a:ext cx="444573" cy="298758"/>
            <a:chOff x="716840" y="3885465"/>
            <a:chExt cx="592848" cy="398401"/>
          </a:xfrm>
        </p:grpSpPr>
        <p:sp>
          <p:nvSpPr>
            <p:cNvPr id="344" name="Rectangle 343">
              <a:extLst>
                <a:ext uri="{FF2B5EF4-FFF2-40B4-BE49-F238E27FC236}">
                  <a16:creationId xmlns:a16="http://schemas.microsoft.com/office/drawing/2014/main" id="{FB9BC207-7BD3-4B02-B721-2A7C18373A31}"/>
                </a:ext>
              </a:extLst>
            </p:cNvPr>
            <p:cNvSpPr/>
            <p:nvPr/>
          </p:nvSpPr>
          <p:spPr bwMode="auto">
            <a:xfrm>
              <a:off x="1090697" y="3885465"/>
              <a:ext cx="66592" cy="88839"/>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1" tIns="109713" rIns="137141" bIns="109713" numCol="1" spcCol="0" rtlCol="0" fromWordArt="0" anchor="t" anchorCtr="0" forceAA="0" compatLnSpc="1">
              <a:prstTxWarp prst="textNoShape">
                <a:avLst/>
              </a:prstTxWarp>
              <a:noAutofit/>
            </a:bodyPr>
            <a:lstStyle/>
            <a:p>
              <a:pPr algn="ctr" defTabSz="699220" fontAlgn="base">
                <a:lnSpc>
                  <a:spcPct val="90000"/>
                </a:lnSpc>
                <a:spcBef>
                  <a:spcPct val="0"/>
                </a:spcBef>
                <a:spcAft>
                  <a:spcPct val="0"/>
                </a:spcAft>
                <a:defRPr/>
              </a:pPr>
              <a:endParaRPr lang="en-IN"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48" name="Rectangle 347">
              <a:extLst>
                <a:ext uri="{FF2B5EF4-FFF2-40B4-BE49-F238E27FC236}">
                  <a16:creationId xmlns:a16="http://schemas.microsoft.com/office/drawing/2014/main" id="{BD3B14B7-46B4-49C9-A237-A118E18BAA90}"/>
                </a:ext>
              </a:extLst>
            </p:cNvPr>
            <p:cNvSpPr/>
            <p:nvPr/>
          </p:nvSpPr>
          <p:spPr bwMode="auto">
            <a:xfrm>
              <a:off x="1174040" y="4195027"/>
              <a:ext cx="66592" cy="88839"/>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1" tIns="109713" rIns="137141" bIns="109713" numCol="1" spcCol="0" rtlCol="0" fromWordArt="0" anchor="t" anchorCtr="0" forceAA="0" compatLnSpc="1">
              <a:prstTxWarp prst="textNoShape">
                <a:avLst/>
              </a:prstTxWarp>
              <a:noAutofit/>
            </a:bodyPr>
            <a:lstStyle/>
            <a:p>
              <a:pPr algn="ctr" defTabSz="699220" fontAlgn="base">
                <a:lnSpc>
                  <a:spcPct val="90000"/>
                </a:lnSpc>
                <a:spcBef>
                  <a:spcPct val="0"/>
                </a:spcBef>
                <a:spcAft>
                  <a:spcPct val="0"/>
                </a:spcAft>
                <a:defRPr/>
              </a:pPr>
              <a:endParaRPr lang="en-IN"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49" name="Rectangle 348">
              <a:extLst>
                <a:ext uri="{FF2B5EF4-FFF2-40B4-BE49-F238E27FC236}">
                  <a16:creationId xmlns:a16="http://schemas.microsoft.com/office/drawing/2014/main" id="{30FDF28D-E6F9-4D87-A683-F9C44899EBA0}"/>
                </a:ext>
              </a:extLst>
            </p:cNvPr>
            <p:cNvSpPr/>
            <p:nvPr/>
          </p:nvSpPr>
          <p:spPr bwMode="auto">
            <a:xfrm>
              <a:off x="716840" y="4190264"/>
              <a:ext cx="66592" cy="88839"/>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1" tIns="109713" rIns="137141" bIns="109713" numCol="1" spcCol="0" rtlCol="0" fromWordArt="0" anchor="t" anchorCtr="0" forceAA="0" compatLnSpc="1">
              <a:prstTxWarp prst="textNoShape">
                <a:avLst/>
              </a:prstTxWarp>
              <a:noAutofit/>
            </a:bodyPr>
            <a:lstStyle/>
            <a:p>
              <a:pPr algn="ctr" defTabSz="699220" fontAlgn="base">
                <a:lnSpc>
                  <a:spcPct val="90000"/>
                </a:lnSpc>
                <a:spcBef>
                  <a:spcPct val="0"/>
                </a:spcBef>
                <a:spcAft>
                  <a:spcPct val="0"/>
                </a:spcAft>
                <a:defRPr/>
              </a:pPr>
              <a:endParaRPr lang="en-IN"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64" name="Rectangle 363">
              <a:extLst>
                <a:ext uri="{FF2B5EF4-FFF2-40B4-BE49-F238E27FC236}">
                  <a16:creationId xmlns:a16="http://schemas.microsoft.com/office/drawing/2014/main" id="{5EFAFB51-545C-46AD-8356-FC588DBA5979}"/>
                </a:ext>
              </a:extLst>
            </p:cNvPr>
            <p:cNvSpPr/>
            <p:nvPr/>
          </p:nvSpPr>
          <p:spPr bwMode="auto">
            <a:xfrm>
              <a:off x="1243096" y="3966427"/>
              <a:ext cx="66592" cy="88839"/>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1" tIns="109713" rIns="137141" bIns="109713" numCol="1" spcCol="0" rtlCol="0" fromWordArt="0" anchor="t" anchorCtr="0" forceAA="0" compatLnSpc="1">
              <a:prstTxWarp prst="textNoShape">
                <a:avLst/>
              </a:prstTxWarp>
              <a:noAutofit/>
            </a:bodyPr>
            <a:lstStyle/>
            <a:p>
              <a:pPr algn="ctr" defTabSz="699220" fontAlgn="base">
                <a:lnSpc>
                  <a:spcPct val="90000"/>
                </a:lnSpc>
                <a:spcBef>
                  <a:spcPct val="0"/>
                </a:spcBef>
                <a:spcAft>
                  <a:spcPct val="0"/>
                </a:spcAft>
                <a:defRPr/>
              </a:pPr>
              <a:endParaRPr lang="en-IN"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11" name="Group 10">
            <a:extLst>
              <a:ext uri="{FF2B5EF4-FFF2-40B4-BE49-F238E27FC236}">
                <a16:creationId xmlns:a16="http://schemas.microsoft.com/office/drawing/2014/main" id="{7642DAEC-6828-489F-B374-DD05FB0C057B}"/>
              </a:ext>
            </a:extLst>
          </p:cNvPr>
          <p:cNvGrpSpPr/>
          <p:nvPr/>
        </p:nvGrpSpPr>
        <p:grpSpPr>
          <a:xfrm>
            <a:off x="650701" y="2169391"/>
            <a:ext cx="330290" cy="795179"/>
            <a:chOff x="866858" y="3121084"/>
            <a:chExt cx="440449" cy="1060389"/>
          </a:xfrm>
        </p:grpSpPr>
        <p:sp>
          <p:nvSpPr>
            <p:cNvPr id="306" name="Rectangle 305">
              <a:extLst>
                <a:ext uri="{FF2B5EF4-FFF2-40B4-BE49-F238E27FC236}">
                  <a16:creationId xmlns:a16="http://schemas.microsoft.com/office/drawing/2014/main" id="{565BA3B0-F771-4645-B83E-52FAFE64424A}"/>
                </a:ext>
              </a:extLst>
            </p:cNvPr>
            <p:cNvSpPr/>
            <p:nvPr/>
          </p:nvSpPr>
          <p:spPr bwMode="auto">
            <a:xfrm>
              <a:off x="866858" y="3668772"/>
              <a:ext cx="66592" cy="88839"/>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1" tIns="109713" rIns="137141" bIns="109713" numCol="1" spcCol="0" rtlCol="0" fromWordArt="0" anchor="t" anchorCtr="0" forceAA="0" compatLnSpc="1">
              <a:prstTxWarp prst="textNoShape">
                <a:avLst/>
              </a:prstTxWarp>
              <a:noAutofit/>
            </a:bodyPr>
            <a:lstStyle/>
            <a:p>
              <a:pPr algn="ctr" defTabSz="699220" fontAlgn="base">
                <a:lnSpc>
                  <a:spcPct val="90000"/>
                </a:lnSpc>
                <a:spcBef>
                  <a:spcPct val="0"/>
                </a:spcBef>
                <a:spcAft>
                  <a:spcPct val="0"/>
                </a:spcAft>
                <a:defRPr/>
              </a:pPr>
              <a:endParaRPr lang="en-IN"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43" name="Rectangle 342">
              <a:extLst>
                <a:ext uri="{FF2B5EF4-FFF2-40B4-BE49-F238E27FC236}">
                  <a16:creationId xmlns:a16="http://schemas.microsoft.com/office/drawing/2014/main" id="{BA1AE4F3-18BC-470C-811D-941A4EAB0E3D}"/>
                </a:ext>
              </a:extLst>
            </p:cNvPr>
            <p:cNvSpPr/>
            <p:nvPr/>
          </p:nvSpPr>
          <p:spPr bwMode="auto">
            <a:xfrm>
              <a:off x="1240715" y="3121084"/>
              <a:ext cx="66592" cy="88839"/>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1" tIns="109713" rIns="137141" bIns="109713" numCol="1" spcCol="0" rtlCol="0" fromWordArt="0" anchor="t" anchorCtr="0" forceAA="0" compatLnSpc="1">
              <a:prstTxWarp prst="textNoShape">
                <a:avLst/>
              </a:prstTxWarp>
              <a:noAutofit/>
            </a:bodyPr>
            <a:lstStyle/>
            <a:p>
              <a:pPr algn="ctr" defTabSz="699220" fontAlgn="base">
                <a:lnSpc>
                  <a:spcPct val="90000"/>
                </a:lnSpc>
                <a:spcBef>
                  <a:spcPct val="0"/>
                </a:spcBef>
                <a:spcAft>
                  <a:spcPct val="0"/>
                </a:spcAft>
                <a:defRPr/>
              </a:pPr>
              <a:endParaRPr lang="en-IN"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52" name="Rectangle 351">
              <a:extLst>
                <a:ext uri="{FF2B5EF4-FFF2-40B4-BE49-F238E27FC236}">
                  <a16:creationId xmlns:a16="http://schemas.microsoft.com/office/drawing/2014/main" id="{02A5D8EB-343D-4EAB-BB3D-38AADC3AC935}"/>
                </a:ext>
              </a:extLst>
            </p:cNvPr>
            <p:cNvSpPr/>
            <p:nvPr/>
          </p:nvSpPr>
          <p:spPr bwMode="auto">
            <a:xfrm>
              <a:off x="1169278" y="3775927"/>
              <a:ext cx="66592" cy="88839"/>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1" tIns="109713" rIns="137141" bIns="109713" numCol="1" spcCol="0" rtlCol="0" fromWordArt="0" anchor="t" anchorCtr="0" forceAA="0" compatLnSpc="1">
              <a:prstTxWarp prst="textNoShape">
                <a:avLst/>
              </a:prstTxWarp>
              <a:noAutofit/>
            </a:bodyPr>
            <a:lstStyle/>
            <a:p>
              <a:pPr algn="ctr" defTabSz="699220" fontAlgn="base">
                <a:lnSpc>
                  <a:spcPct val="90000"/>
                </a:lnSpc>
                <a:spcBef>
                  <a:spcPct val="0"/>
                </a:spcBef>
                <a:spcAft>
                  <a:spcPct val="0"/>
                </a:spcAft>
                <a:defRPr/>
              </a:pPr>
              <a:endParaRPr lang="en-IN"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58" name="Rectangle 357">
              <a:extLst>
                <a:ext uri="{FF2B5EF4-FFF2-40B4-BE49-F238E27FC236}">
                  <a16:creationId xmlns:a16="http://schemas.microsoft.com/office/drawing/2014/main" id="{8A1E0689-AABF-43DD-93A6-7F3C6ADAAFBC}"/>
                </a:ext>
              </a:extLst>
            </p:cNvPr>
            <p:cNvSpPr/>
            <p:nvPr/>
          </p:nvSpPr>
          <p:spPr bwMode="auto">
            <a:xfrm>
              <a:off x="943059" y="3449695"/>
              <a:ext cx="66592" cy="88839"/>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1" tIns="109713" rIns="137141" bIns="109713" numCol="1" spcCol="0" rtlCol="0" fromWordArt="0" anchor="t" anchorCtr="0" forceAA="0" compatLnSpc="1">
              <a:prstTxWarp prst="textNoShape">
                <a:avLst/>
              </a:prstTxWarp>
              <a:noAutofit/>
            </a:bodyPr>
            <a:lstStyle/>
            <a:p>
              <a:pPr algn="ctr" defTabSz="699220" fontAlgn="base">
                <a:lnSpc>
                  <a:spcPct val="90000"/>
                </a:lnSpc>
                <a:spcBef>
                  <a:spcPct val="0"/>
                </a:spcBef>
                <a:spcAft>
                  <a:spcPct val="0"/>
                </a:spcAft>
                <a:defRPr/>
              </a:pPr>
              <a:endParaRPr lang="en-IN"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65" name="Rectangle 364">
              <a:extLst>
                <a:ext uri="{FF2B5EF4-FFF2-40B4-BE49-F238E27FC236}">
                  <a16:creationId xmlns:a16="http://schemas.microsoft.com/office/drawing/2014/main" id="{E7272FFF-211A-4BB0-9725-CDEB7FF90DA3}"/>
                </a:ext>
              </a:extLst>
            </p:cNvPr>
            <p:cNvSpPr/>
            <p:nvPr/>
          </p:nvSpPr>
          <p:spPr bwMode="auto">
            <a:xfrm>
              <a:off x="1016878" y="4092634"/>
              <a:ext cx="66592" cy="88839"/>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1" tIns="109713" rIns="137141" bIns="109713" numCol="1" spcCol="0" rtlCol="0" fromWordArt="0" anchor="t" anchorCtr="0" forceAA="0" compatLnSpc="1">
              <a:prstTxWarp prst="textNoShape">
                <a:avLst/>
              </a:prstTxWarp>
              <a:noAutofit/>
            </a:bodyPr>
            <a:lstStyle/>
            <a:p>
              <a:pPr algn="ctr" defTabSz="699220" fontAlgn="base">
                <a:lnSpc>
                  <a:spcPct val="90000"/>
                </a:lnSpc>
                <a:spcBef>
                  <a:spcPct val="0"/>
                </a:spcBef>
                <a:spcAft>
                  <a:spcPct val="0"/>
                </a:spcAft>
                <a:defRPr/>
              </a:pPr>
              <a:endParaRPr lang="en-IN"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sp>
        <p:nvSpPr>
          <p:cNvPr id="16" name="Rectangle: Rounded Corners 15">
            <a:extLst>
              <a:ext uri="{FF2B5EF4-FFF2-40B4-BE49-F238E27FC236}">
                <a16:creationId xmlns:a16="http://schemas.microsoft.com/office/drawing/2014/main" id="{99382ABC-CA1D-4171-A9C6-B9BDE816B9F0}"/>
              </a:ext>
            </a:extLst>
          </p:cNvPr>
          <p:cNvSpPr/>
          <p:nvPr/>
        </p:nvSpPr>
        <p:spPr bwMode="auto">
          <a:xfrm>
            <a:off x="220092" y="4419308"/>
            <a:ext cx="8704217" cy="332109"/>
          </a:xfrm>
          <a:prstGeom prst="roundRect">
            <a:avLst>
              <a:gd name="adj" fmla="val 50000"/>
            </a:avLst>
          </a:prstGeom>
          <a:noFill/>
          <a:ln w="12700" cap="rnd" cmpd="sng" algn="ctr">
            <a:solidFill>
              <a:schemeClr val="tx2"/>
            </a:solidFill>
            <a:prstDash val="lgDash"/>
            <a:headEnd type="none" w="sm" len="sm"/>
            <a:tailEnd type="oval" w="sm" len="sm"/>
          </a:ln>
          <a:effectLst/>
        </p:spPr>
        <p:txBody>
          <a:bodyPr rot="0" spcFirstLastPara="0" vertOverflow="overflow" horzOverflow="overflow" vert="horz" wrap="square" lIns="137141" tIns="109713" rIns="137141" bIns="109713" numCol="1" spcCol="0" rtlCol="0" fromWordArt="0" anchor="t" anchorCtr="0" forceAA="0" compatLnSpc="1">
            <a:prstTxWarp prst="textNoShape">
              <a:avLst/>
            </a:prstTxWarp>
            <a:noAutofit/>
          </a:bodyPr>
          <a:lstStyle/>
          <a:p>
            <a:pPr algn="ctr" defTabSz="699220" fontAlgn="base">
              <a:lnSpc>
                <a:spcPct val="90000"/>
              </a:lnSpc>
              <a:spcBef>
                <a:spcPct val="0"/>
              </a:spcBef>
              <a:spcAft>
                <a:spcPct val="0"/>
              </a:spcAft>
              <a:defRPr/>
            </a:pPr>
            <a:endParaRPr lang="en-IN" err="1">
              <a:gradFill>
                <a:gsLst>
                  <a:gs pos="0">
                    <a:srgbClr val="FFFFFF"/>
                  </a:gs>
                  <a:gs pos="100000">
                    <a:srgbClr val="FFFFFF"/>
                  </a:gs>
                </a:gsLst>
                <a:lin ang="5400000" scaled="0"/>
              </a:gradFill>
              <a:latin typeface="Segoe UI"/>
              <a:cs typeface="Segoe UI" pitchFamily="34" charset="0"/>
            </a:endParaRPr>
          </a:p>
        </p:txBody>
      </p:sp>
      <p:sp>
        <p:nvSpPr>
          <p:cNvPr id="26" name="Rectangle 25">
            <a:extLst>
              <a:ext uri="{FF2B5EF4-FFF2-40B4-BE49-F238E27FC236}">
                <a16:creationId xmlns:a16="http://schemas.microsoft.com/office/drawing/2014/main" id="{5B14246C-2DF9-42FB-9270-482363110DE6}"/>
              </a:ext>
            </a:extLst>
          </p:cNvPr>
          <p:cNvSpPr/>
          <p:nvPr/>
        </p:nvSpPr>
        <p:spPr bwMode="auto">
          <a:xfrm rot="8100000">
            <a:off x="8882701" y="4515633"/>
            <a:ext cx="82412" cy="82412"/>
          </a:xfrm>
          <a:custGeom>
            <a:avLst/>
            <a:gdLst>
              <a:gd name="connsiteX0" fmla="*/ 0 w 584200"/>
              <a:gd name="connsiteY0" fmla="*/ 0 h 584200"/>
              <a:gd name="connsiteX1" fmla="*/ 584200 w 584200"/>
              <a:gd name="connsiteY1" fmla="*/ 0 h 584200"/>
              <a:gd name="connsiteX2" fmla="*/ 584200 w 584200"/>
              <a:gd name="connsiteY2" fmla="*/ 584200 h 584200"/>
              <a:gd name="connsiteX3" fmla="*/ 0 w 584200"/>
              <a:gd name="connsiteY3" fmla="*/ 584200 h 584200"/>
              <a:gd name="connsiteX4" fmla="*/ 0 w 584200"/>
              <a:gd name="connsiteY4" fmla="*/ 0 h 584200"/>
              <a:gd name="connsiteX0" fmla="*/ 0 w 584200"/>
              <a:gd name="connsiteY0" fmla="*/ 584200 h 675640"/>
              <a:gd name="connsiteX1" fmla="*/ 0 w 584200"/>
              <a:gd name="connsiteY1" fmla="*/ 0 h 675640"/>
              <a:gd name="connsiteX2" fmla="*/ 584200 w 584200"/>
              <a:gd name="connsiteY2" fmla="*/ 0 h 675640"/>
              <a:gd name="connsiteX3" fmla="*/ 584200 w 584200"/>
              <a:gd name="connsiteY3" fmla="*/ 584200 h 675640"/>
              <a:gd name="connsiteX4" fmla="*/ 91440 w 584200"/>
              <a:gd name="connsiteY4" fmla="*/ 675640 h 675640"/>
              <a:gd name="connsiteX0" fmla="*/ 0 w 584200"/>
              <a:gd name="connsiteY0" fmla="*/ 584200 h 584200"/>
              <a:gd name="connsiteX1" fmla="*/ 0 w 584200"/>
              <a:gd name="connsiteY1" fmla="*/ 0 h 584200"/>
              <a:gd name="connsiteX2" fmla="*/ 584200 w 584200"/>
              <a:gd name="connsiteY2" fmla="*/ 0 h 584200"/>
              <a:gd name="connsiteX3" fmla="*/ 584200 w 584200"/>
              <a:gd name="connsiteY3" fmla="*/ 584200 h 584200"/>
              <a:gd name="connsiteX0" fmla="*/ 0 w 584200"/>
              <a:gd name="connsiteY0" fmla="*/ 0 h 584200"/>
              <a:gd name="connsiteX1" fmla="*/ 584200 w 584200"/>
              <a:gd name="connsiteY1" fmla="*/ 0 h 584200"/>
              <a:gd name="connsiteX2" fmla="*/ 584200 w 584200"/>
              <a:gd name="connsiteY2" fmla="*/ 584200 h 584200"/>
            </a:gdLst>
            <a:ahLst/>
            <a:cxnLst>
              <a:cxn ang="0">
                <a:pos x="connsiteX0" y="connsiteY0"/>
              </a:cxn>
              <a:cxn ang="0">
                <a:pos x="connsiteX1" y="connsiteY1"/>
              </a:cxn>
              <a:cxn ang="0">
                <a:pos x="connsiteX2" y="connsiteY2"/>
              </a:cxn>
            </a:cxnLst>
            <a:rect l="l" t="t" r="r" b="b"/>
            <a:pathLst>
              <a:path w="584200" h="584200">
                <a:moveTo>
                  <a:pt x="0" y="0"/>
                </a:moveTo>
                <a:lnTo>
                  <a:pt x="584200" y="0"/>
                </a:lnTo>
                <a:lnTo>
                  <a:pt x="584200" y="584200"/>
                </a:lnTo>
              </a:path>
            </a:pathLst>
          </a:custGeom>
          <a:noFill/>
          <a:ln w="12700" cap="rnd" cmpd="sng" algn="ctr">
            <a:solidFill>
              <a:schemeClr val="tx2"/>
            </a:solidFill>
            <a:prstDash val="lgDash"/>
            <a:headEnd type="none" w="sm" len="sm"/>
            <a:tailEnd type="none" w="sm" len="sm"/>
          </a:ln>
          <a:effectLst/>
        </p:spPr>
        <p:txBody>
          <a:bodyPr rot="0" spcFirstLastPara="0" vertOverflow="overflow" horzOverflow="overflow" vert="horz" wrap="square" lIns="137141" tIns="109713" rIns="137141" bIns="109713" numCol="1" spcCol="0" rtlCol="0" fromWordArt="0" anchor="t" anchorCtr="0" forceAA="0" compatLnSpc="1">
            <a:prstTxWarp prst="textNoShape">
              <a:avLst/>
            </a:prstTxWarp>
            <a:noAutofit/>
          </a:bodyPr>
          <a:lstStyle/>
          <a:p>
            <a:pPr algn="ctr" defTabSz="699220" fontAlgn="base">
              <a:lnSpc>
                <a:spcPct val="90000"/>
              </a:lnSpc>
              <a:spcBef>
                <a:spcPct val="0"/>
              </a:spcBef>
              <a:spcAft>
                <a:spcPct val="0"/>
              </a:spcAft>
              <a:defRPr/>
            </a:pPr>
            <a:endParaRPr lang="en-IN" err="1">
              <a:gradFill>
                <a:gsLst>
                  <a:gs pos="0">
                    <a:srgbClr val="FFFFFF"/>
                  </a:gs>
                  <a:gs pos="100000">
                    <a:srgbClr val="FFFFFF"/>
                  </a:gs>
                </a:gsLst>
                <a:lin ang="5400000" scaled="0"/>
              </a:gradFill>
              <a:latin typeface="Segoe UI"/>
              <a:cs typeface="Segoe UI" pitchFamily="34" charset="0"/>
            </a:endParaRPr>
          </a:p>
        </p:txBody>
      </p:sp>
      <p:grpSp>
        <p:nvGrpSpPr>
          <p:cNvPr id="44" name="Group 43">
            <a:extLst>
              <a:ext uri="{FF2B5EF4-FFF2-40B4-BE49-F238E27FC236}">
                <a16:creationId xmlns:a16="http://schemas.microsoft.com/office/drawing/2014/main" id="{9B47B2AB-AF0E-4972-8584-3D7E32F201DC}"/>
              </a:ext>
            </a:extLst>
          </p:cNvPr>
          <p:cNvGrpSpPr/>
          <p:nvPr/>
        </p:nvGrpSpPr>
        <p:grpSpPr>
          <a:xfrm>
            <a:off x="739354" y="4481511"/>
            <a:ext cx="1066853" cy="207749"/>
            <a:chOff x="985079" y="6204338"/>
            <a:chExt cx="1422672" cy="277037"/>
          </a:xfrm>
        </p:grpSpPr>
        <p:sp>
          <p:nvSpPr>
            <p:cNvPr id="5" name="Data">
              <a:extLst>
                <a:ext uri="{FF2B5EF4-FFF2-40B4-BE49-F238E27FC236}">
                  <a16:creationId xmlns:a16="http://schemas.microsoft.com/office/drawing/2014/main" id="{60F1043B-C95D-417E-9E48-DEAD25209771}"/>
                </a:ext>
              </a:extLst>
            </p:cNvPr>
            <p:cNvSpPr txBox="1"/>
            <p:nvPr/>
          </p:nvSpPr>
          <p:spPr>
            <a:xfrm>
              <a:off x="985079" y="6204338"/>
              <a:ext cx="663670" cy="277037"/>
            </a:xfrm>
            <a:prstGeom prst="rect">
              <a:avLst/>
            </a:prstGeom>
            <a:solidFill>
              <a:schemeClr val="bg1"/>
            </a:solidFill>
          </p:spPr>
          <p:txBody>
            <a:bodyPr wrap="square" lIns="0" tIns="0" rIns="0" bIns="0" rtlCol="0">
              <a:spAutoFit/>
            </a:bodyPr>
            <a:lstStyle>
              <a:defPPr>
                <a:defRPr lang="en-US"/>
              </a:defPPr>
              <a:lvl1pPr marR="0" lvl="0" indent="0" algn="ctr" fontAlgn="auto">
                <a:lnSpc>
                  <a:spcPct val="100000"/>
                </a:lnSpc>
                <a:spcBef>
                  <a:spcPts val="0"/>
                </a:spcBef>
                <a:spcAft>
                  <a:spcPts val="0"/>
                </a:spcAft>
                <a:buClrTx/>
                <a:buSzTx/>
                <a:buFontTx/>
                <a:buNone/>
                <a:tabLst/>
                <a:defRPr kumimoji="0" sz="1000" b="0" i="0" u="none" strike="noStrike" kern="0" cap="none" spc="0" normalizeH="0" baseline="0">
                  <a:ln>
                    <a:noFill/>
                  </a:ln>
                  <a:effectLst/>
                  <a:uLnTx/>
                  <a:uFillTx/>
                  <a:latin typeface="Segoe UI Semibold"/>
                  <a:cs typeface="Segoe UI Light" panose="020B0502040204020203" pitchFamily="34" charset="0"/>
                </a:defRPr>
              </a:lvl1pPr>
            </a:lstStyle>
            <a:p>
              <a:pPr defTabSz="685406">
                <a:defRPr/>
              </a:pPr>
              <a:r>
                <a:rPr lang="en-US" sz="1350">
                  <a:solidFill>
                    <a:srgbClr val="0047BB"/>
                  </a:solidFill>
                </a:rPr>
                <a:t>Data</a:t>
              </a:r>
            </a:p>
          </p:txBody>
        </p:sp>
        <p:sp>
          <p:nvSpPr>
            <p:cNvPr id="43" name="Isosceles Triangle 42">
              <a:extLst>
                <a:ext uri="{FF2B5EF4-FFF2-40B4-BE49-F238E27FC236}">
                  <a16:creationId xmlns:a16="http://schemas.microsoft.com/office/drawing/2014/main" id="{27FE2012-E683-488D-8C4B-375F51A2FDEB}"/>
                </a:ext>
              </a:extLst>
            </p:cNvPr>
            <p:cNvSpPr/>
            <p:nvPr/>
          </p:nvSpPr>
          <p:spPr bwMode="auto">
            <a:xfrm rot="5400000">
              <a:off x="2267687" y="6319978"/>
              <a:ext cx="234410" cy="45719"/>
            </a:xfrm>
            <a:custGeom>
              <a:avLst/>
              <a:gdLst>
                <a:gd name="connsiteX0" fmla="*/ 0 w 692483"/>
                <a:gd name="connsiteY0" fmla="*/ 225603 h 225603"/>
                <a:gd name="connsiteX1" fmla="*/ 346242 w 692483"/>
                <a:gd name="connsiteY1" fmla="*/ 0 h 225603"/>
                <a:gd name="connsiteX2" fmla="*/ 692483 w 692483"/>
                <a:gd name="connsiteY2" fmla="*/ 225603 h 225603"/>
                <a:gd name="connsiteX3" fmla="*/ 0 w 692483"/>
                <a:gd name="connsiteY3" fmla="*/ 225603 h 225603"/>
                <a:gd name="connsiteX0" fmla="*/ 0 w 692483"/>
                <a:gd name="connsiteY0" fmla="*/ 225603 h 317043"/>
                <a:gd name="connsiteX1" fmla="*/ 346242 w 692483"/>
                <a:gd name="connsiteY1" fmla="*/ 0 h 317043"/>
                <a:gd name="connsiteX2" fmla="*/ 692483 w 692483"/>
                <a:gd name="connsiteY2" fmla="*/ 225603 h 317043"/>
                <a:gd name="connsiteX3" fmla="*/ 91440 w 692483"/>
                <a:gd name="connsiteY3" fmla="*/ 317043 h 317043"/>
                <a:gd name="connsiteX0" fmla="*/ 0 w 692483"/>
                <a:gd name="connsiteY0" fmla="*/ 225603 h 225603"/>
                <a:gd name="connsiteX1" fmla="*/ 346242 w 692483"/>
                <a:gd name="connsiteY1" fmla="*/ 0 h 225603"/>
                <a:gd name="connsiteX2" fmla="*/ 692483 w 692483"/>
                <a:gd name="connsiteY2" fmla="*/ 225603 h 225603"/>
              </a:gdLst>
              <a:ahLst/>
              <a:cxnLst>
                <a:cxn ang="0">
                  <a:pos x="connsiteX0" y="connsiteY0"/>
                </a:cxn>
                <a:cxn ang="0">
                  <a:pos x="connsiteX1" y="connsiteY1"/>
                </a:cxn>
                <a:cxn ang="0">
                  <a:pos x="connsiteX2" y="connsiteY2"/>
                </a:cxn>
              </a:cxnLst>
              <a:rect l="l" t="t" r="r" b="b"/>
              <a:pathLst>
                <a:path w="692483" h="225603">
                  <a:moveTo>
                    <a:pt x="0" y="225603"/>
                  </a:moveTo>
                  <a:lnTo>
                    <a:pt x="346242" y="0"/>
                  </a:lnTo>
                  <a:lnTo>
                    <a:pt x="692483" y="225603"/>
                  </a:lnTo>
                </a:path>
              </a:pathLst>
            </a:custGeom>
            <a:no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1" tIns="109713" rIns="137141" bIns="109713" numCol="1" spcCol="0" rtlCol="0" fromWordArt="0" anchor="t" anchorCtr="0" forceAA="0" compatLnSpc="1">
              <a:prstTxWarp prst="textNoShape">
                <a:avLst/>
              </a:prstTxWarp>
              <a:noAutofit/>
            </a:bodyPr>
            <a:lstStyle/>
            <a:p>
              <a:pPr algn="ctr" defTabSz="699220" fontAlgn="base">
                <a:lnSpc>
                  <a:spcPct val="90000"/>
                </a:lnSpc>
                <a:spcBef>
                  <a:spcPct val="0"/>
                </a:spcBef>
                <a:spcAft>
                  <a:spcPct val="0"/>
                </a:spcAft>
                <a:defRPr/>
              </a:pPr>
              <a:endParaRPr lang="en-IN" err="1">
                <a:solidFill>
                  <a:srgbClr val="0047BB"/>
                </a:solidFill>
                <a:latin typeface="Segoe UI"/>
                <a:ea typeface="Segoe UI" pitchFamily="34" charset="0"/>
                <a:cs typeface="Segoe UI" pitchFamily="34" charset="0"/>
              </a:endParaRPr>
            </a:p>
          </p:txBody>
        </p:sp>
      </p:grpSp>
      <p:grpSp>
        <p:nvGrpSpPr>
          <p:cNvPr id="45" name="Group 44">
            <a:extLst>
              <a:ext uri="{FF2B5EF4-FFF2-40B4-BE49-F238E27FC236}">
                <a16:creationId xmlns:a16="http://schemas.microsoft.com/office/drawing/2014/main" id="{A3740A2D-D22F-4F3D-BBE7-563B5C501DC3}"/>
              </a:ext>
            </a:extLst>
          </p:cNvPr>
          <p:cNvGrpSpPr/>
          <p:nvPr/>
        </p:nvGrpSpPr>
        <p:grpSpPr>
          <a:xfrm>
            <a:off x="3201282" y="4481505"/>
            <a:ext cx="1972438" cy="207749"/>
            <a:chOff x="4268115" y="6204338"/>
            <a:chExt cx="2630290" cy="277037"/>
          </a:xfrm>
        </p:grpSpPr>
        <p:sp>
          <p:nvSpPr>
            <p:cNvPr id="8" name="Unification">
              <a:extLst>
                <a:ext uri="{FF2B5EF4-FFF2-40B4-BE49-F238E27FC236}">
                  <a16:creationId xmlns:a16="http://schemas.microsoft.com/office/drawing/2014/main" id="{B1331782-B789-4DAF-9B10-57B2EBEE4AC2}"/>
                </a:ext>
              </a:extLst>
            </p:cNvPr>
            <p:cNvSpPr txBox="1"/>
            <p:nvPr/>
          </p:nvSpPr>
          <p:spPr>
            <a:xfrm>
              <a:off x="4268115" y="6204338"/>
              <a:ext cx="1251108" cy="277037"/>
            </a:xfrm>
            <a:prstGeom prst="rect">
              <a:avLst/>
            </a:prstGeom>
            <a:solidFill>
              <a:schemeClr val="bg1"/>
            </a:solidFill>
          </p:spPr>
          <p:txBody>
            <a:bodyPr wrap="square" lIns="0" tIns="0" rIns="0" bIns="0" rtlCol="0">
              <a:spAutoFit/>
            </a:bodyPr>
            <a:lstStyle>
              <a:defPPr>
                <a:defRPr lang="en-US"/>
              </a:defPPr>
              <a:lvl1pPr marR="0" lvl="0" indent="0" algn="ctr" fontAlgn="auto">
                <a:lnSpc>
                  <a:spcPct val="100000"/>
                </a:lnSpc>
                <a:spcBef>
                  <a:spcPts val="0"/>
                </a:spcBef>
                <a:spcAft>
                  <a:spcPts val="0"/>
                </a:spcAft>
                <a:buClrTx/>
                <a:buSzTx/>
                <a:buFontTx/>
                <a:buNone/>
                <a:tabLst/>
                <a:defRPr kumimoji="0" sz="1000" b="0" i="0" u="none" strike="noStrike" kern="0" cap="none" spc="0" normalizeH="0" baseline="0">
                  <a:ln>
                    <a:noFill/>
                  </a:ln>
                  <a:effectLst/>
                  <a:uLnTx/>
                  <a:uFillTx/>
                  <a:latin typeface="Segoe UI Semibold"/>
                  <a:cs typeface="Segoe UI Light" panose="020B0502040204020203" pitchFamily="34" charset="0"/>
                </a:defRPr>
              </a:lvl1pPr>
            </a:lstStyle>
            <a:p>
              <a:pPr defTabSz="685406">
                <a:defRPr/>
              </a:pPr>
              <a:r>
                <a:rPr lang="en-US" sz="1350">
                  <a:solidFill>
                    <a:srgbClr val="0047BB"/>
                  </a:solidFill>
                </a:rPr>
                <a:t>Unification</a:t>
              </a:r>
            </a:p>
          </p:txBody>
        </p:sp>
        <p:sp>
          <p:nvSpPr>
            <p:cNvPr id="366" name="Isosceles Triangle 42">
              <a:extLst>
                <a:ext uri="{FF2B5EF4-FFF2-40B4-BE49-F238E27FC236}">
                  <a16:creationId xmlns:a16="http://schemas.microsoft.com/office/drawing/2014/main" id="{66568694-5F95-47FF-B998-ACCC36D00C5B}"/>
                </a:ext>
              </a:extLst>
            </p:cNvPr>
            <p:cNvSpPr/>
            <p:nvPr/>
          </p:nvSpPr>
          <p:spPr bwMode="auto">
            <a:xfrm rot="5400000">
              <a:off x="6758341" y="6319979"/>
              <a:ext cx="234410" cy="45719"/>
            </a:xfrm>
            <a:custGeom>
              <a:avLst/>
              <a:gdLst>
                <a:gd name="connsiteX0" fmla="*/ 0 w 692483"/>
                <a:gd name="connsiteY0" fmla="*/ 225603 h 225603"/>
                <a:gd name="connsiteX1" fmla="*/ 346242 w 692483"/>
                <a:gd name="connsiteY1" fmla="*/ 0 h 225603"/>
                <a:gd name="connsiteX2" fmla="*/ 692483 w 692483"/>
                <a:gd name="connsiteY2" fmla="*/ 225603 h 225603"/>
                <a:gd name="connsiteX3" fmla="*/ 0 w 692483"/>
                <a:gd name="connsiteY3" fmla="*/ 225603 h 225603"/>
                <a:gd name="connsiteX0" fmla="*/ 0 w 692483"/>
                <a:gd name="connsiteY0" fmla="*/ 225603 h 317043"/>
                <a:gd name="connsiteX1" fmla="*/ 346242 w 692483"/>
                <a:gd name="connsiteY1" fmla="*/ 0 h 317043"/>
                <a:gd name="connsiteX2" fmla="*/ 692483 w 692483"/>
                <a:gd name="connsiteY2" fmla="*/ 225603 h 317043"/>
                <a:gd name="connsiteX3" fmla="*/ 91440 w 692483"/>
                <a:gd name="connsiteY3" fmla="*/ 317043 h 317043"/>
                <a:gd name="connsiteX0" fmla="*/ 0 w 692483"/>
                <a:gd name="connsiteY0" fmla="*/ 225603 h 225603"/>
                <a:gd name="connsiteX1" fmla="*/ 346242 w 692483"/>
                <a:gd name="connsiteY1" fmla="*/ 0 h 225603"/>
                <a:gd name="connsiteX2" fmla="*/ 692483 w 692483"/>
                <a:gd name="connsiteY2" fmla="*/ 225603 h 225603"/>
              </a:gdLst>
              <a:ahLst/>
              <a:cxnLst>
                <a:cxn ang="0">
                  <a:pos x="connsiteX0" y="connsiteY0"/>
                </a:cxn>
                <a:cxn ang="0">
                  <a:pos x="connsiteX1" y="connsiteY1"/>
                </a:cxn>
                <a:cxn ang="0">
                  <a:pos x="connsiteX2" y="connsiteY2"/>
                </a:cxn>
              </a:cxnLst>
              <a:rect l="l" t="t" r="r" b="b"/>
              <a:pathLst>
                <a:path w="692483" h="225603">
                  <a:moveTo>
                    <a:pt x="0" y="225603"/>
                  </a:moveTo>
                  <a:lnTo>
                    <a:pt x="346242" y="0"/>
                  </a:lnTo>
                  <a:lnTo>
                    <a:pt x="692483" y="225603"/>
                  </a:lnTo>
                </a:path>
              </a:pathLst>
            </a:custGeom>
            <a:no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1" tIns="109713" rIns="137141" bIns="109713" numCol="1" spcCol="0" rtlCol="0" fromWordArt="0" anchor="t" anchorCtr="0" forceAA="0" compatLnSpc="1">
              <a:prstTxWarp prst="textNoShape">
                <a:avLst/>
              </a:prstTxWarp>
              <a:noAutofit/>
            </a:bodyPr>
            <a:lstStyle/>
            <a:p>
              <a:pPr algn="ctr" defTabSz="699220" fontAlgn="base">
                <a:lnSpc>
                  <a:spcPct val="90000"/>
                </a:lnSpc>
                <a:spcBef>
                  <a:spcPct val="0"/>
                </a:spcBef>
                <a:spcAft>
                  <a:spcPct val="0"/>
                </a:spcAft>
                <a:defRPr/>
              </a:pPr>
              <a:endParaRPr lang="en-IN">
                <a:solidFill>
                  <a:srgbClr val="0047BB"/>
                </a:solidFill>
                <a:latin typeface="Segoe UI"/>
                <a:ea typeface="Segoe UI" pitchFamily="34" charset="0"/>
                <a:cs typeface="Segoe UI" pitchFamily="34" charset="0"/>
              </a:endParaRPr>
            </a:p>
          </p:txBody>
        </p:sp>
      </p:grpSp>
      <p:grpSp>
        <p:nvGrpSpPr>
          <p:cNvPr id="46" name="Group 45">
            <a:extLst>
              <a:ext uri="{FF2B5EF4-FFF2-40B4-BE49-F238E27FC236}">
                <a16:creationId xmlns:a16="http://schemas.microsoft.com/office/drawing/2014/main" id="{77D7B7B7-3167-417C-ADE4-5D9884A5010D}"/>
              </a:ext>
            </a:extLst>
          </p:cNvPr>
          <p:cNvGrpSpPr/>
          <p:nvPr/>
        </p:nvGrpSpPr>
        <p:grpSpPr>
          <a:xfrm>
            <a:off x="5592223" y="4481507"/>
            <a:ext cx="1372070" cy="207749"/>
            <a:chOff x="7456490" y="6204338"/>
            <a:chExt cx="1829686" cy="277038"/>
          </a:xfrm>
        </p:grpSpPr>
        <p:sp>
          <p:nvSpPr>
            <p:cNvPr id="7" name="Insights">
              <a:extLst>
                <a:ext uri="{FF2B5EF4-FFF2-40B4-BE49-F238E27FC236}">
                  <a16:creationId xmlns:a16="http://schemas.microsoft.com/office/drawing/2014/main" id="{DAD499CA-E2F7-48B6-9ADD-0090E2B06407}"/>
                </a:ext>
              </a:extLst>
            </p:cNvPr>
            <p:cNvSpPr txBox="1"/>
            <p:nvPr/>
          </p:nvSpPr>
          <p:spPr>
            <a:xfrm>
              <a:off x="7456490" y="6204338"/>
              <a:ext cx="1034499" cy="277038"/>
            </a:xfrm>
            <a:prstGeom prst="rect">
              <a:avLst/>
            </a:prstGeom>
            <a:solidFill>
              <a:schemeClr val="bg1"/>
            </a:solidFill>
          </p:spPr>
          <p:txBody>
            <a:bodyPr wrap="square" lIns="0" tIns="0" rIns="0" bIns="0" rtlCol="0">
              <a:spAutoFit/>
            </a:bodyPr>
            <a:lstStyle>
              <a:defPPr>
                <a:defRPr lang="en-US"/>
              </a:defPPr>
              <a:lvl1pPr marR="0" lvl="0" indent="0" algn="ctr" fontAlgn="auto">
                <a:lnSpc>
                  <a:spcPct val="100000"/>
                </a:lnSpc>
                <a:spcBef>
                  <a:spcPts val="0"/>
                </a:spcBef>
                <a:spcAft>
                  <a:spcPts val="0"/>
                </a:spcAft>
                <a:buClrTx/>
                <a:buSzTx/>
                <a:buFontTx/>
                <a:buNone/>
                <a:tabLst/>
                <a:defRPr kumimoji="0" sz="1000" b="0" i="0" u="none" strike="noStrike" kern="0" cap="none" spc="0" normalizeH="0" baseline="0">
                  <a:ln>
                    <a:noFill/>
                  </a:ln>
                  <a:effectLst/>
                  <a:uLnTx/>
                  <a:uFillTx/>
                  <a:latin typeface="Segoe UI Semibold"/>
                  <a:cs typeface="Segoe UI Light" panose="020B0502040204020203" pitchFamily="34" charset="0"/>
                </a:defRPr>
              </a:lvl1pPr>
            </a:lstStyle>
            <a:p>
              <a:pPr defTabSz="685406">
                <a:defRPr/>
              </a:pPr>
              <a:r>
                <a:rPr lang="en-US" sz="1350">
                  <a:solidFill>
                    <a:srgbClr val="0047BB"/>
                  </a:solidFill>
                </a:rPr>
                <a:t>Insights</a:t>
              </a:r>
            </a:p>
          </p:txBody>
        </p:sp>
        <p:sp>
          <p:nvSpPr>
            <p:cNvPr id="367" name="Isosceles Triangle 42">
              <a:extLst>
                <a:ext uri="{FF2B5EF4-FFF2-40B4-BE49-F238E27FC236}">
                  <a16:creationId xmlns:a16="http://schemas.microsoft.com/office/drawing/2014/main" id="{C61893F1-D1B3-4DD3-A6D5-2432E3BFF756}"/>
                </a:ext>
              </a:extLst>
            </p:cNvPr>
            <p:cNvSpPr/>
            <p:nvPr/>
          </p:nvSpPr>
          <p:spPr bwMode="auto">
            <a:xfrm rot="5400000">
              <a:off x="9146112" y="6319980"/>
              <a:ext cx="234410" cy="45719"/>
            </a:xfrm>
            <a:custGeom>
              <a:avLst/>
              <a:gdLst>
                <a:gd name="connsiteX0" fmla="*/ 0 w 692483"/>
                <a:gd name="connsiteY0" fmla="*/ 225603 h 225603"/>
                <a:gd name="connsiteX1" fmla="*/ 346242 w 692483"/>
                <a:gd name="connsiteY1" fmla="*/ 0 h 225603"/>
                <a:gd name="connsiteX2" fmla="*/ 692483 w 692483"/>
                <a:gd name="connsiteY2" fmla="*/ 225603 h 225603"/>
                <a:gd name="connsiteX3" fmla="*/ 0 w 692483"/>
                <a:gd name="connsiteY3" fmla="*/ 225603 h 225603"/>
                <a:gd name="connsiteX0" fmla="*/ 0 w 692483"/>
                <a:gd name="connsiteY0" fmla="*/ 225603 h 317043"/>
                <a:gd name="connsiteX1" fmla="*/ 346242 w 692483"/>
                <a:gd name="connsiteY1" fmla="*/ 0 h 317043"/>
                <a:gd name="connsiteX2" fmla="*/ 692483 w 692483"/>
                <a:gd name="connsiteY2" fmla="*/ 225603 h 317043"/>
                <a:gd name="connsiteX3" fmla="*/ 91440 w 692483"/>
                <a:gd name="connsiteY3" fmla="*/ 317043 h 317043"/>
                <a:gd name="connsiteX0" fmla="*/ 0 w 692483"/>
                <a:gd name="connsiteY0" fmla="*/ 225603 h 225603"/>
                <a:gd name="connsiteX1" fmla="*/ 346242 w 692483"/>
                <a:gd name="connsiteY1" fmla="*/ 0 h 225603"/>
                <a:gd name="connsiteX2" fmla="*/ 692483 w 692483"/>
                <a:gd name="connsiteY2" fmla="*/ 225603 h 225603"/>
              </a:gdLst>
              <a:ahLst/>
              <a:cxnLst>
                <a:cxn ang="0">
                  <a:pos x="connsiteX0" y="connsiteY0"/>
                </a:cxn>
                <a:cxn ang="0">
                  <a:pos x="connsiteX1" y="connsiteY1"/>
                </a:cxn>
                <a:cxn ang="0">
                  <a:pos x="connsiteX2" y="connsiteY2"/>
                </a:cxn>
              </a:cxnLst>
              <a:rect l="l" t="t" r="r" b="b"/>
              <a:pathLst>
                <a:path w="692483" h="225603">
                  <a:moveTo>
                    <a:pt x="0" y="225603"/>
                  </a:moveTo>
                  <a:lnTo>
                    <a:pt x="346242" y="0"/>
                  </a:lnTo>
                  <a:lnTo>
                    <a:pt x="692483" y="225603"/>
                  </a:lnTo>
                </a:path>
              </a:pathLst>
            </a:custGeom>
            <a:no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1" tIns="109713" rIns="137141" bIns="109713" numCol="1" spcCol="0" rtlCol="0" fromWordArt="0" anchor="t" anchorCtr="0" forceAA="0" compatLnSpc="1">
              <a:prstTxWarp prst="textNoShape">
                <a:avLst/>
              </a:prstTxWarp>
              <a:noAutofit/>
            </a:bodyPr>
            <a:lstStyle/>
            <a:p>
              <a:pPr algn="ctr" defTabSz="699220" fontAlgn="base">
                <a:lnSpc>
                  <a:spcPct val="90000"/>
                </a:lnSpc>
                <a:spcBef>
                  <a:spcPct val="0"/>
                </a:spcBef>
                <a:spcAft>
                  <a:spcPct val="0"/>
                </a:spcAft>
                <a:defRPr/>
              </a:pPr>
              <a:endParaRPr lang="en-IN">
                <a:solidFill>
                  <a:srgbClr val="0047BB"/>
                </a:solidFill>
                <a:latin typeface="Segoe UI"/>
                <a:ea typeface="Segoe UI" pitchFamily="34" charset="0"/>
                <a:cs typeface="Segoe UI" pitchFamily="34" charset="0"/>
              </a:endParaRPr>
            </a:p>
          </p:txBody>
        </p:sp>
      </p:grpSp>
      <p:sp>
        <p:nvSpPr>
          <p:cNvPr id="368" name="Rectangle 25">
            <a:extLst>
              <a:ext uri="{FF2B5EF4-FFF2-40B4-BE49-F238E27FC236}">
                <a16:creationId xmlns:a16="http://schemas.microsoft.com/office/drawing/2014/main" id="{313E2B52-2A16-4BE2-98E7-0A394FD6E29D}"/>
              </a:ext>
            </a:extLst>
          </p:cNvPr>
          <p:cNvSpPr/>
          <p:nvPr/>
        </p:nvSpPr>
        <p:spPr bwMode="auto">
          <a:xfrm rot="2700000">
            <a:off x="4864674" y="4372777"/>
            <a:ext cx="82412" cy="82412"/>
          </a:xfrm>
          <a:custGeom>
            <a:avLst/>
            <a:gdLst>
              <a:gd name="connsiteX0" fmla="*/ 0 w 584200"/>
              <a:gd name="connsiteY0" fmla="*/ 0 h 584200"/>
              <a:gd name="connsiteX1" fmla="*/ 584200 w 584200"/>
              <a:gd name="connsiteY1" fmla="*/ 0 h 584200"/>
              <a:gd name="connsiteX2" fmla="*/ 584200 w 584200"/>
              <a:gd name="connsiteY2" fmla="*/ 584200 h 584200"/>
              <a:gd name="connsiteX3" fmla="*/ 0 w 584200"/>
              <a:gd name="connsiteY3" fmla="*/ 584200 h 584200"/>
              <a:gd name="connsiteX4" fmla="*/ 0 w 584200"/>
              <a:gd name="connsiteY4" fmla="*/ 0 h 584200"/>
              <a:gd name="connsiteX0" fmla="*/ 0 w 584200"/>
              <a:gd name="connsiteY0" fmla="*/ 584200 h 675640"/>
              <a:gd name="connsiteX1" fmla="*/ 0 w 584200"/>
              <a:gd name="connsiteY1" fmla="*/ 0 h 675640"/>
              <a:gd name="connsiteX2" fmla="*/ 584200 w 584200"/>
              <a:gd name="connsiteY2" fmla="*/ 0 h 675640"/>
              <a:gd name="connsiteX3" fmla="*/ 584200 w 584200"/>
              <a:gd name="connsiteY3" fmla="*/ 584200 h 675640"/>
              <a:gd name="connsiteX4" fmla="*/ 91440 w 584200"/>
              <a:gd name="connsiteY4" fmla="*/ 675640 h 675640"/>
              <a:gd name="connsiteX0" fmla="*/ 0 w 584200"/>
              <a:gd name="connsiteY0" fmla="*/ 584200 h 584200"/>
              <a:gd name="connsiteX1" fmla="*/ 0 w 584200"/>
              <a:gd name="connsiteY1" fmla="*/ 0 h 584200"/>
              <a:gd name="connsiteX2" fmla="*/ 584200 w 584200"/>
              <a:gd name="connsiteY2" fmla="*/ 0 h 584200"/>
              <a:gd name="connsiteX3" fmla="*/ 584200 w 584200"/>
              <a:gd name="connsiteY3" fmla="*/ 584200 h 584200"/>
              <a:gd name="connsiteX0" fmla="*/ 0 w 584200"/>
              <a:gd name="connsiteY0" fmla="*/ 0 h 584200"/>
              <a:gd name="connsiteX1" fmla="*/ 584200 w 584200"/>
              <a:gd name="connsiteY1" fmla="*/ 0 h 584200"/>
              <a:gd name="connsiteX2" fmla="*/ 584200 w 584200"/>
              <a:gd name="connsiteY2" fmla="*/ 584200 h 584200"/>
            </a:gdLst>
            <a:ahLst/>
            <a:cxnLst>
              <a:cxn ang="0">
                <a:pos x="connsiteX0" y="connsiteY0"/>
              </a:cxn>
              <a:cxn ang="0">
                <a:pos x="connsiteX1" y="connsiteY1"/>
              </a:cxn>
              <a:cxn ang="0">
                <a:pos x="connsiteX2" y="connsiteY2"/>
              </a:cxn>
            </a:cxnLst>
            <a:rect l="l" t="t" r="r" b="b"/>
            <a:pathLst>
              <a:path w="584200" h="584200">
                <a:moveTo>
                  <a:pt x="0" y="0"/>
                </a:moveTo>
                <a:lnTo>
                  <a:pt x="584200" y="0"/>
                </a:lnTo>
                <a:lnTo>
                  <a:pt x="584200" y="584200"/>
                </a:lnTo>
              </a:path>
            </a:pathLst>
          </a:custGeom>
          <a:noFill/>
          <a:ln w="12700" cap="rnd" cmpd="sng" algn="ctr">
            <a:solidFill>
              <a:schemeClr val="tx2"/>
            </a:solidFill>
            <a:prstDash val="lgDash"/>
            <a:headEnd type="none" w="sm" len="sm"/>
            <a:tailEnd type="none" w="sm" len="sm"/>
          </a:ln>
          <a:effectLst/>
        </p:spPr>
        <p:txBody>
          <a:bodyPr rot="0" spcFirstLastPara="0" vertOverflow="overflow" horzOverflow="overflow" vert="horz" wrap="square" lIns="137141" tIns="109713" rIns="137141" bIns="109713" numCol="1" spcCol="0" rtlCol="0" fromWordArt="0" anchor="t" anchorCtr="0" forceAA="0" compatLnSpc="1">
            <a:prstTxWarp prst="textNoShape">
              <a:avLst/>
            </a:prstTxWarp>
            <a:noAutofit/>
          </a:bodyPr>
          <a:lstStyle/>
          <a:p>
            <a:pPr algn="ctr" defTabSz="699220" fontAlgn="base">
              <a:lnSpc>
                <a:spcPct val="90000"/>
              </a:lnSpc>
              <a:spcBef>
                <a:spcPct val="0"/>
              </a:spcBef>
              <a:spcAft>
                <a:spcPct val="0"/>
              </a:spcAft>
              <a:defRPr/>
            </a:pPr>
            <a:endParaRPr lang="en-IN" err="1">
              <a:gradFill>
                <a:gsLst>
                  <a:gs pos="0">
                    <a:srgbClr val="FFFFFF"/>
                  </a:gs>
                  <a:gs pos="100000">
                    <a:srgbClr val="FFFFFF"/>
                  </a:gs>
                </a:gsLst>
                <a:lin ang="5400000" scaled="0"/>
              </a:gradFill>
              <a:latin typeface="Segoe UI"/>
              <a:cs typeface="Segoe UI" pitchFamily="34" charset="0"/>
            </a:endParaRPr>
          </a:p>
        </p:txBody>
      </p:sp>
      <p:sp>
        <p:nvSpPr>
          <p:cNvPr id="369" name="Rectangle 25">
            <a:extLst>
              <a:ext uri="{FF2B5EF4-FFF2-40B4-BE49-F238E27FC236}">
                <a16:creationId xmlns:a16="http://schemas.microsoft.com/office/drawing/2014/main" id="{A4931817-AD65-4046-8106-39B92D35D6DB}"/>
              </a:ext>
            </a:extLst>
          </p:cNvPr>
          <p:cNvSpPr/>
          <p:nvPr/>
        </p:nvSpPr>
        <p:spPr bwMode="auto">
          <a:xfrm rot="13500000">
            <a:off x="4864674" y="4709915"/>
            <a:ext cx="82412" cy="82412"/>
          </a:xfrm>
          <a:custGeom>
            <a:avLst/>
            <a:gdLst>
              <a:gd name="connsiteX0" fmla="*/ 0 w 584200"/>
              <a:gd name="connsiteY0" fmla="*/ 0 h 584200"/>
              <a:gd name="connsiteX1" fmla="*/ 584200 w 584200"/>
              <a:gd name="connsiteY1" fmla="*/ 0 h 584200"/>
              <a:gd name="connsiteX2" fmla="*/ 584200 w 584200"/>
              <a:gd name="connsiteY2" fmla="*/ 584200 h 584200"/>
              <a:gd name="connsiteX3" fmla="*/ 0 w 584200"/>
              <a:gd name="connsiteY3" fmla="*/ 584200 h 584200"/>
              <a:gd name="connsiteX4" fmla="*/ 0 w 584200"/>
              <a:gd name="connsiteY4" fmla="*/ 0 h 584200"/>
              <a:gd name="connsiteX0" fmla="*/ 0 w 584200"/>
              <a:gd name="connsiteY0" fmla="*/ 584200 h 675640"/>
              <a:gd name="connsiteX1" fmla="*/ 0 w 584200"/>
              <a:gd name="connsiteY1" fmla="*/ 0 h 675640"/>
              <a:gd name="connsiteX2" fmla="*/ 584200 w 584200"/>
              <a:gd name="connsiteY2" fmla="*/ 0 h 675640"/>
              <a:gd name="connsiteX3" fmla="*/ 584200 w 584200"/>
              <a:gd name="connsiteY3" fmla="*/ 584200 h 675640"/>
              <a:gd name="connsiteX4" fmla="*/ 91440 w 584200"/>
              <a:gd name="connsiteY4" fmla="*/ 675640 h 675640"/>
              <a:gd name="connsiteX0" fmla="*/ 0 w 584200"/>
              <a:gd name="connsiteY0" fmla="*/ 584200 h 584200"/>
              <a:gd name="connsiteX1" fmla="*/ 0 w 584200"/>
              <a:gd name="connsiteY1" fmla="*/ 0 h 584200"/>
              <a:gd name="connsiteX2" fmla="*/ 584200 w 584200"/>
              <a:gd name="connsiteY2" fmla="*/ 0 h 584200"/>
              <a:gd name="connsiteX3" fmla="*/ 584200 w 584200"/>
              <a:gd name="connsiteY3" fmla="*/ 584200 h 584200"/>
              <a:gd name="connsiteX0" fmla="*/ 0 w 584200"/>
              <a:gd name="connsiteY0" fmla="*/ 0 h 584200"/>
              <a:gd name="connsiteX1" fmla="*/ 584200 w 584200"/>
              <a:gd name="connsiteY1" fmla="*/ 0 h 584200"/>
              <a:gd name="connsiteX2" fmla="*/ 584200 w 584200"/>
              <a:gd name="connsiteY2" fmla="*/ 584200 h 584200"/>
            </a:gdLst>
            <a:ahLst/>
            <a:cxnLst>
              <a:cxn ang="0">
                <a:pos x="connsiteX0" y="connsiteY0"/>
              </a:cxn>
              <a:cxn ang="0">
                <a:pos x="connsiteX1" y="connsiteY1"/>
              </a:cxn>
              <a:cxn ang="0">
                <a:pos x="connsiteX2" y="connsiteY2"/>
              </a:cxn>
            </a:cxnLst>
            <a:rect l="l" t="t" r="r" b="b"/>
            <a:pathLst>
              <a:path w="584200" h="584200">
                <a:moveTo>
                  <a:pt x="0" y="0"/>
                </a:moveTo>
                <a:lnTo>
                  <a:pt x="584200" y="0"/>
                </a:lnTo>
                <a:lnTo>
                  <a:pt x="584200" y="584200"/>
                </a:lnTo>
              </a:path>
            </a:pathLst>
          </a:custGeom>
          <a:noFill/>
          <a:ln w="12700" cap="rnd" cmpd="sng" algn="ctr">
            <a:solidFill>
              <a:schemeClr val="tx2"/>
            </a:solidFill>
            <a:prstDash val="lgDash"/>
            <a:headEnd type="none" w="sm" len="sm"/>
            <a:tailEnd type="none" w="sm" len="sm"/>
          </a:ln>
          <a:effectLst/>
        </p:spPr>
        <p:txBody>
          <a:bodyPr rot="0" spcFirstLastPara="0" vertOverflow="overflow" horzOverflow="overflow" vert="horz" wrap="square" lIns="137141" tIns="109713" rIns="137141" bIns="109713" numCol="1" spcCol="0" rtlCol="0" fromWordArt="0" anchor="t" anchorCtr="0" forceAA="0" compatLnSpc="1">
            <a:prstTxWarp prst="textNoShape">
              <a:avLst/>
            </a:prstTxWarp>
            <a:noAutofit/>
          </a:bodyPr>
          <a:lstStyle/>
          <a:p>
            <a:pPr algn="ctr" defTabSz="699220" fontAlgn="base">
              <a:lnSpc>
                <a:spcPct val="90000"/>
              </a:lnSpc>
              <a:spcBef>
                <a:spcPct val="0"/>
              </a:spcBef>
              <a:spcAft>
                <a:spcPct val="0"/>
              </a:spcAft>
              <a:defRPr/>
            </a:pPr>
            <a:endParaRPr lang="en-IN" err="1">
              <a:gradFill>
                <a:gsLst>
                  <a:gs pos="0">
                    <a:srgbClr val="FFFFFF"/>
                  </a:gs>
                  <a:gs pos="100000">
                    <a:srgbClr val="FFFFFF"/>
                  </a:gs>
                </a:gsLst>
                <a:lin ang="5400000" scaled="0"/>
              </a:gradFill>
              <a:latin typeface="Segoe UI"/>
              <a:cs typeface="Segoe UI" pitchFamily="34" charset="0"/>
            </a:endParaRPr>
          </a:p>
        </p:txBody>
      </p:sp>
      <p:sp>
        <p:nvSpPr>
          <p:cNvPr id="374" name="Rectangle 25">
            <a:extLst>
              <a:ext uri="{FF2B5EF4-FFF2-40B4-BE49-F238E27FC236}">
                <a16:creationId xmlns:a16="http://schemas.microsoft.com/office/drawing/2014/main" id="{5C31C79F-A6AA-4B74-8797-E92E4A10C6C6}"/>
              </a:ext>
            </a:extLst>
          </p:cNvPr>
          <p:cNvSpPr/>
          <p:nvPr/>
        </p:nvSpPr>
        <p:spPr bwMode="auto">
          <a:xfrm rot="18900000">
            <a:off x="183249" y="4554811"/>
            <a:ext cx="82412" cy="82412"/>
          </a:xfrm>
          <a:custGeom>
            <a:avLst/>
            <a:gdLst>
              <a:gd name="connsiteX0" fmla="*/ 0 w 584200"/>
              <a:gd name="connsiteY0" fmla="*/ 0 h 584200"/>
              <a:gd name="connsiteX1" fmla="*/ 584200 w 584200"/>
              <a:gd name="connsiteY1" fmla="*/ 0 h 584200"/>
              <a:gd name="connsiteX2" fmla="*/ 584200 w 584200"/>
              <a:gd name="connsiteY2" fmla="*/ 584200 h 584200"/>
              <a:gd name="connsiteX3" fmla="*/ 0 w 584200"/>
              <a:gd name="connsiteY3" fmla="*/ 584200 h 584200"/>
              <a:gd name="connsiteX4" fmla="*/ 0 w 584200"/>
              <a:gd name="connsiteY4" fmla="*/ 0 h 584200"/>
              <a:gd name="connsiteX0" fmla="*/ 0 w 584200"/>
              <a:gd name="connsiteY0" fmla="*/ 584200 h 675640"/>
              <a:gd name="connsiteX1" fmla="*/ 0 w 584200"/>
              <a:gd name="connsiteY1" fmla="*/ 0 h 675640"/>
              <a:gd name="connsiteX2" fmla="*/ 584200 w 584200"/>
              <a:gd name="connsiteY2" fmla="*/ 0 h 675640"/>
              <a:gd name="connsiteX3" fmla="*/ 584200 w 584200"/>
              <a:gd name="connsiteY3" fmla="*/ 584200 h 675640"/>
              <a:gd name="connsiteX4" fmla="*/ 91440 w 584200"/>
              <a:gd name="connsiteY4" fmla="*/ 675640 h 675640"/>
              <a:gd name="connsiteX0" fmla="*/ 0 w 584200"/>
              <a:gd name="connsiteY0" fmla="*/ 584200 h 584200"/>
              <a:gd name="connsiteX1" fmla="*/ 0 w 584200"/>
              <a:gd name="connsiteY1" fmla="*/ 0 h 584200"/>
              <a:gd name="connsiteX2" fmla="*/ 584200 w 584200"/>
              <a:gd name="connsiteY2" fmla="*/ 0 h 584200"/>
              <a:gd name="connsiteX3" fmla="*/ 584200 w 584200"/>
              <a:gd name="connsiteY3" fmla="*/ 584200 h 584200"/>
              <a:gd name="connsiteX0" fmla="*/ 0 w 584200"/>
              <a:gd name="connsiteY0" fmla="*/ 0 h 584200"/>
              <a:gd name="connsiteX1" fmla="*/ 584200 w 584200"/>
              <a:gd name="connsiteY1" fmla="*/ 0 h 584200"/>
              <a:gd name="connsiteX2" fmla="*/ 584200 w 584200"/>
              <a:gd name="connsiteY2" fmla="*/ 584200 h 584200"/>
            </a:gdLst>
            <a:ahLst/>
            <a:cxnLst>
              <a:cxn ang="0">
                <a:pos x="connsiteX0" y="connsiteY0"/>
              </a:cxn>
              <a:cxn ang="0">
                <a:pos x="connsiteX1" y="connsiteY1"/>
              </a:cxn>
              <a:cxn ang="0">
                <a:pos x="connsiteX2" y="connsiteY2"/>
              </a:cxn>
            </a:cxnLst>
            <a:rect l="l" t="t" r="r" b="b"/>
            <a:pathLst>
              <a:path w="584200" h="584200">
                <a:moveTo>
                  <a:pt x="0" y="0"/>
                </a:moveTo>
                <a:lnTo>
                  <a:pt x="584200" y="0"/>
                </a:lnTo>
                <a:lnTo>
                  <a:pt x="584200" y="584200"/>
                </a:lnTo>
              </a:path>
            </a:pathLst>
          </a:custGeom>
          <a:noFill/>
          <a:ln w="12700" cap="rnd" cmpd="sng" algn="ctr">
            <a:solidFill>
              <a:schemeClr val="tx2"/>
            </a:solidFill>
            <a:prstDash val="lgDash"/>
            <a:headEnd type="none" w="sm" len="sm"/>
            <a:tailEnd type="none" w="sm" len="sm"/>
          </a:ln>
          <a:effectLst/>
        </p:spPr>
        <p:txBody>
          <a:bodyPr rot="0" spcFirstLastPara="0" vertOverflow="overflow" horzOverflow="overflow" vert="horz" wrap="square" lIns="137141" tIns="109713" rIns="137141" bIns="109713" numCol="1" spcCol="0" rtlCol="0" fromWordArt="0" anchor="t" anchorCtr="0" forceAA="0" compatLnSpc="1">
            <a:prstTxWarp prst="textNoShape">
              <a:avLst/>
            </a:prstTxWarp>
            <a:noAutofit/>
          </a:bodyPr>
          <a:lstStyle/>
          <a:p>
            <a:pPr algn="ctr" defTabSz="699220" fontAlgn="base">
              <a:lnSpc>
                <a:spcPct val="90000"/>
              </a:lnSpc>
              <a:spcBef>
                <a:spcPct val="0"/>
              </a:spcBef>
              <a:spcAft>
                <a:spcPct val="0"/>
              </a:spcAft>
              <a:defRPr/>
            </a:pPr>
            <a:endParaRPr lang="en-IN" err="1">
              <a:gradFill>
                <a:gsLst>
                  <a:gs pos="0">
                    <a:srgbClr val="FFFFFF"/>
                  </a:gs>
                  <a:gs pos="100000">
                    <a:srgbClr val="FFFFFF"/>
                  </a:gs>
                </a:gsLst>
                <a:lin ang="5400000" scaled="0"/>
              </a:gradFill>
              <a:latin typeface="Segoe UI"/>
              <a:cs typeface="Segoe UI" pitchFamily="34" charset="0"/>
            </a:endParaRPr>
          </a:p>
        </p:txBody>
      </p:sp>
      <p:sp>
        <p:nvSpPr>
          <p:cNvPr id="2" name="Oval 1">
            <a:extLst>
              <a:ext uri="{FF2B5EF4-FFF2-40B4-BE49-F238E27FC236}">
                <a16:creationId xmlns:a16="http://schemas.microsoft.com/office/drawing/2014/main" id="{9CB62C7E-6A2B-489A-A35B-F7746DE5DB34}"/>
              </a:ext>
            </a:extLst>
          </p:cNvPr>
          <p:cNvSpPr/>
          <p:nvPr/>
        </p:nvSpPr>
        <p:spPr bwMode="auto">
          <a:xfrm>
            <a:off x="3286082" y="2139584"/>
            <a:ext cx="787194" cy="787193"/>
          </a:xfrm>
          <a:prstGeom prst="ellipse">
            <a:avLst/>
          </a:prstGeom>
          <a:solidFill>
            <a:schemeClr val="bg1">
              <a:alpha val="87000"/>
            </a:schemeClr>
          </a:solidFill>
          <a:ln>
            <a:solidFill>
              <a:schemeClr val="tx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699220" fontAlgn="base">
              <a:lnSpc>
                <a:spcPct val="90000"/>
              </a:lnSpc>
              <a:spcBef>
                <a:spcPct val="0"/>
              </a:spcBef>
              <a:spcAft>
                <a:spcPct val="0"/>
              </a:spcAft>
              <a:defRPr/>
            </a:pPr>
            <a:r>
              <a:rPr lang="en-US" sz="1050">
                <a:solidFill>
                  <a:srgbClr val="0047BB"/>
                </a:solidFill>
                <a:latin typeface="Segoe UI Semibold"/>
                <a:ea typeface="Segoe UI" pitchFamily="34" charset="0"/>
                <a:cs typeface="Segoe UI" pitchFamily="34" charset="0"/>
              </a:rPr>
              <a:t>Customer</a:t>
            </a:r>
            <a:br>
              <a:rPr lang="en-US" sz="1050">
                <a:solidFill>
                  <a:srgbClr val="0047BB"/>
                </a:solidFill>
                <a:latin typeface="Segoe UI Semibold"/>
                <a:ea typeface="Segoe UI" pitchFamily="34" charset="0"/>
                <a:cs typeface="Segoe UI" pitchFamily="34" charset="0"/>
              </a:rPr>
            </a:br>
            <a:r>
              <a:rPr lang="en-US" sz="1050">
                <a:solidFill>
                  <a:srgbClr val="0047BB"/>
                </a:solidFill>
                <a:latin typeface="Segoe UI Semibold"/>
                <a:ea typeface="Segoe UI" pitchFamily="34" charset="0"/>
                <a:cs typeface="Segoe UI" pitchFamily="34" charset="0"/>
              </a:rPr>
              <a:t>Insights</a:t>
            </a:r>
            <a:endParaRPr lang="en-IN" sz="1050">
              <a:solidFill>
                <a:srgbClr val="0047BB"/>
              </a:solidFill>
              <a:latin typeface="Segoe UI Semibold"/>
              <a:ea typeface="Segoe UI" pitchFamily="34" charset="0"/>
              <a:cs typeface="Segoe UI" pitchFamily="34" charset="0"/>
            </a:endParaRPr>
          </a:p>
        </p:txBody>
      </p:sp>
      <p:sp>
        <p:nvSpPr>
          <p:cNvPr id="9" name="Title 8">
            <a:extLst>
              <a:ext uri="{FF2B5EF4-FFF2-40B4-BE49-F238E27FC236}">
                <a16:creationId xmlns:a16="http://schemas.microsoft.com/office/drawing/2014/main" id="{974EC8FA-94FD-4F96-AFFB-47C88E575CA1}"/>
              </a:ext>
            </a:extLst>
          </p:cNvPr>
          <p:cNvSpPr>
            <a:spLocks noGrp="1"/>
          </p:cNvSpPr>
          <p:nvPr>
            <p:ph type="title"/>
          </p:nvPr>
        </p:nvSpPr>
        <p:spPr>
          <a:xfrm>
            <a:off x="335756" y="227410"/>
            <a:ext cx="8472488" cy="914096"/>
          </a:xfrm>
        </p:spPr>
        <p:txBody>
          <a:bodyPr>
            <a:normAutofit fontScale="90000"/>
          </a:bodyPr>
          <a:lstStyle/>
          <a:p>
            <a:r>
              <a:rPr lang="en-US" dirty="0">
                <a:solidFill>
                  <a:schemeClr val="tx1"/>
                </a:solidFill>
              </a:rPr>
              <a:t>The Dynamics 365 approach to AI</a:t>
            </a:r>
            <a:br>
              <a:rPr lang="en-US" dirty="0">
                <a:solidFill>
                  <a:schemeClr val="tx1"/>
                </a:solidFill>
              </a:rPr>
            </a:br>
            <a:endParaRPr lang="en-US" dirty="0">
              <a:solidFill>
                <a:schemeClr val="tx1"/>
              </a:solidFill>
            </a:endParaRPr>
          </a:p>
        </p:txBody>
      </p:sp>
    </p:spTree>
    <p:extLst>
      <p:ext uri="{BB962C8B-B14F-4D97-AF65-F5344CB8AC3E}">
        <p14:creationId xmlns:p14="http://schemas.microsoft.com/office/powerpoint/2010/main" val="1116605513"/>
      </p:ext>
    </p:extLst>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44"/>
                                        </p:tgtEl>
                                        <p:attrNameLst>
                                          <p:attrName>style.visibility</p:attrName>
                                        </p:attrNameLst>
                                      </p:cBhvr>
                                      <p:to>
                                        <p:strVal val="visible"/>
                                      </p:to>
                                    </p:set>
                                    <p:animEffect transition="in" filter="fade">
                                      <p:cBhvr>
                                        <p:cTn id="7" dur="500"/>
                                        <p:tgtEl>
                                          <p:spTgt spid="44"/>
                                        </p:tgtEl>
                                      </p:cBhvr>
                                    </p:animEffect>
                                  </p:childTnLst>
                                </p:cTn>
                              </p:par>
                              <p:par>
                                <p:cTn id="8" presetID="10" presetClass="entr" presetSubtype="0" fill="hold" nodeType="withEffect">
                                  <p:stCondLst>
                                    <p:cond delay="0"/>
                                  </p:stCondLst>
                                  <p:childTnLst>
                                    <p:set>
                                      <p:cBhvr>
                                        <p:cTn id="9" dur="1" fill="hold">
                                          <p:stCondLst>
                                            <p:cond delay="0"/>
                                          </p:stCondLst>
                                        </p:cTn>
                                        <p:tgtEl>
                                          <p:spTgt spid="253"/>
                                        </p:tgtEl>
                                        <p:attrNameLst>
                                          <p:attrName>style.visibility</p:attrName>
                                        </p:attrNameLst>
                                      </p:cBhvr>
                                      <p:to>
                                        <p:strVal val="visible"/>
                                      </p:to>
                                    </p:set>
                                    <p:animEffect transition="in" filter="fade">
                                      <p:cBhvr>
                                        <p:cTn id="10" dur="500"/>
                                        <p:tgtEl>
                                          <p:spTgt spid="253"/>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
                                        </p:tgtEl>
                                        <p:attrNameLst>
                                          <p:attrName>style.visibility</p:attrName>
                                        </p:attrNameLst>
                                      </p:cBhvr>
                                      <p:to>
                                        <p:strVal val="visible"/>
                                      </p:to>
                                    </p:set>
                                    <p:animEffect transition="in" filter="fade">
                                      <p:cBhvr>
                                        <p:cTn id="13" dur="500"/>
                                        <p:tgtEl>
                                          <p:spTgt spid="3"/>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227"/>
                                        </p:tgtEl>
                                        <p:attrNameLst>
                                          <p:attrName>style.visibility</p:attrName>
                                        </p:attrNameLst>
                                      </p:cBhvr>
                                      <p:to>
                                        <p:strVal val="visible"/>
                                      </p:to>
                                    </p:set>
                                    <p:animEffect transition="in" filter="fade">
                                      <p:cBhvr>
                                        <p:cTn id="16" dur="500"/>
                                        <p:tgtEl>
                                          <p:spTgt spid="227"/>
                                        </p:tgtEl>
                                      </p:cBhvr>
                                    </p:animEffect>
                                  </p:childTnLst>
                                </p:cTn>
                              </p:par>
                              <p:par>
                                <p:cTn id="17" presetID="26" presetClass="path" presetSubtype="0" accel="50000" decel="50000" fill="hold" nodeType="withEffect">
                                  <p:stCondLst>
                                    <p:cond delay="0"/>
                                  </p:stCondLst>
                                  <p:childTnLst>
                                    <p:animMotion origin="layout" path="M -2.70833E-6 -1.11111E-6 C -2.70833E-6 -0.00185 0.00039 -0.00324 0.00078 -0.00324 C 0.00144 -0.00324 0.0017 -0.00185 0.0017 -0.00069 L 0.00183 0.00046 C 0.00196 0.00162 0.00209 0.00324 0.00287 0.00324 C 0.00326 0.00324 0.00378 0.00162 0.00378 -1.11111E-6 C 0.00378 -0.00185 0.00326 -0.00324 0.00287 -0.00324 C 0.00209 -0.00324 0.00196 -0.00185 0.00183 -0.00069 L 0.0017 0.00046 C 0.0017 0.00162 0.00144 0.00324 0.00078 0.00324 C 0.00039 0.00324 -2.70833E-6 0.00162 -2.70833E-6 -1.11111E-6 Z " pathEditMode="relative" rAng="0" ptsTypes="AAAAAAAAAAA">
                                      <p:cBhvr>
                                        <p:cTn id="18" dur="3000" fill="hold"/>
                                        <p:tgtEl>
                                          <p:spTgt spid="133"/>
                                        </p:tgtEl>
                                        <p:attrNameLst>
                                          <p:attrName>ppt_x</p:attrName>
                                          <p:attrName>ppt_y</p:attrName>
                                        </p:attrNameLst>
                                      </p:cBhvr>
                                      <p:rCtr x="182" y="0"/>
                                    </p:animMotion>
                                  </p:childTnLst>
                                </p:cTn>
                              </p:par>
                              <p:par>
                                <p:cTn id="19" presetID="26" presetClass="path" presetSubtype="0" accel="50000" decel="50000" fill="hold" nodeType="withEffect">
                                  <p:stCondLst>
                                    <p:cond delay="0"/>
                                  </p:stCondLst>
                                  <p:childTnLst>
                                    <p:animMotion origin="layout" path="M 8.33333E-7 0.00093 C 8.33333E-7 0.00255 0.00039 0.00417 0.00078 0.00417 C 0.00143 0.00417 0.00169 0.00255 0.00169 0.00139 L 0.00182 0.00023 C 0.00195 -0.00093 0.00208 -0.00231 0.00286 -0.00231 C 0.00325 -0.00231 0.00378 -0.00093 0.00378 0.00093 C 0.00378 0.00255 0.00325 0.00417 0.00286 0.00417 C 0.00208 0.00417 0.00195 0.00255 0.00182 0.00139 L 0.00169 0.00023 C 0.00169 -0.00093 0.00143 -0.00231 0.00078 -0.00231 C 0.00039 -0.00231 8.33333E-7 -0.00093 8.33333E-7 0.00093 Z " pathEditMode="relative" rAng="0" ptsTypes="AAAAAAAAAAA">
                                      <p:cBhvr>
                                        <p:cTn id="20" dur="3000" fill="hold"/>
                                        <p:tgtEl>
                                          <p:spTgt spid="56"/>
                                        </p:tgtEl>
                                        <p:attrNameLst>
                                          <p:attrName>ppt_x</p:attrName>
                                          <p:attrName>ppt_y</p:attrName>
                                        </p:attrNameLst>
                                      </p:cBhvr>
                                      <p:rCtr x="182" y="0"/>
                                    </p:animMotion>
                                  </p:childTnLst>
                                </p:cTn>
                              </p:par>
                              <p:par>
                                <p:cTn id="21" presetID="42" presetClass="path" presetSubtype="0" repeatCount="indefinite" accel="49000" decel="46000" autoRev="1" fill="hold" grpId="0" nodeType="withEffect">
                                  <p:stCondLst>
                                    <p:cond delay="250"/>
                                  </p:stCondLst>
                                  <p:childTnLst>
                                    <p:animMotion origin="layout" path="M -2.70833E-6 -3.7037E-7 L -2.70833E-6 0.22083 " pathEditMode="relative" rAng="0" ptsTypes="AA">
                                      <p:cBhvr>
                                        <p:cTn id="22" dur="2750" fill="hold"/>
                                        <p:tgtEl>
                                          <p:spTgt spid="266"/>
                                        </p:tgtEl>
                                        <p:attrNameLst>
                                          <p:attrName>ppt_x</p:attrName>
                                          <p:attrName>ppt_y</p:attrName>
                                        </p:attrNameLst>
                                      </p:cBhvr>
                                      <p:rCtr x="0" y="11042"/>
                                    </p:animMotion>
                                  </p:childTnLst>
                                </p:cTn>
                              </p:par>
                              <p:par>
                                <p:cTn id="23" presetID="64" presetClass="path" presetSubtype="0" repeatCount="indefinite" accel="49000" decel="46000" autoRev="1" fill="hold" grpId="0" nodeType="withEffect">
                                  <p:stCondLst>
                                    <p:cond delay="500"/>
                                  </p:stCondLst>
                                  <p:childTnLst>
                                    <p:animMotion origin="layout" path="M -2.91667E-6 -3.7037E-6 L -2.91667E-6 -0.22014 " pathEditMode="relative" rAng="0" ptsTypes="AA">
                                      <p:cBhvr>
                                        <p:cTn id="24" dur="2750" fill="hold"/>
                                        <p:tgtEl>
                                          <p:spTgt spid="273"/>
                                        </p:tgtEl>
                                        <p:attrNameLst>
                                          <p:attrName>ppt_x</p:attrName>
                                          <p:attrName>ppt_y</p:attrName>
                                        </p:attrNameLst>
                                      </p:cBhvr>
                                      <p:rCtr x="0" y="-11019"/>
                                    </p:animMotion>
                                  </p:childTnLst>
                                </p:cTn>
                              </p:par>
                              <p:par>
                                <p:cTn id="25" presetID="42" presetClass="path" presetSubtype="0" repeatCount="indefinite" accel="49000" decel="46000" autoRev="1" fill="hold" grpId="0" nodeType="withEffect">
                                  <p:stCondLst>
                                    <p:cond delay="750"/>
                                  </p:stCondLst>
                                  <p:childTnLst>
                                    <p:animMotion origin="layout" path="M -2.08333E-6 -3.7037E-7 L -2.08333E-6 0.22153 " pathEditMode="relative" rAng="0" ptsTypes="AA">
                                      <p:cBhvr>
                                        <p:cTn id="26" dur="2750" fill="hold"/>
                                        <p:tgtEl>
                                          <p:spTgt spid="279"/>
                                        </p:tgtEl>
                                        <p:attrNameLst>
                                          <p:attrName>ppt_x</p:attrName>
                                          <p:attrName>ppt_y</p:attrName>
                                        </p:attrNameLst>
                                      </p:cBhvr>
                                      <p:rCtr x="0" y="11065"/>
                                    </p:animMotion>
                                  </p:childTnLst>
                                </p:cTn>
                              </p:par>
                              <p:par>
                                <p:cTn id="27" presetID="64" presetClass="path" presetSubtype="0" repeatCount="indefinite" accel="49000" decel="46000" autoRev="1" fill="hold" grpId="0" nodeType="withEffect">
                                  <p:stCondLst>
                                    <p:cond delay="750"/>
                                  </p:stCondLst>
                                  <p:childTnLst>
                                    <p:animMotion origin="layout" path="M -3.75E-6 -3.7037E-6 L -3.75E-6 -0.22152 " pathEditMode="relative" rAng="0" ptsTypes="AA">
                                      <p:cBhvr>
                                        <p:cTn id="28" dur="2750" fill="hold"/>
                                        <p:tgtEl>
                                          <p:spTgt spid="281"/>
                                        </p:tgtEl>
                                        <p:attrNameLst>
                                          <p:attrName>ppt_x</p:attrName>
                                          <p:attrName>ppt_y</p:attrName>
                                        </p:attrNameLst>
                                      </p:cBhvr>
                                      <p:rCtr x="0" y="-11088"/>
                                    </p:animMotion>
                                  </p:childTnLst>
                                </p:cTn>
                              </p:par>
                              <p:par>
                                <p:cTn id="29" presetID="10" presetClass="entr" presetSubtype="0" fill="hold" nodeType="withEffect">
                                  <p:stCondLst>
                                    <p:cond delay="1500"/>
                                  </p:stCondLst>
                                  <p:childTnLst>
                                    <p:set>
                                      <p:cBhvr>
                                        <p:cTn id="30" dur="1" fill="hold">
                                          <p:stCondLst>
                                            <p:cond delay="0"/>
                                          </p:stCondLst>
                                        </p:cTn>
                                        <p:tgtEl>
                                          <p:spTgt spid="11"/>
                                        </p:tgtEl>
                                        <p:attrNameLst>
                                          <p:attrName>style.visibility</p:attrName>
                                        </p:attrNameLst>
                                      </p:cBhvr>
                                      <p:to>
                                        <p:strVal val="visible"/>
                                      </p:to>
                                    </p:set>
                                    <p:animEffect transition="in" filter="fade">
                                      <p:cBhvr>
                                        <p:cTn id="31" dur="250"/>
                                        <p:tgtEl>
                                          <p:spTgt spid="11"/>
                                        </p:tgtEl>
                                      </p:cBhvr>
                                    </p:animEffect>
                                  </p:childTnLst>
                                </p:cTn>
                              </p:par>
                              <p:par>
                                <p:cTn id="32" presetID="10" presetClass="entr" presetSubtype="0" fill="hold" nodeType="withEffect">
                                  <p:stCondLst>
                                    <p:cond delay="2000"/>
                                  </p:stCondLst>
                                  <p:childTnLst>
                                    <p:set>
                                      <p:cBhvr>
                                        <p:cTn id="33" dur="1" fill="hold">
                                          <p:stCondLst>
                                            <p:cond delay="0"/>
                                          </p:stCondLst>
                                        </p:cTn>
                                        <p:tgtEl>
                                          <p:spTgt spid="12"/>
                                        </p:tgtEl>
                                        <p:attrNameLst>
                                          <p:attrName>style.visibility</p:attrName>
                                        </p:attrNameLst>
                                      </p:cBhvr>
                                      <p:to>
                                        <p:strVal val="visible"/>
                                      </p:to>
                                    </p:set>
                                    <p:animEffect transition="in" filter="fade">
                                      <p:cBhvr>
                                        <p:cTn id="34" dur="250"/>
                                        <p:tgtEl>
                                          <p:spTgt spid="12"/>
                                        </p:tgtEl>
                                      </p:cBhvr>
                                    </p:animEffect>
                                  </p:childTnLst>
                                </p:cTn>
                              </p:par>
                              <p:par>
                                <p:cTn id="35" presetID="10" presetClass="exit" presetSubtype="0" fill="hold" nodeType="withEffect">
                                  <p:stCondLst>
                                    <p:cond delay="2000"/>
                                  </p:stCondLst>
                                  <p:childTnLst>
                                    <p:animEffect transition="out" filter="fade">
                                      <p:cBhvr>
                                        <p:cTn id="36" dur="250"/>
                                        <p:tgtEl>
                                          <p:spTgt spid="11"/>
                                        </p:tgtEl>
                                      </p:cBhvr>
                                    </p:animEffect>
                                    <p:set>
                                      <p:cBhvr>
                                        <p:cTn id="37" dur="1" fill="hold">
                                          <p:stCondLst>
                                            <p:cond delay="249"/>
                                          </p:stCondLst>
                                        </p:cTn>
                                        <p:tgtEl>
                                          <p:spTgt spid="11"/>
                                        </p:tgtEl>
                                        <p:attrNameLst>
                                          <p:attrName>style.visibility</p:attrName>
                                        </p:attrNameLst>
                                      </p:cBhvr>
                                      <p:to>
                                        <p:strVal val="hidden"/>
                                      </p:to>
                                    </p:set>
                                  </p:childTnLst>
                                </p:cTn>
                              </p:par>
                              <p:par>
                                <p:cTn id="38" presetID="10" presetClass="entr" presetSubtype="0" fill="hold" nodeType="withEffect">
                                  <p:stCondLst>
                                    <p:cond delay="2750"/>
                                  </p:stCondLst>
                                  <p:childTnLst>
                                    <p:set>
                                      <p:cBhvr>
                                        <p:cTn id="39" dur="1" fill="hold">
                                          <p:stCondLst>
                                            <p:cond delay="0"/>
                                          </p:stCondLst>
                                        </p:cTn>
                                        <p:tgtEl>
                                          <p:spTgt spid="13"/>
                                        </p:tgtEl>
                                        <p:attrNameLst>
                                          <p:attrName>style.visibility</p:attrName>
                                        </p:attrNameLst>
                                      </p:cBhvr>
                                      <p:to>
                                        <p:strVal val="visible"/>
                                      </p:to>
                                    </p:set>
                                    <p:animEffect transition="in" filter="fade">
                                      <p:cBhvr>
                                        <p:cTn id="40" dur="250"/>
                                        <p:tgtEl>
                                          <p:spTgt spid="13"/>
                                        </p:tgtEl>
                                      </p:cBhvr>
                                    </p:animEffect>
                                  </p:childTnLst>
                                </p:cTn>
                              </p:par>
                              <p:par>
                                <p:cTn id="41" presetID="10" presetClass="exit" presetSubtype="0" fill="hold" nodeType="withEffect">
                                  <p:stCondLst>
                                    <p:cond delay="2750"/>
                                  </p:stCondLst>
                                  <p:childTnLst>
                                    <p:animEffect transition="out" filter="fade">
                                      <p:cBhvr>
                                        <p:cTn id="42" dur="250"/>
                                        <p:tgtEl>
                                          <p:spTgt spid="12"/>
                                        </p:tgtEl>
                                      </p:cBhvr>
                                    </p:animEffect>
                                    <p:set>
                                      <p:cBhvr>
                                        <p:cTn id="43" dur="1" fill="hold">
                                          <p:stCondLst>
                                            <p:cond delay="249"/>
                                          </p:stCondLst>
                                        </p:cTn>
                                        <p:tgtEl>
                                          <p:spTgt spid="12"/>
                                        </p:tgtEl>
                                        <p:attrNameLst>
                                          <p:attrName>style.visibility</p:attrName>
                                        </p:attrNameLst>
                                      </p:cBhvr>
                                      <p:to>
                                        <p:strVal val="hidden"/>
                                      </p:to>
                                    </p:set>
                                  </p:childTnLst>
                                </p:cTn>
                              </p:par>
                              <p:par>
                                <p:cTn id="44" presetID="10" presetClass="entr" presetSubtype="0" fill="hold" nodeType="withEffect">
                                  <p:stCondLst>
                                    <p:cond delay="3500"/>
                                  </p:stCondLst>
                                  <p:childTnLst>
                                    <p:set>
                                      <p:cBhvr>
                                        <p:cTn id="45" dur="1" fill="hold">
                                          <p:stCondLst>
                                            <p:cond delay="0"/>
                                          </p:stCondLst>
                                        </p:cTn>
                                        <p:tgtEl>
                                          <p:spTgt spid="14"/>
                                        </p:tgtEl>
                                        <p:attrNameLst>
                                          <p:attrName>style.visibility</p:attrName>
                                        </p:attrNameLst>
                                      </p:cBhvr>
                                      <p:to>
                                        <p:strVal val="visible"/>
                                      </p:to>
                                    </p:set>
                                    <p:animEffect transition="in" filter="fade">
                                      <p:cBhvr>
                                        <p:cTn id="46" dur="250"/>
                                        <p:tgtEl>
                                          <p:spTgt spid="14"/>
                                        </p:tgtEl>
                                      </p:cBhvr>
                                    </p:animEffect>
                                  </p:childTnLst>
                                </p:cTn>
                              </p:par>
                              <p:par>
                                <p:cTn id="47" presetID="10" presetClass="exit" presetSubtype="0" fill="hold" nodeType="withEffect">
                                  <p:stCondLst>
                                    <p:cond delay="3500"/>
                                  </p:stCondLst>
                                  <p:childTnLst>
                                    <p:animEffect transition="out" filter="fade">
                                      <p:cBhvr>
                                        <p:cTn id="48" dur="250"/>
                                        <p:tgtEl>
                                          <p:spTgt spid="13"/>
                                        </p:tgtEl>
                                      </p:cBhvr>
                                    </p:animEffect>
                                    <p:set>
                                      <p:cBhvr>
                                        <p:cTn id="49" dur="1" fill="hold">
                                          <p:stCondLst>
                                            <p:cond delay="249"/>
                                          </p:stCondLst>
                                        </p:cTn>
                                        <p:tgtEl>
                                          <p:spTgt spid="13"/>
                                        </p:tgtEl>
                                        <p:attrNameLst>
                                          <p:attrName>style.visibility</p:attrName>
                                        </p:attrNameLst>
                                      </p:cBhvr>
                                      <p:to>
                                        <p:strVal val="hidden"/>
                                      </p:to>
                                    </p:set>
                                  </p:childTnLst>
                                </p:cTn>
                              </p:par>
                              <p:par>
                                <p:cTn id="50" presetID="10" presetClass="entr" presetSubtype="0" fill="hold" nodeType="withEffect">
                                  <p:stCondLst>
                                    <p:cond delay="4500"/>
                                  </p:stCondLst>
                                  <p:childTnLst>
                                    <p:set>
                                      <p:cBhvr>
                                        <p:cTn id="51" dur="1" fill="hold">
                                          <p:stCondLst>
                                            <p:cond delay="0"/>
                                          </p:stCondLst>
                                        </p:cTn>
                                        <p:tgtEl>
                                          <p:spTgt spid="15"/>
                                        </p:tgtEl>
                                        <p:attrNameLst>
                                          <p:attrName>style.visibility</p:attrName>
                                        </p:attrNameLst>
                                      </p:cBhvr>
                                      <p:to>
                                        <p:strVal val="visible"/>
                                      </p:to>
                                    </p:set>
                                    <p:animEffect transition="in" filter="fade">
                                      <p:cBhvr>
                                        <p:cTn id="52" dur="250"/>
                                        <p:tgtEl>
                                          <p:spTgt spid="15"/>
                                        </p:tgtEl>
                                      </p:cBhvr>
                                    </p:animEffect>
                                  </p:childTnLst>
                                </p:cTn>
                              </p:par>
                              <p:par>
                                <p:cTn id="53" presetID="10" presetClass="exit" presetSubtype="0" fill="hold" nodeType="withEffect">
                                  <p:stCondLst>
                                    <p:cond delay="4500"/>
                                  </p:stCondLst>
                                  <p:childTnLst>
                                    <p:animEffect transition="out" filter="fade">
                                      <p:cBhvr>
                                        <p:cTn id="54" dur="250"/>
                                        <p:tgtEl>
                                          <p:spTgt spid="14"/>
                                        </p:tgtEl>
                                      </p:cBhvr>
                                    </p:animEffect>
                                    <p:set>
                                      <p:cBhvr>
                                        <p:cTn id="55" dur="1" fill="hold">
                                          <p:stCondLst>
                                            <p:cond delay="249"/>
                                          </p:stCondLst>
                                        </p:cTn>
                                        <p:tgtEl>
                                          <p:spTgt spid="14"/>
                                        </p:tgtEl>
                                        <p:attrNameLst>
                                          <p:attrName>style.visibility</p:attrName>
                                        </p:attrNameLst>
                                      </p:cBhvr>
                                      <p:to>
                                        <p:strVal val="hidden"/>
                                      </p:to>
                                    </p:set>
                                  </p:childTnLst>
                                </p:cTn>
                              </p:par>
                              <p:par>
                                <p:cTn id="56" presetID="10" presetClass="entr" presetSubtype="0" fill="hold" grpId="0" nodeType="withEffect">
                                  <p:stCondLst>
                                    <p:cond delay="5250"/>
                                  </p:stCondLst>
                                  <p:childTnLst>
                                    <p:set>
                                      <p:cBhvr>
                                        <p:cTn id="57" dur="1" fill="hold">
                                          <p:stCondLst>
                                            <p:cond delay="0"/>
                                          </p:stCondLst>
                                        </p:cTn>
                                        <p:tgtEl>
                                          <p:spTgt spid="351"/>
                                        </p:tgtEl>
                                        <p:attrNameLst>
                                          <p:attrName>style.visibility</p:attrName>
                                        </p:attrNameLst>
                                      </p:cBhvr>
                                      <p:to>
                                        <p:strVal val="visible"/>
                                      </p:to>
                                    </p:set>
                                    <p:animEffect transition="in" filter="fade">
                                      <p:cBhvr>
                                        <p:cTn id="58" dur="250"/>
                                        <p:tgtEl>
                                          <p:spTgt spid="351"/>
                                        </p:tgtEl>
                                      </p:cBhvr>
                                    </p:animEffect>
                                  </p:childTnLst>
                                </p:cTn>
                              </p:par>
                              <p:par>
                                <p:cTn id="59" presetID="10" presetClass="exit" presetSubtype="0" fill="hold" nodeType="withEffect">
                                  <p:stCondLst>
                                    <p:cond delay="5250"/>
                                  </p:stCondLst>
                                  <p:childTnLst>
                                    <p:animEffect transition="out" filter="fade">
                                      <p:cBhvr>
                                        <p:cTn id="60" dur="250"/>
                                        <p:tgtEl>
                                          <p:spTgt spid="15"/>
                                        </p:tgtEl>
                                      </p:cBhvr>
                                    </p:animEffect>
                                    <p:set>
                                      <p:cBhvr>
                                        <p:cTn id="61" dur="1" fill="hold">
                                          <p:stCondLst>
                                            <p:cond delay="249"/>
                                          </p:stCondLst>
                                        </p:cTn>
                                        <p:tgtEl>
                                          <p:spTgt spid="15"/>
                                        </p:tgtEl>
                                        <p:attrNameLst>
                                          <p:attrName>style.visibility</p:attrName>
                                        </p:attrNameLst>
                                      </p:cBhvr>
                                      <p:to>
                                        <p:strVal val="hidden"/>
                                      </p:to>
                                    </p:set>
                                  </p:childTnLst>
                                </p:cTn>
                              </p:par>
                              <p:par>
                                <p:cTn id="62" presetID="10" presetClass="exit" presetSubtype="0" fill="hold" grpId="1" nodeType="withEffect">
                                  <p:stCondLst>
                                    <p:cond delay="6000"/>
                                  </p:stCondLst>
                                  <p:childTnLst>
                                    <p:animEffect transition="out" filter="fade">
                                      <p:cBhvr>
                                        <p:cTn id="63" dur="250"/>
                                        <p:tgtEl>
                                          <p:spTgt spid="351"/>
                                        </p:tgtEl>
                                      </p:cBhvr>
                                    </p:animEffect>
                                    <p:set>
                                      <p:cBhvr>
                                        <p:cTn id="64" dur="1" fill="hold">
                                          <p:stCondLst>
                                            <p:cond delay="249"/>
                                          </p:stCondLst>
                                        </p:cTn>
                                        <p:tgtEl>
                                          <p:spTgt spid="351"/>
                                        </p:tgtEl>
                                        <p:attrNameLst>
                                          <p:attrName>style.visibility</p:attrName>
                                        </p:attrNameLst>
                                      </p:cBhvr>
                                      <p:to>
                                        <p:strVal val="hidden"/>
                                      </p:to>
                                    </p:set>
                                  </p:childTnLst>
                                </p:cTn>
                              </p:par>
                            </p:childTnLst>
                          </p:cTn>
                        </p:par>
                      </p:childTnLst>
                    </p:cTn>
                  </p:par>
                  <p:par>
                    <p:cTn id="65" fill="hold">
                      <p:stCondLst>
                        <p:cond delay="indefinite"/>
                      </p:stCondLst>
                      <p:childTnLst>
                        <p:par>
                          <p:cTn id="66" fill="hold">
                            <p:stCondLst>
                              <p:cond delay="0"/>
                            </p:stCondLst>
                            <p:childTnLst>
                              <p:par>
                                <p:cTn id="67" presetID="22" presetClass="entr" presetSubtype="8" fill="hold" grpId="0" nodeType="clickEffect">
                                  <p:stCondLst>
                                    <p:cond delay="0"/>
                                  </p:stCondLst>
                                  <p:childTnLst>
                                    <p:set>
                                      <p:cBhvr>
                                        <p:cTn id="68" dur="1" fill="hold">
                                          <p:stCondLst>
                                            <p:cond delay="0"/>
                                          </p:stCondLst>
                                        </p:cTn>
                                        <p:tgtEl>
                                          <p:spTgt spid="276"/>
                                        </p:tgtEl>
                                        <p:attrNameLst>
                                          <p:attrName>style.visibility</p:attrName>
                                        </p:attrNameLst>
                                      </p:cBhvr>
                                      <p:to>
                                        <p:strVal val="visible"/>
                                      </p:to>
                                    </p:set>
                                    <p:animEffect transition="in" filter="wipe(left)">
                                      <p:cBhvr>
                                        <p:cTn id="69" dur="500"/>
                                        <p:tgtEl>
                                          <p:spTgt spid="276"/>
                                        </p:tgtEl>
                                      </p:cBhvr>
                                    </p:animEffect>
                                  </p:childTnLst>
                                </p:cTn>
                              </p:par>
                              <p:par>
                                <p:cTn id="70" presetID="10" presetClass="entr" presetSubtype="0" fill="hold" grpId="0" nodeType="withEffect">
                                  <p:stCondLst>
                                    <p:cond delay="0"/>
                                  </p:stCondLst>
                                  <p:childTnLst>
                                    <p:set>
                                      <p:cBhvr>
                                        <p:cTn id="71" dur="1" fill="hold">
                                          <p:stCondLst>
                                            <p:cond delay="0"/>
                                          </p:stCondLst>
                                        </p:cTn>
                                        <p:tgtEl>
                                          <p:spTgt spid="231"/>
                                        </p:tgtEl>
                                        <p:attrNameLst>
                                          <p:attrName>style.visibility</p:attrName>
                                        </p:attrNameLst>
                                      </p:cBhvr>
                                      <p:to>
                                        <p:strVal val="visible"/>
                                      </p:to>
                                    </p:set>
                                    <p:animEffect transition="in" filter="fade">
                                      <p:cBhvr>
                                        <p:cTn id="72" dur="500"/>
                                        <p:tgtEl>
                                          <p:spTgt spid="231"/>
                                        </p:tgtEl>
                                      </p:cBhvr>
                                    </p:animEffect>
                                  </p:childTnLst>
                                </p:cTn>
                              </p:par>
                              <p:par>
                                <p:cTn id="73" presetID="22" presetClass="entr" presetSubtype="8" fill="hold" nodeType="withEffect">
                                  <p:stCondLst>
                                    <p:cond delay="0"/>
                                  </p:stCondLst>
                                  <p:childTnLst>
                                    <p:set>
                                      <p:cBhvr>
                                        <p:cTn id="74" dur="1" fill="hold">
                                          <p:stCondLst>
                                            <p:cond delay="0"/>
                                          </p:stCondLst>
                                        </p:cTn>
                                        <p:tgtEl>
                                          <p:spTgt spid="148"/>
                                        </p:tgtEl>
                                        <p:attrNameLst>
                                          <p:attrName>style.visibility</p:attrName>
                                        </p:attrNameLst>
                                      </p:cBhvr>
                                      <p:to>
                                        <p:strVal val="visible"/>
                                      </p:to>
                                    </p:set>
                                    <p:animEffect transition="in" filter="wipe(left)">
                                      <p:cBhvr>
                                        <p:cTn id="75" dur="500"/>
                                        <p:tgtEl>
                                          <p:spTgt spid="148"/>
                                        </p:tgtEl>
                                      </p:cBhvr>
                                    </p:animEffect>
                                  </p:childTnLst>
                                </p:cTn>
                              </p:par>
                            </p:childTnLst>
                          </p:cTn>
                        </p:par>
                        <p:par>
                          <p:cTn id="76" fill="hold">
                            <p:stCondLst>
                              <p:cond delay="500"/>
                            </p:stCondLst>
                            <p:childTnLst>
                              <p:par>
                                <p:cTn id="77" presetID="10" presetClass="entr" presetSubtype="0" fill="hold" nodeType="afterEffect">
                                  <p:stCondLst>
                                    <p:cond delay="0"/>
                                  </p:stCondLst>
                                  <p:childTnLst>
                                    <p:set>
                                      <p:cBhvr>
                                        <p:cTn id="78" dur="1" fill="hold">
                                          <p:stCondLst>
                                            <p:cond delay="0"/>
                                          </p:stCondLst>
                                        </p:cTn>
                                        <p:tgtEl>
                                          <p:spTgt spid="45"/>
                                        </p:tgtEl>
                                        <p:attrNameLst>
                                          <p:attrName>style.visibility</p:attrName>
                                        </p:attrNameLst>
                                      </p:cBhvr>
                                      <p:to>
                                        <p:strVal val="visible"/>
                                      </p:to>
                                    </p:set>
                                    <p:animEffect transition="in" filter="fade">
                                      <p:cBhvr>
                                        <p:cTn id="79" dur="500"/>
                                        <p:tgtEl>
                                          <p:spTgt spid="45"/>
                                        </p:tgtEl>
                                      </p:cBhvr>
                                    </p:animEffect>
                                  </p:childTnLst>
                                </p:cTn>
                              </p:par>
                            </p:childTnLst>
                          </p:cTn>
                        </p:par>
                        <p:par>
                          <p:cTn id="80" fill="hold">
                            <p:stCondLst>
                              <p:cond delay="1000"/>
                            </p:stCondLst>
                            <p:childTnLst>
                              <p:par>
                                <p:cTn id="81" presetID="10" presetClass="entr" presetSubtype="0" fill="hold" grpId="0" nodeType="afterEffect">
                                  <p:stCondLst>
                                    <p:cond delay="0"/>
                                  </p:stCondLst>
                                  <p:childTnLst>
                                    <p:set>
                                      <p:cBhvr>
                                        <p:cTn id="82" dur="1" fill="hold">
                                          <p:stCondLst>
                                            <p:cond delay="0"/>
                                          </p:stCondLst>
                                        </p:cTn>
                                        <p:tgtEl>
                                          <p:spTgt spid="242"/>
                                        </p:tgtEl>
                                        <p:attrNameLst>
                                          <p:attrName>style.visibility</p:attrName>
                                        </p:attrNameLst>
                                      </p:cBhvr>
                                      <p:to>
                                        <p:strVal val="visible"/>
                                      </p:to>
                                    </p:set>
                                    <p:animEffect transition="in" filter="fade">
                                      <p:cBhvr>
                                        <p:cTn id="83" dur="500"/>
                                        <p:tgtEl>
                                          <p:spTgt spid="242"/>
                                        </p:tgtEl>
                                      </p:cBhvr>
                                    </p:animEffect>
                                  </p:childTnLst>
                                </p:cTn>
                              </p:par>
                              <p:par>
                                <p:cTn id="84" presetID="10" presetClass="entr" presetSubtype="0" fill="hold" nodeType="withEffect">
                                  <p:stCondLst>
                                    <p:cond delay="0"/>
                                  </p:stCondLst>
                                  <p:childTnLst>
                                    <p:set>
                                      <p:cBhvr>
                                        <p:cTn id="85" dur="1" fill="hold">
                                          <p:stCondLst>
                                            <p:cond delay="0"/>
                                          </p:stCondLst>
                                        </p:cTn>
                                        <p:tgtEl>
                                          <p:spTgt spid="145"/>
                                        </p:tgtEl>
                                        <p:attrNameLst>
                                          <p:attrName>style.visibility</p:attrName>
                                        </p:attrNameLst>
                                      </p:cBhvr>
                                      <p:to>
                                        <p:strVal val="visible"/>
                                      </p:to>
                                    </p:set>
                                    <p:animEffect transition="in" filter="fade">
                                      <p:cBhvr>
                                        <p:cTn id="86" dur="500"/>
                                        <p:tgtEl>
                                          <p:spTgt spid="145"/>
                                        </p:tgtEl>
                                      </p:cBhvr>
                                    </p:animEffect>
                                  </p:childTnLst>
                                </p:cTn>
                              </p:par>
                              <p:par>
                                <p:cTn id="87" presetID="10" presetClass="entr" presetSubtype="0" fill="hold" nodeType="withEffect">
                                  <p:stCondLst>
                                    <p:cond delay="0"/>
                                  </p:stCondLst>
                                  <p:childTnLst>
                                    <p:set>
                                      <p:cBhvr>
                                        <p:cTn id="88" dur="1" fill="hold">
                                          <p:stCondLst>
                                            <p:cond delay="0"/>
                                          </p:stCondLst>
                                        </p:cTn>
                                        <p:tgtEl>
                                          <p:spTgt spid="539"/>
                                        </p:tgtEl>
                                        <p:attrNameLst>
                                          <p:attrName>style.visibility</p:attrName>
                                        </p:attrNameLst>
                                      </p:cBhvr>
                                      <p:to>
                                        <p:strVal val="visible"/>
                                      </p:to>
                                    </p:set>
                                    <p:animEffect transition="in" filter="fade">
                                      <p:cBhvr>
                                        <p:cTn id="89" dur="500"/>
                                        <p:tgtEl>
                                          <p:spTgt spid="539"/>
                                        </p:tgtEl>
                                      </p:cBhvr>
                                    </p:animEffect>
                                  </p:childTnLst>
                                </p:cTn>
                              </p:par>
                              <p:par>
                                <p:cTn id="90" presetID="10" presetClass="entr" presetSubtype="0" fill="hold" nodeType="withEffect">
                                  <p:stCondLst>
                                    <p:cond delay="0"/>
                                  </p:stCondLst>
                                  <p:childTnLst>
                                    <p:set>
                                      <p:cBhvr>
                                        <p:cTn id="91" dur="1" fill="hold">
                                          <p:stCondLst>
                                            <p:cond delay="0"/>
                                          </p:stCondLst>
                                        </p:cTn>
                                        <p:tgtEl>
                                          <p:spTgt spid="143"/>
                                        </p:tgtEl>
                                        <p:attrNameLst>
                                          <p:attrName>style.visibility</p:attrName>
                                        </p:attrNameLst>
                                      </p:cBhvr>
                                      <p:to>
                                        <p:strVal val="visible"/>
                                      </p:to>
                                    </p:set>
                                    <p:animEffect transition="in" filter="fade">
                                      <p:cBhvr>
                                        <p:cTn id="92" dur="500"/>
                                        <p:tgtEl>
                                          <p:spTgt spid="143"/>
                                        </p:tgtEl>
                                      </p:cBhvr>
                                    </p:animEffect>
                                  </p:childTnLst>
                                </p:cTn>
                              </p:par>
                              <p:par>
                                <p:cTn id="93" presetID="10" presetClass="entr" presetSubtype="0" fill="hold" nodeType="withEffect">
                                  <p:stCondLst>
                                    <p:cond delay="0"/>
                                  </p:stCondLst>
                                  <p:childTnLst>
                                    <p:set>
                                      <p:cBhvr>
                                        <p:cTn id="94" dur="1" fill="hold">
                                          <p:stCondLst>
                                            <p:cond delay="0"/>
                                          </p:stCondLst>
                                        </p:cTn>
                                        <p:tgtEl>
                                          <p:spTgt spid="528"/>
                                        </p:tgtEl>
                                        <p:attrNameLst>
                                          <p:attrName>style.visibility</p:attrName>
                                        </p:attrNameLst>
                                      </p:cBhvr>
                                      <p:to>
                                        <p:strVal val="visible"/>
                                      </p:to>
                                    </p:set>
                                    <p:animEffect transition="in" filter="fade">
                                      <p:cBhvr>
                                        <p:cTn id="95" dur="500"/>
                                        <p:tgtEl>
                                          <p:spTgt spid="528"/>
                                        </p:tgtEl>
                                      </p:cBhvr>
                                    </p:animEffect>
                                  </p:childTnLst>
                                </p:cTn>
                              </p:par>
                              <p:par>
                                <p:cTn id="96" presetID="10" presetClass="entr" presetSubtype="0" fill="hold" grpId="0" nodeType="withEffect">
                                  <p:stCondLst>
                                    <p:cond delay="0"/>
                                  </p:stCondLst>
                                  <p:childTnLst>
                                    <p:set>
                                      <p:cBhvr>
                                        <p:cTn id="97" dur="1" fill="hold">
                                          <p:stCondLst>
                                            <p:cond delay="0"/>
                                          </p:stCondLst>
                                        </p:cTn>
                                        <p:tgtEl>
                                          <p:spTgt spid="340"/>
                                        </p:tgtEl>
                                        <p:attrNameLst>
                                          <p:attrName>style.visibility</p:attrName>
                                        </p:attrNameLst>
                                      </p:cBhvr>
                                      <p:to>
                                        <p:strVal val="visible"/>
                                      </p:to>
                                    </p:set>
                                    <p:animEffect transition="in" filter="fade">
                                      <p:cBhvr>
                                        <p:cTn id="98" dur="500"/>
                                        <p:tgtEl>
                                          <p:spTgt spid="340"/>
                                        </p:tgtEl>
                                      </p:cBhvr>
                                    </p:animEffect>
                                  </p:childTnLst>
                                </p:cTn>
                              </p:par>
                              <p:par>
                                <p:cTn id="99" presetID="10" presetClass="entr" presetSubtype="0" fill="hold" grpId="0" nodeType="withEffect">
                                  <p:stCondLst>
                                    <p:cond delay="0"/>
                                  </p:stCondLst>
                                  <p:childTnLst>
                                    <p:set>
                                      <p:cBhvr>
                                        <p:cTn id="100" dur="1" fill="hold">
                                          <p:stCondLst>
                                            <p:cond delay="0"/>
                                          </p:stCondLst>
                                        </p:cTn>
                                        <p:tgtEl>
                                          <p:spTgt spid="341"/>
                                        </p:tgtEl>
                                        <p:attrNameLst>
                                          <p:attrName>style.visibility</p:attrName>
                                        </p:attrNameLst>
                                      </p:cBhvr>
                                      <p:to>
                                        <p:strVal val="visible"/>
                                      </p:to>
                                    </p:set>
                                    <p:animEffect transition="in" filter="fade">
                                      <p:cBhvr>
                                        <p:cTn id="101" dur="500"/>
                                        <p:tgtEl>
                                          <p:spTgt spid="341"/>
                                        </p:tgtEl>
                                      </p:cBhvr>
                                    </p:animEffect>
                                  </p:childTnLst>
                                </p:cTn>
                              </p:par>
                              <p:par>
                                <p:cTn id="102" presetID="10" presetClass="entr" presetSubtype="0" fill="hold" grpId="0" nodeType="withEffect">
                                  <p:stCondLst>
                                    <p:cond delay="0"/>
                                  </p:stCondLst>
                                  <p:childTnLst>
                                    <p:set>
                                      <p:cBhvr>
                                        <p:cTn id="103" dur="1" fill="hold">
                                          <p:stCondLst>
                                            <p:cond delay="0"/>
                                          </p:stCondLst>
                                        </p:cTn>
                                        <p:tgtEl>
                                          <p:spTgt spid="338"/>
                                        </p:tgtEl>
                                        <p:attrNameLst>
                                          <p:attrName>style.visibility</p:attrName>
                                        </p:attrNameLst>
                                      </p:cBhvr>
                                      <p:to>
                                        <p:strVal val="visible"/>
                                      </p:to>
                                    </p:set>
                                    <p:animEffect transition="in" filter="fade">
                                      <p:cBhvr>
                                        <p:cTn id="104" dur="500"/>
                                        <p:tgtEl>
                                          <p:spTgt spid="338"/>
                                        </p:tgtEl>
                                      </p:cBhvr>
                                    </p:animEffect>
                                  </p:childTnLst>
                                </p:cTn>
                              </p:par>
                              <p:par>
                                <p:cTn id="105" presetID="10" presetClass="entr" presetSubtype="0" fill="hold" grpId="0" nodeType="withEffect">
                                  <p:stCondLst>
                                    <p:cond delay="0"/>
                                  </p:stCondLst>
                                  <p:childTnLst>
                                    <p:set>
                                      <p:cBhvr>
                                        <p:cTn id="106" dur="1" fill="hold">
                                          <p:stCondLst>
                                            <p:cond delay="0"/>
                                          </p:stCondLst>
                                        </p:cTn>
                                        <p:tgtEl>
                                          <p:spTgt spid="339"/>
                                        </p:tgtEl>
                                        <p:attrNameLst>
                                          <p:attrName>style.visibility</p:attrName>
                                        </p:attrNameLst>
                                      </p:cBhvr>
                                      <p:to>
                                        <p:strVal val="visible"/>
                                      </p:to>
                                    </p:set>
                                    <p:animEffect transition="in" filter="fade">
                                      <p:cBhvr>
                                        <p:cTn id="107" dur="500"/>
                                        <p:tgtEl>
                                          <p:spTgt spid="339"/>
                                        </p:tgtEl>
                                      </p:cBhvr>
                                    </p:animEffect>
                                  </p:childTnLst>
                                </p:cTn>
                              </p:par>
                            </p:childTnLst>
                          </p:cTn>
                        </p:par>
                        <p:par>
                          <p:cTn id="108" fill="hold">
                            <p:stCondLst>
                              <p:cond delay="1500"/>
                            </p:stCondLst>
                            <p:childTnLst>
                              <p:par>
                                <p:cTn id="109" presetID="10" presetClass="exit" presetSubtype="0" fill="hold" grpId="1" nodeType="afterEffect">
                                  <p:stCondLst>
                                    <p:cond delay="1000"/>
                                  </p:stCondLst>
                                  <p:childTnLst>
                                    <p:animEffect transition="out" filter="fade">
                                      <p:cBhvr>
                                        <p:cTn id="110" dur="500"/>
                                        <p:tgtEl>
                                          <p:spTgt spid="340"/>
                                        </p:tgtEl>
                                      </p:cBhvr>
                                    </p:animEffect>
                                    <p:set>
                                      <p:cBhvr>
                                        <p:cTn id="111" dur="1" fill="hold">
                                          <p:stCondLst>
                                            <p:cond delay="499"/>
                                          </p:stCondLst>
                                        </p:cTn>
                                        <p:tgtEl>
                                          <p:spTgt spid="340"/>
                                        </p:tgtEl>
                                        <p:attrNameLst>
                                          <p:attrName>style.visibility</p:attrName>
                                        </p:attrNameLst>
                                      </p:cBhvr>
                                      <p:to>
                                        <p:strVal val="hidden"/>
                                      </p:to>
                                    </p:set>
                                  </p:childTnLst>
                                </p:cTn>
                              </p:par>
                              <p:par>
                                <p:cTn id="112" presetID="10" presetClass="exit" presetSubtype="0" fill="hold" grpId="1" nodeType="withEffect">
                                  <p:stCondLst>
                                    <p:cond delay="1000"/>
                                  </p:stCondLst>
                                  <p:childTnLst>
                                    <p:animEffect transition="out" filter="fade">
                                      <p:cBhvr>
                                        <p:cTn id="113" dur="500"/>
                                        <p:tgtEl>
                                          <p:spTgt spid="341"/>
                                        </p:tgtEl>
                                      </p:cBhvr>
                                    </p:animEffect>
                                    <p:set>
                                      <p:cBhvr>
                                        <p:cTn id="114" dur="1" fill="hold">
                                          <p:stCondLst>
                                            <p:cond delay="499"/>
                                          </p:stCondLst>
                                        </p:cTn>
                                        <p:tgtEl>
                                          <p:spTgt spid="341"/>
                                        </p:tgtEl>
                                        <p:attrNameLst>
                                          <p:attrName>style.visibility</p:attrName>
                                        </p:attrNameLst>
                                      </p:cBhvr>
                                      <p:to>
                                        <p:strVal val="hidden"/>
                                      </p:to>
                                    </p:set>
                                  </p:childTnLst>
                                </p:cTn>
                              </p:par>
                              <p:par>
                                <p:cTn id="115" presetID="10" presetClass="exit" presetSubtype="0" fill="hold" grpId="1" nodeType="withEffect">
                                  <p:stCondLst>
                                    <p:cond delay="1000"/>
                                  </p:stCondLst>
                                  <p:childTnLst>
                                    <p:animEffect transition="out" filter="fade">
                                      <p:cBhvr>
                                        <p:cTn id="116" dur="500"/>
                                        <p:tgtEl>
                                          <p:spTgt spid="338"/>
                                        </p:tgtEl>
                                      </p:cBhvr>
                                    </p:animEffect>
                                    <p:set>
                                      <p:cBhvr>
                                        <p:cTn id="117" dur="1" fill="hold">
                                          <p:stCondLst>
                                            <p:cond delay="499"/>
                                          </p:stCondLst>
                                        </p:cTn>
                                        <p:tgtEl>
                                          <p:spTgt spid="338"/>
                                        </p:tgtEl>
                                        <p:attrNameLst>
                                          <p:attrName>style.visibility</p:attrName>
                                        </p:attrNameLst>
                                      </p:cBhvr>
                                      <p:to>
                                        <p:strVal val="hidden"/>
                                      </p:to>
                                    </p:set>
                                  </p:childTnLst>
                                </p:cTn>
                              </p:par>
                              <p:par>
                                <p:cTn id="118" presetID="10" presetClass="exit" presetSubtype="0" fill="hold" grpId="1" nodeType="withEffect">
                                  <p:stCondLst>
                                    <p:cond delay="1000"/>
                                  </p:stCondLst>
                                  <p:childTnLst>
                                    <p:animEffect transition="out" filter="fade">
                                      <p:cBhvr>
                                        <p:cTn id="119" dur="500"/>
                                        <p:tgtEl>
                                          <p:spTgt spid="339"/>
                                        </p:tgtEl>
                                      </p:cBhvr>
                                    </p:animEffect>
                                    <p:set>
                                      <p:cBhvr>
                                        <p:cTn id="120" dur="1" fill="hold">
                                          <p:stCondLst>
                                            <p:cond delay="499"/>
                                          </p:stCondLst>
                                        </p:cTn>
                                        <p:tgtEl>
                                          <p:spTgt spid="339"/>
                                        </p:tgtEl>
                                        <p:attrNameLst>
                                          <p:attrName>style.visibility</p:attrName>
                                        </p:attrNameLst>
                                      </p:cBhvr>
                                      <p:to>
                                        <p:strVal val="hidden"/>
                                      </p:to>
                                    </p:set>
                                  </p:childTnLst>
                                </p:cTn>
                              </p:par>
                              <p:par>
                                <p:cTn id="121" presetID="42" presetClass="path" presetSubtype="0" accel="50000" decel="50000" fill="hold" nodeType="withEffect">
                                  <p:stCondLst>
                                    <p:cond delay="1000"/>
                                  </p:stCondLst>
                                  <p:childTnLst>
                                    <p:animMotion origin="layout" path="M -1.04167E-6 -7.40741E-7 L 0.05534 0.06991 " pathEditMode="relative" rAng="0" ptsTypes="AA">
                                      <p:cBhvr>
                                        <p:cTn id="122" dur="1000" fill="hold"/>
                                        <p:tgtEl>
                                          <p:spTgt spid="145"/>
                                        </p:tgtEl>
                                        <p:attrNameLst>
                                          <p:attrName>ppt_x</p:attrName>
                                          <p:attrName>ppt_y</p:attrName>
                                        </p:attrNameLst>
                                      </p:cBhvr>
                                      <p:rCtr x="2760" y="3495"/>
                                    </p:animMotion>
                                  </p:childTnLst>
                                </p:cTn>
                              </p:par>
                              <p:par>
                                <p:cTn id="123" presetID="42" presetClass="path" presetSubtype="0" accel="50000" decel="50000" fill="hold" nodeType="withEffect">
                                  <p:stCondLst>
                                    <p:cond delay="1000"/>
                                  </p:stCondLst>
                                  <p:childTnLst>
                                    <p:animMotion origin="layout" path="M 3.125E-6 -7.40741E-7 L -0.05274 0.07384 " pathEditMode="relative" rAng="0" ptsTypes="AA">
                                      <p:cBhvr>
                                        <p:cTn id="124" dur="1000" fill="hold"/>
                                        <p:tgtEl>
                                          <p:spTgt spid="539"/>
                                        </p:tgtEl>
                                        <p:attrNameLst>
                                          <p:attrName>ppt_x</p:attrName>
                                          <p:attrName>ppt_y</p:attrName>
                                        </p:attrNameLst>
                                      </p:cBhvr>
                                      <p:rCtr x="-2643" y="3681"/>
                                    </p:animMotion>
                                  </p:childTnLst>
                                </p:cTn>
                              </p:par>
                              <p:par>
                                <p:cTn id="125" presetID="42" presetClass="path" presetSubtype="0" accel="50000" decel="50000" fill="hold" nodeType="withEffect">
                                  <p:stCondLst>
                                    <p:cond delay="1000"/>
                                  </p:stCondLst>
                                  <p:childTnLst>
                                    <p:animMotion origin="layout" path="M 3.125E-6 2.96296E-6 L -0.05339 -0.06435 " pathEditMode="relative" rAng="0" ptsTypes="AA">
                                      <p:cBhvr>
                                        <p:cTn id="126" dur="1000" fill="hold"/>
                                        <p:tgtEl>
                                          <p:spTgt spid="143"/>
                                        </p:tgtEl>
                                        <p:attrNameLst>
                                          <p:attrName>ppt_x</p:attrName>
                                          <p:attrName>ppt_y</p:attrName>
                                        </p:attrNameLst>
                                      </p:cBhvr>
                                      <p:rCtr x="-2669" y="-3218"/>
                                    </p:animMotion>
                                  </p:childTnLst>
                                </p:cTn>
                              </p:par>
                              <p:par>
                                <p:cTn id="127" presetID="42" presetClass="path" presetSubtype="0" accel="50000" decel="50000" fill="hold" nodeType="withEffect">
                                  <p:stCondLst>
                                    <p:cond delay="1000"/>
                                  </p:stCondLst>
                                  <p:childTnLst>
                                    <p:animMotion origin="layout" path="M -1.04167E-6 2.96296E-6 L 0.05339 -0.06435 " pathEditMode="relative" rAng="0" ptsTypes="AA">
                                      <p:cBhvr>
                                        <p:cTn id="128" dur="1000" fill="hold"/>
                                        <p:tgtEl>
                                          <p:spTgt spid="528"/>
                                        </p:tgtEl>
                                        <p:attrNameLst>
                                          <p:attrName>ppt_x</p:attrName>
                                          <p:attrName>ppt_y</p:attrName>
                                        </p:attrNameLst>
                                      </p:cBhvr>
                                      <p:rCtr x="2669" y="-3218"/>
                                    </p:animMotion>
                                  </p:childTnLst>
                                </p:cTn>
                              </p:par>
                            </p:childTnLst>
                          </p:cTn>
                        </p:par>
                        <p:par>
                          <p:cTn id="129" fill="hold">
                            <p:stCondLst>
                              <p:cond delay="3500"/>
                            </p:stCondLst>
                            <p:childTnLst>
                              <p:par>
                                <p:cTn id="130" presetID="1" presetClass="path" presetSubtype="0" decel="100000" fill="hold" nodeType="afterEffect">
                                  <p:stCondLst>
                                    <p:cond delay="0"/>
                                  </p:stCondLst>
                                  <p:childTnLst>
                                    <p:animMotion origin="layout" path="M 0.05534 0.06991 C 0.07487 0.03797 0.10651 0.03936 0.12578 0.07547 C 0.14453 0.11158 0.14401 0.16875 0.12435 0.20139 C 0.10443 0.23496 0.07253 0.23125 0.05378 0.19491 C 0.03464 0.15857 0.03516 0.10324 0.05534 0.06991 Z " pathEditMode="relative" rAng="19020000" ptsTypes="AAAAA">
                                      <p:cBhvr>
                                        <p:cTn id="131" dur="3250" fill="hold"/>
                                        <p:tgtEl>
                                          <p:spTgt spid="145"/>
                                        </p:tgtEl>
                                        <p:attrNameLst>
                                          <p:attrName>ppt_x</p:attrName>
                                          <p:attrName>ppt_y</p:attrName>
                                        </p:attrNameLst>
                                      </p:cBhvr>
                                      <p:rCtr x="3451" y="6551"/>
                                    </p:animMotion>
                                  </p:childTnLst>
                                </p:cTn>
                              </p:par>
                              <p:par>
                                <p:cTn id="132" presetID="1" presetClass="path" presetSubtype="0" decel="100000" fill="hold" nodeType="withEffect">
                                  <p:stCondLst>
                                    <p:cond delay="0"/>
                                  </p:stCondLst>
                                  <p:childTnLst>
                                    <p:animMotion origin="layout" path="M -0.05274 0.07384 C -0.03464 0.10879 -0.03542 0.16458 -0.05586 0.19884 C -0.07643 0.23287 -0.10821 0.23148 -0.12656 0.19629 C -0.14557 0.16134 -0.14349 0.1044 -0.12279 0.07106 C -0.10274 0.0368 -0.07162 0.03773 -0.05274 0.07384 Z " pathEditMode="relative" rAng="2820000" ptsTypes="AAAAA">
                                      <p:cBhvr>
                                        <p:cTn id="133" dur="3250" fill="hold"/>
                                        <p:tgtEl>
                                          <p:spTgt spid="539"/>
                                        </p:tgtEl>
                                        <p:attrNameLst>
                                          <p:attrName>ppt_x</p:attrName>
                                          <p:attrName>ppt_y</p:attrName>
                                        </p:attrNameLst>
                                      </p:cBhvr>
                                      <p:rCtr x="-3685" y="6111"/>
                                    </p:animMotion>
                                  </p:childTnLst>
                                </p:cTn>
                              </p:par>
                              <p:par>
                                <p:cTn id="134" presetID="1" presetClass="path" presetSubtype="0" decel="100000" fill="hold" nodeType="withEffect">
                                  <p:stCondLst>
                                    <p:cond delay="0"/>
                                  </p:stCondLst>
                                  <p:childTnLst>
                                    <p:animMotion origin="layout" path="M -0.05339 -0.06435 C -0.0711 -0.02917 -0.10209 -0.02431 -0.12344 -0.05695 C -0.14466 -0.08959 -0.14714 -0.14607 -0.12982 -0.18218 C -0.11185 -0.21922 -0.07982 -0.22176 -0.05912 -0.18866 C -0.03802 -0.15672 -0.03542 -0.10185 -0.05339 -0.06435 Z " pathEditMode="relative" rAng="7860000" ptsTypes="AAAAA">
                                      <p:cBhvr>
                                        <p:cTn id="135" dur="3250" fill="hold"/>
                                        <p:tgtEl>
                                          <p:spTgt spid="143"/>
                                        </p:tgtEl>
                                        <p:attrNameLst>
                                          <p:attrName>ppt_x</p:attrName>
                                          <p:attrName>ppt_y</p:attrName>
                                        </p:attrNameLst>
                                      </p:cBhvr>
                                      <p:rCtr x="-3802" y="-5903"/>
                                    </p:animMotion>
                                  </p:childTnLst>
                                </p:cTn>
                              </p:par>
                              <p:par>
                                <p:cTn id="136" presetID="1" presetClass="path" presetSubtype="0" decel="100000" fill="hold" nodeType="withEffect">
                                  <p:stCondLst>
                                    <p:cond delay="0"/>
                                  </p:stCondLst>
                                  <p:childTnLst>
                                    <p:animMotion origin="layout" path="M 0.05339 -0.06435 C 0.03424 -0.09699 0.03255 -0.15231 0.05169 -0.18912 C 0.0707 -0.22569 0.1026 -0.22824 0.1224 -0.19606 C 0.14245 -0.16273 0.14284 -0.10579 0.12344 -0.07014 C 0.10469 -0.0338 0.07396 -0.03102 0.05339 -0.06435 Z " pathEditMode="relative" rAng="13380000" ptsTypes="AAAAA">
                                      <p:cBhvr>
                                        <p:cTn id="137" dur="3250" fill="hold"/>
                                        <p:tgtEl>
                                          <p:spTgt spid="528"/>
                                        </p:tgtEl>
                                        <p:attrNameLst>
                                          <p:attrName>ppt_x</p:attrName>
                                          <p:attrName>ppt_y</p:attrName>
                                        </p:attrNameLst>
                                      </p:cBhvr>
                                      <p:rCtr x="3451" y="-6574"/>
                                    </p:animMotion>
                                  </p:childTnLst>
                                </p:cTn>
                              </p:par>
                              <p:par>
                                <p:cTn id="138" presetID="10" presetClass="entr" presetSubtype="0" fill="hold" nodeType="withEffect">
                                  <p:stCondLst>
                                    <p:cond delay="1750"/>
                                  </p:stCondLst>
                                  <p:childTnLst>
                                    <p:set>
                                      <p:cBhvr>
                                        <p:cTn id="139" dur="1" fill="hold">
                                          <p:stCondLst>
                                            <p:cond delay="0"/>
                                          </p:stCondLst>
                                        </p:cTn>
                                        <p:tgtEl>
                                          <p:spTgt spid="548"/>
                                        </p:tgtEl>
                                        <p:attrNameLst>
                                          <p:attrName>style.visibility</p:attrName>
                                        </p:attrNameLst>
                                      </p:cBhvr>
                                      <p:to>
                                        <p:strVal val="visible"/>
                                      </p:to>
                                    </p:set>
                                    <p:animEffect transition="in" filter="fade">
                                      <p:cBhvr>
                                        <p:cTn id="140" dur="500"/>
                                        <p:tgtEl>
                                          <p:spTgt spid="548"/>
                                        </p:tgtEl>
                                      </p:cBhvr>
                                    </p:animEffect>
                                  </p:childTnLst>
                                </p:cTn>
                              </p:par>
                              <p:par>
                                <p:cTn id="141" presetID="10" presetClass="entr" presetSubtype="0" fill="hold" nodeType="withEffect">
                                  <p:stCondLst>
                                    <p:cond delay="1750"/>
                                  </p:stCondLst>
                                  <p:childTnLst>
                                    <p:set>
                                      <p:cBhvr>
                                        <p:cTn id="142" dur="1" fill="hold">
                                          <p:stCondLst>
                                            <p:cond delay="0"/>
                                          </p:stCondLst>
                                        </p:cTn>
                                        <p:tgtEl>
                                          <p:spTgt spid="239"/>
                                        </p:tgtEl>
                                        <p:attrNameLst>
                                          <p:attrName>style.visibility</p:attrName>
                                        </p:attrNameLst>
                                      </p:cBhvr>
                                      <p:to>
                                        <p:strVal val="visible"/>
                                      </p:to>
                                    </p:set>
                                    <p:animEffect transition="in" filter="fade">
                                      <p:cBhvr>
                                        <p:cTn id="143" dur="500"/>
                                        <p:tgtEl>
                                          <p:spTgt spid="239"/>
                                        </p:tgtEl>
                                      </p:cBhvr>
                                    </p:animEffect>
                                  </p:childTnLst>
                                </p:cTn>
                              </p:par>
                              <p:par>
                                <p:cTn id="144" presetID="10" presetClass="entr" presetSubtype="0" fill="hold" nodeType="withEffect">
                                  <p:stCondLst>
                                    <p:cond delay="1750"/>
                                  </p:stCondLst>
                                  <p:childTnLst>
                                    <p:set>
                                      <p:cBhvr>
                                        <p:cTn id="145" dur="1" fill="hold">
                                          <p:stCondLst>
                                            <p:cond delay="0"/>
                                          </p:stCondLst>
                                        </p:cTn>
                                        <p:tgtEl>
                                          <p:spTgt spid="526"/>
                                        </p:tgtEl>
                                        <p:attrNameLst>
                                          <p:attrName>style.visibility</p:attrName>
                                        </p:attrNameLst>
                                      </p:cBhvr>
                                      <p:to>
                                        <p:strVal val="visible"/>
                                      </p:to>
                                    </p:set>
                                    <p:animEffect transition="in" filter="fade">
                                      <p:cBhvr>
                                        <p:cTn id="146" dur="500"/>
                                        <p:tgtEl>
                                          <p:spTgt spid="526"/>
                                        </p:tgtEl>
                                      </p:cBhvr>
                                    </p:animEffect>
                                  </p:childTnLst>
                                </p:cTn>
                              </p:par>
                              <p:par>
                                <p:cTn id="147" presetID="26" presetClass="emph" presetSubtype="0" repeatCount="indefinite" fill="hold" nodeType="withEffect">
                                  <p:stCondLst>
                                    <p:cond delay="1750"/>
                                  </p:stCondLst>
                                  <p:endCondLst>
                                    <p:cond evt="onNext" delay="0">
                                      <p:tgtEl>
                                        <p:sldTgt/>
                                      </p:tgtEl>
                                    </p:cond>
                                  </p:endCondLst>
                                  <p:childTnLst>
                                    <p:animEffect transition="out" filter="fade">
                                      <p:cBhvr>
                                        <p:cTn id="148" dur="500" tmFilter="0, 0; .2, .5; .8, .5; 1, 0"/>
                                        <p:tgtEl>
                                          <p:spTgt spid="526"/>
                                        </p:tgtEl>
                                      </p:cBhvr>
                                    </p:animEffect>
                                    <p:animScale>
                                      <p:cBhvr>
                                        <p:cTn id="149" dur="250" autoRev="1" fill="hold"/>
                                        <p:tgtEl>
                                          <p:spTgt spid="526"/>
                                        </p:tgtEl>
                                      </p:cBhvr>
                                      <p:by x="105000" y="105000"/>
                                    </p:animScale>
                                  </p:childTnLst>
                                </p:cTn>
                              </p:par>
                              <p:par>
                                <p:cTn id="150" presetID="42" presetClass="path" presetSubtype="0" decel="100000" fill="hold" nodeType="withEffect">
                                  <p:stCondLst>
                                    <p:cond delay="2250"/>
                                  </p:stCondLst>
                                  <p:childTnLst>
                                    <p:animMotion origin="layout" path="M -1.04167E-6 -7.40741E-7 L 0.05521 0.06991 " pathEditMode="relative" rAng="0" ptsTypes="AA">
                                      <p:cBhvr>
                                        <p:cTn id="151" dur="1000" spd="-100000" fill="hold"/>
                                        <p:tgtEl>
                                          <p:spTgt spid="145"/>
                                        </p:tgtEl>
                                        <p:attrNameLst>
                                          <p:attrName>ppt_x</p:attrName>
                                          <p:attrName>ppt_y</p:attrName>
                                        </p:attrNameLst>
                                      </p:cBhvr>
                                      <p:rCtr x="2773" y="3403"/>
                                    </p:animMotion>
                                  </p:childTnLst>
                                </p:cTn>
                              </p:par>
                              <p:par>
                                <p:cTn id="152" presetID="42" presetClass="path" presetSubtype="0" decel="100000" fill="hold" nodeType="withEffect">
                                  <p:stCondLst>
                                    <p:cond delay="2250"/>
                                  </p:stCondLst>
                                  <p:childTnLst>
                                    <p:animMotion origin="layout" path="M 3.125E-6 -7.40741E-7 L -0.0526 0.07361 " pathEditMode="relative" rAng="0" ptsTypes="AA">
                                      <p:cBhvr>
                                        <p:cTn id="153" dur="1000" spd="-100000" fill="hold"/>
                                        <p:tgtEl>
                                          <p:spTgt spid="539"/>
                                        </p:tgtEl>
                                        <p:attrNameLst>
                                          <p:attrName>ppt_x</p:attrName>
                                          <p:attrName>ppt_y</p:attrName>
                                        </p:attrNameLst>
                                      </p:cBhvr>
                                      <p:rCtr x="-2773" y="3912"/>
                                    </p:animMotion>
                                  </p:childTnLst>
                                </p:cTn>
                              </p:par>
                              <p:par>
                                <p:cTn id="154" presetID="42" presetClass="path" presetSubtype="0" decel="100000" fill="hold" nodeType="withEffect">
                                  <p:stCondLst>
                                    <p:cond delay="2250"/>
                                  </p:stCondLst>
                                  <p:childTnLst>
                                    <p:animMotion origin="layout" path="M 3.125E-6 2.96296E-6 L -0.05339 -0.06435 " pathEditMode="relative" rAng="0" ptsTypes="AA">
                                      <p:cBhvr>
                                        <p:cTn id="155" dur="1000" spd="-100000" fill="hold"/>
                                        <p:tgtEl>
                                          <p:spTgt spid="143"/>
                                        </p:tgtEl>
                                        <p:attrNameLst>
                                          <p:attrName>ppt_x</p:attrName>
                                          <p:attrName>ppt_y</p:attrName>
                                        </p:attrNameLst>
                                      </p:cBhvr>
                                      <p:rCtr x="-2669" y="-3148"/>
                                    </p:animMotion>
                                  </p:childTnLst>
                                </p:cTn>
                              </p:par>
                              <p:par>
                                <p:cTn id="156" presetID="42" presetClass="path" presetSubtype="0" decel="100000" fill="hold" nodeType="withEffect">
                                  <p:stCondLst>
                                    <p:cond delay="2250"/>
                                  </p:stCondLst>
                                  <p:childTnLst>
                                    <p:animMotion origin="layout" path="M -1.04167E-6 2.96296E-6 L 0.05299 -0.06481 " pathEditMode="relative" rAng="0" ptsTypes="AA">
                                      <p:cBhvr>
                                        <p:cTn id="157" dur="1000" spd="-100000" fill="hold"/>
                                        <p:tgtEl>
                                          <p:spTgt spid="528"/>
                                        </p:tgtEl>
                                        <p:attrNameLst>
                                          <p:attrName>ppt_x</p:attrName>
                                          <p:attrName>ppt_y</p:attrName>
                                        </p:attrNameLst>
                                      </p:cBhvr>
                                      <p:rCtr x="2565" y="-3032"/>
                                    </p:animMotion>
                                  </p:childTnLst>
                                </p:cTn>
                              </p:par>
                              <p:par>
                                <p:cTn id="158" presetID="10" presetClass="entr" presetSubtype="0" fill="hold" grpId="2" nodeType="withEffect">
                                  <p:stCondLst>
                                    <p:cond delay="2750"/>
                                  </p:stCondLst>
                                  <p:childTnLst>
                                    <p:set>
                                      <p:cBhvr>
                                        <p:cTn id="159" dur="1" fill="hold">
                                          <p:stCondLst>
                                            <p:cond delay="0"/>
                                          </p:stCondLst>
                                        </p:cTn>
                                        <p:tgtEl>
                                          <p:spTgt spid="340"/>
                                        </p:tgtEl>
                                        <p:attrNameLst>
                                          <p:attrName>style.visibility</p:attrName>
                                        </p:attrNameLst>
                                      </p:cBhvr>
                                      <p:to>
                                        <p:strVal val="visible"/>
                                      </p:to>
                                    </p:set>
                                    <p:animEffect transition="in" filter="fade">
                                      <p:cBhvr>
                                        <p:cTn id="160" dur="500"/>
                                        <p:tgtEl>
                                          <p:spTgt spid="340"/>
                                        </p:tgtEl>
                                      </p:cBhvr>
                                    </p:animEffect>
                                  </p:childTnLst>
                                </p:cTn>
                              </p:par>
                              <p:par>
                                <p:cTn id="161" presetID="10" presetClass="entr" presetSubtype="0" fill="hold" grpId="2" nodeType="withEffect">
                                  <p:stCondLst>
                                    <p:cond delay="2750"/>
                                  </p:stCondLst>
                                  <p:childTnLst>
                                    <p:set>
                                      <p:cBhvr>
                                        <p:cTn id="162" dur="1" fill="hold">
                                          <p:stCondLst>
                                            <p:cond delay="0"/>
                                          </p:stCondLst>
                                        </p:cTn>
                                        <p:tgtEl>
                                          <p:spTgt spid="341"/>
                                        </p:tgtEl>
                                        <p:attrNameLst>
                                          <p:attrName>style.visibility</p:attrName>
                                        </p:attrNameLst>
                                      </p:cBhvr>
                                      <p:to>
                                        <p:strVal val="visible"/>
                                      </p:to>
                                    </p:set>
                                    <p:animEffect transition="in" filter="fade">
                                      <p:cBhvr>
                                        <p:cTn id="163" dur="500"/>
                                        <p:tgtEl>
                                          <p:spTgt spid="341"/>
                                        </p:tgtEl>
                                      </p:cBhvr>
                                    </p:animEffect>
                                  </p:childTnLst>
                                </p:cTn>
                              </p:par>
                              <p:par>
                                <p:cTn id="164" presetID="10" presetClass="entr" presetSubtype="0" fill="hold" grpId="2" nodeType="withEffect">
                                  <p:stCondLst>
                                    <p:cond delay="2750"/>
                                  </p:stCondLst>
                                  <p:childTnLst>
                                    <p:set>
                                      <p:cBhvr>
                                        <p:cTn id="165" dur="1" fill="hold">
                                          <p:stCondLst>
                                            <p:cond delay="0"/>
                                          </p:stCondLst>
                                        </p:cTn>
                                        <p:tgtEl>
                                          <p:spTgt spid="338"/>
                                        </p:tgtEl>
                                        <p:attrNameLst>
                                          <p:attrName>style.visibility</p:attrName>
                                        </p:attrNameLst>
                                      </p:cBhvr>
                                      <p:to>
                                        <p:strVal val="visible"/>
                                      </p:to>
                                    </p:set>
                                    <p:animEffect transition="in" filter="fade">
                                      <p:cBhvr>
                                        <p:cTn id="166" dur="500"/>
                                        <p:tgtEl>
                                          <p:spTgt spid="338"/>
                                        </p:tgtEl>
                                      </p:cBhvr>
                                    </p:animEffect>
                                  </p:childTnLst>
                                </p:cTn>
                              </p:par>
                              <p:par>
                                <p:cTn id="167" presetID="10" presetClass="entr" presetSubtype="0" fill="hold" grpId="2" nodeType="withEffect">
                                  <p:stCondLst>
                                    <p:cond delay="2750"/>
                                  </p:stCondLst>
                                  <p:childTnLst>
                                    <p:set>
                                      <p:cBhvr>
                                        <p:cTn id="168" dur="1" fill="hold">
                                          <p:stCondLst>
                                            <p:cond delay="0"/>
                                          </p:stCondLst>
                                        </p:cTn>
                                        <p:tgtEl>
                                          <p:spTgt spid="339"/>
                                        </p:tgtEl>
                                        <p:attrNameLst>
                                          <p:attrName>style.visibility</p:attrName>
                                        </p:attrNameLst>
                                      </p:cBhvr>
                                      <p:to>
                                        <p:strVal val="visible"/>
                                      </p:to>
                                    </p:set>
                                    <p:animEffect transition="in" filter="fade">
                                      <p:cBhvr>
                                        <p:cTn id="169" dur="500"/>
                                        <p:tgtEl>
                                          <p:spTgt spid="339"/>
                                        </p:tgtEl>
                                      </p:cBhvr>
                                    </p:animEffect>
                                  </p:childTnLst>
                                </p:cTn>
                              </p:par>
                            </p:childTnLst>
                          </p:cTn>
                        </p:par>
                        <p:par>
                          <p:cTn id="170" fill="hold">
                            <p:stCondLst>
                              <p:cond delay="6750"/>
                            </p:stCondLst>
                            <p:childTnLst>
                              <p:par>
                                <p:cTn id="171" presetID="10" presetClass="entr" presetSubtype="0" fill="hold" grpId="0" nodeType="afterEffect">
                                  <p:stCondLst>
                                    <p:cond delay="0"/>
                                  </p:stCondLst>
                                  <p:childTnLst>
                                    <p:set>
                                      <p:cBhvr>
                                        <p:cTn id="172" dur="1" fill="hold">
                                          <p:stCondLst>
                                            <p:cond delay="0"/>
                                          </p:stCondLst>
                                        </p:cTn>
                                        <p:tgtEl>
                                          <p:spTgt spid="2"/>
                                        </p:tgtEl>
                                        <p:attrNameLst>
                                          <p:attrName>style.visibility</p:attrName>
                                        </p:attrNameLst>
                                      </p:cBhvr>
                                      <p:to>
                                        <p:strVal val="visible"/>
                                      </p:to>
                                    </p:set>
                                    <p:animEffect transition="in" filter="fade">
                                      <p:cBhvr>
                                        <p:cTn id="173" dur="500"/>
                                        <p:tgtEl>
                                          <p:spTgt spid="2"/>
                                        </p:tgtEl>
                                      </p:cBhvr>
                                    </p:animEffect>
                                  </p:childTnLst>
                                </p:cTn>
                              </p:par>
                            </p:childTnLst>
                          </p:cTn>
                        </p:par>
                      </p:childTnLst>
                    </p:cTn>
                  </p:par>
                  <p:par>
                    <p:cTn id="174" fill="hold">
                      <p:stCondLst>
                        <p:cond delay="indefinite"/>
                      </p:stCondLst>
                      <p:childTnLst>
                        <p:par>
                          <p:cTn id="175" fill="hold">
                            <p:stCondLst>
                              <p:cond delay="0"/>
                            </p:stCondLst>
                            <p:childTnLst>
                              <p:par>
                                <p:cTn id="176" presetID="22" presetClass="entr" presetSubtype="8" fill="hold" nodeType="clickEffect">
                                  <p:stCondLst>
                                    <p:cond delay="0"/>
                                  </p:stCondLst>
                                  <p:childTnLst>
                                    <p:set>
                                      <p:cBhvr>
                                        <p:cTn id="177" dur="1" fill="hold">
                                          <p:stCondLst>
                                            <p:cond delay="0"/>
                                          </p:stCondLst>
                                        </p:cTn>
                                        <p:tgtEl>
                                          <p:spTgt spid="151"/>
                                        </p:tgtEl>
                                        <p:attrNameLst>
                                          <p:attrName>style.visibility</p:attrName>
                                        </p:attrNameLst>
                                      </p:cBhvr>
                                      <p:to>
                                        <p:strVal val="visible"/>
                                      </p:to>
                                    </p:set>
                                    <p:animEffect transition="in" filter="wipe(left)">
                                      <p:cBhvr>
                                        <p:cTn id="178" dur="500"/>
                                        <p:tgtEl>
                                          <p:spTgt spid="151"/>
                                        </p:tgtEl>
                                      </p:cBhvr>
                                    </p:animEffect>
                                  </p:childTnLst>
                                </p:cTn>
                              </p:par>
                              <p:par>
                                <p:cTn id="179" presetID="10" presetClass="entr" presetSubtype="0" fill="hold" nodeType="withEffect">
                                  <p:stCondLst>
                                    <p:cond delay="0"/>
                                  </p:stCondLst>
                                  <p:childTnLst>
                                    <p:set>
                                      <p:cBhvr>
                                        <p:cTn id="180" dur="1" fill="hold">
                                          <p:stCondLst>
                                            <p:cond delay="0"/>
                                          </p:stCondLst>
                                        </p:cTn>
                                        <p:tgtEl>
                                          <p:spTgt spid="46"/>
                                        </p:tgtEl>
                                        <p:attrNameLst>
                                          <p:attrName>style.visibility</p:attrName>
                                        </p:attrNameLst>
                                      </p:cBhvr>
                                      <p:to>
                                        <p:strVal val="visible"/>
                                      </p:to>
                                    </p:set>
                                    <p:animEffect transition="in" filter="fade">
                                      <p:cBhvr>
                                        <p:cTn id="181" dur="500"/>
                                        <p:tgtEl>
                                          <p:spTgt spid="46"/>
                                        </p:tgtEl>
                                      </p:cBhvr>
                                    </p:animEffect>
                                  </p:childTnLst>
                                </p:cTn>
                              </p:par>
                            </p:childTnLst>
                          </p:cTn>
                        </p:par>
                        <p:par>
                          <p:cTn id="182" fill="hold">
                            <p:stCondLst>
                              <p:cond delay="500"/>
                            </p:stCondLst>
                            <p:childTnLst>
                              <p:par>
                                <p:cTn id="183" presetID="1" presetClass="entr" presetSubtype="0" fill="hold" nodeType="afterEffect">
                                  <p:stCondLst>
                                    <p:cond delay="0"/>
                                  </p:stCondLst>
                                  <p:childTnLst>
                                    <p:set>
                                      <p:cBhvr>
                                        <p:cTn id="184" dur="1" fill="hold">
                                          <p:stCondLst>
                                            <p:cond delay="0"/>
                                          </p:stCondLst>
                                        </p:cTn>
                                        <p:tgtEl>
                                          <p:spTgt spid="17"/>
                                        </p:tgtEl>
                                        <p:attrNameLst>
                                          <p:attrName>style.visibility</p:attrName>
                                        </p:attrNameLst>
                                      </p:cBhvr>
                                      <p:to>
                                        <p:strVal val="visible"/>
                                      </p:to>
                                    </p:set>
                                  </p:childTnLst>
                                </p:cTn>
                              </p:par>
                              <p:par>
                                <p:cTn id="185" presetID="1" presetClass="entr" presetSubtype="0" fill="hold" nodeType="withEffect">
                                  <p:stCondLst>
                                    <p:cond delay="0"/>
                                  </p:stCondLst>
                                  <p:childTnLst>
                                    <p:set>
                                      <p:cBhvr>
                                        <p:cTn id="186" dur="1" fill="hold">
                                          <p:stCondLst>
                                            <p:cond delay="0"/>
                                          </p:stCondLst>
                                        </p:cTn>
                                        <p:tgtEl>
                                          <p:spTgt spid="509"/>
                                        </p:tgtEl>
                                        <p:attrNameLst>
                                          <p:attrName>style.visibility</p:attrName>
                                        </p:attrNameLst>
                                      </p:cBhvr>
                                      <p:to>
                                        <p:strVal val="visible"/>
                                      </p:to>
                                    </p:set>
                                  </p:childTnLst>
                                </p:cTn>
                              </p:par>
                              <p:par>
                                <p:cTn id="187" presetID="0" presetClass="path" presetSubtype="0" decel="100000" fill="hold" nodeType="withEffect">
                                  <p:stCondLst>
                                    <p:cond delay="0"/>
                                  </p:stCondLst>
                                  <p:childTnLst>
                                    <p:animMotion origin="layout" path="M -0.23385 0.05902 C -0.125 0.05578 -0.05247 0.06203 6.25E-7 3.33333E-6 " pathEditMode="relative" rAng="0" ptsTypes="AA">
                                      <p:cBhvr>
                                        <p:cTn id="188" dur="1000" fill="hold"/>
                                        <p:tgtEl>
                                          <p:spTgt spid="17"/>
                                        </p:tgtEl>
                                        <p:attrNameLst>
                                          <p:attrName>ppt_x</p:attrName>
                                          <p:attrName>ppt_y</p:attrName>
                                        </p:attrNameLst>
                                      </p:cBhvr>
                                      <p:rCtr x="11693" y="-2963"/>
                                    </p:animMotion>
                                  </p:childTnLst>
                                </p:cTn>
                              </p:par>
                              <p:par>
                                <p:cTn id="189" presetID="0" presetClass="path" presetSubtype="0" decel="100000" fill="hold" nodeType="withEffect">
                                  <p:stCondLst>
                                    <p:cond delay="0"/>
                                  </p:stCondLst>
                                  <p:childTnLst>
                                    <p:animMotion origin="layout" path="M -0.23177 -0.07894 C -0.13763 -0.07963 -0.05404 -0.08403 3.75E-6 4.07407E-6 " pathEditMode="relative" rAng="0" ptsTypes="AA">
                                      <p:cBhvr>
                                        <p:cTn id="190" dur="1000" fill="hold"/>
                                        <p:tgtEl>
                                          <p:spTgt spid="509"/>
                                        </p:tgtEl>
                                        <p:attrNameLst>
                                          <p:attrName>ppt_x</p:attrName>
                                          <p:attrName>ppt_y</p:attrName>
                                        </p:attrNameLst>
                                      </p:cBhvr>
                                      <p:rCtr x="11589" y="3912"/>
                                    </p:animMotion>
                                  </p:childTnLst>
                                </p:cTn>
                              </p:par>
                            </p:childTnLst>
                          </p:cTn>
                        </p:par>
                      </p:childTnLst>
                    </p:cTn>
                  </p:par>
                  <p:par>
                    <p:cTn id="191" fill="hold">
                      <p:stCondLst>
                        <p:cond delay="indefinite"/>
                      </p:stCondLst>
                      <p:childTnLst>
                        <p:par>
                          <p:cTn id="192" fill="hold">
                            <p:stCondLst>
                              <p:cond delay="0"/>
                            </p:stCondLst>
                            <p:childTnLst>
                              <p:par>
                                <p:cTn id="193" presetID="22" presetClass="entr" presetSubtype="8" fill="hold" nodeType="clickEffect">
                                  <p:stCondLst>
                                    <p:cond delay="0"/>
                                  </p:stCondLst>
                                  <p:childTnLst>
                                    <p:set>
                                      <p:cBhvr>
                                        <p:cTn id="194" dur="1" fill="hold">
                                          <p:stCondLst>
                                            <p:cond delay="0"/>
                                          </p:stCondLst>
                                        </p:cTn>
                                        <p:tgtEl>
                                          <p:spTgt spid="512"/>
                                        </p:tgtEl>
                                        <p:attrNameLst>
                                          <p:attrName>style.visibility</p:attrName>
                                        </p:attrNameLst>
                                      </p:cBhvr>
                                      <p:to>
                                        <p:strVal val="visible"/>
                                      </p:to>
                                    </p:set>
                                    <p:animEffect transition="in" filter="wipe(left)">
                                      <p:cBhvr>
                                        <p:cTn id="195" dur="500"/>
                                        <p:tgtEl>
                                          <p:spTgt spid="512"/>
                                        </p:tgtEl>
                                      </p:cBhvr>
                                    </p:animEffect>
                                  </p:childTnLst>
                                </p:cTn>
                              </p:par>
                              <p:par>
                                <p:cTn id="196" presetID="22" presetClass="entr" presetSubtype="8" fill="hold" nodeType="withEffect">
                                  <p:stCondLst>
                                    <p:cond delay="0"/>
                                  </p:stCondLst>
                                  <p:childTnLst>
                                    <p:set>
                                      <p:cBhvr>
                                        <p:cTn id="197" dur="1" fill="hold">
                                          <p:stCondLst>
                                            <p:cond delay="0"/>
                                          </p:stCondLst>
                                        </p:cTn>
                                        <p:tgtEl>
                                          <p:spTgt spid="223"/>
                                        </p:tgtEl>
                                        <p:attrNameLst>
                                          <p:attrName>style.visibility</p:attrName>
                                        </p:attrNameLst>
                                      </p:cBhvr>
                                      <p:to>
                                        <p:strVal val="visible"/>
                                      </p:to>
                                    </p:set>
                                    <p:animEffect transition="in" filter="wipe(left)">
                                      <p:cBhvr>
                                        <p:cTn id="198" dur="500"/>
                                        <p:tgtEl>
                                          <p:spTgt spid="223"/>
                                        </p:tgtEl>
                                      </p:cBhvr>
                                    </p:animEffect>
                                  </p:childTnLst>
                                </p:cTn>
                              </p:par>
                              <p:par>
                                <p:cTn id="199" presetID="10" presetClass="entr" presetSubtype="0" fill="hold" grpId="0" nodeType="withEffect">
                                  <p:stCondLst>
                                    <p:cond delay="0"/>
                                  </p:stCondLst>
                                  <p:childTnLst>
                                    <p:set>
                                      <p:cBhvr>
                                        <p:cTn id="200" dur="1" fill="hold">
                                          <p:stCondLst>
                                            <p:cond delay="0"/>
                                          </p:stCondLst>
                                        </p:cTn>
                                        <p:tgtEl>
                                          <p:spTgt spid="6"/>
                                        </p:tgtEl>
                                        <p:attrNameLst>
                                          <p:attrName>style.visibility</p:attrName>
                                        </p:attrNameLst>
                                      </p:cBhvr>
                                      <p:to>
                                        <p:strVal val="visible"/>
                                      </p:to>
                                    </p:set>
                                    <p:animEffect transition="in" filter="fade">
                                      <p:cBhvr>
                                        <p:cTn id="201" dur="500"/>
                                        <p:tgtEl>
                                          <p:spTgt spid="6"/>
                                        </p:tgtEl>
                                      </p:cBhvr>
                                    </p:animEffect>
                                  </p:childTnLst>
                                </p:cTn>
                              </p:par>
                            </p:childTnLst>
                          </p:cTn>
                        </p:par>
                        <p:par>
                          <p:cTn id="202" fill="hold">
                            <p:stCondLst>
                              <p:cond delay="500"/>
                            </p:stCondLst>
                            <p:childTnLst>
                              <p:par>
                                <p:cTn id="203" presetID="10" presetClass="entr" presetSubtype="0" fill="hold" grpId="0" nodeType="afterEffect">
                                  <p:stCondLst>
                                    <p:cond delay="0"/>
                                  </p:stCondLst>
                                  <p:childTnLst>
                                    <p:set>
                                      <p:cBhvr>
                                        <p:cTn id="204" dur="1" fill="hold">
                                          <p:stCondLst>
                                            <p:cond delay="0"/>
                                          </p:stCondLst>
                                        </p:cTn>
                                        <p:tgtEl>
                                          <p:spTgt spid="278"/>
                                        </p:tgtEl>
                                        <p:attrNameLst>
                                          <p:attrName>style.visibility</p:attrName>
                                        </p:attrNameLst>
                                      </p:cBhvr>
                                      <p:to>
                                        <p:strVal val="visible"/>
                                      </p:to>
                                    </p:set>
                                    <p:animEffect transition="in" filter="fade">
                                      <p:cBhvr>
                                        <p:cTn id="205" dur="500"/>
                                        <p:tgtEl>
                                          <p:spTgt spid="278"/>
                                        </p:tgtEl>
                                      </p:cBhvr>
                                    </p:animEffect>
                                  </p:childTnLst>
                                </p:cTn>
                              </p:par>
                              <p:par>
                                <p:cTn id="206" presetID="10" presetClass="entr" presetSubtype="0" fill="hold" grpId="0" nodeType="withEffect">
                                  <p:stCondLst>
                                    <p:cond delay="0"/>
                                  </p:stCondLst>
                                  <p:childTnLst>
                                    <p:set>
                                      <p:cBhvr>
                                        <p:cTn id="207" dur="1" fill="hold">
                                          <p:stCondLst>
                                            <p:cond delay="0"/>
                                          </p:stCondLst>
                                        </p:cTn>
                                        <p:tgtEl>
                                          <p:spTgt spid="280"/>
                                        </p:tgtEl>
                                        <p:attrNameLst>
                                          <p:attrName>style.visibility</p:attrName>
                                        </p:attrNameLst>
                                      </p:cBhvr>
                                      <p:to>
                                        <p:strVal val="visible"/>
                                      </p:to>
                                    </p:set>
                                    <p:animEffect transition="in" filter="fade">
                                      <p:cBhvr>
                                        <p:cTn id="208" dur="500"/>
                                        <p:tgtEl>
                                          <p:spTgt spid="280"/>
                                        </p:tgtEl>
                                      </p:cBhvr>
                                    </p:animEffect>
                                  </p:childTnLst>
                                </p:cTn>
                              </p:par>
                              <p:par>
                                <p:cTn id="209" presetID="10" presetClass="entr" presetSubtype="0" fill="hold" grpId="0" nodeType="withEffect">
                                  <p:stCondLst>
                                    <p:cond delay="0"/>
                                  </p:stCondLst>
                                  <p:childTnLst>
                                    <p:set>
                                      <p:cBhvr>
                                        <p:cTn id="210" dur="1" fill="hold">
                                          <p:stCondLst>
                                            <p:cond delay="0"/>
                                          </p:stCondLst>
                                        </p:cTn>
                                        <p:tgtEl>
                                          <p:spTgt spid="155"/>
                                        </p:tgtEl>
                                        <p:attrNameLst>
                                          <p:attrName>style.visibility</p:attrName>
                                        </p:attrNameLst>
                                      </p:cBhvr>
                                      <p:to>
                                        <p:strVal val="visible"/>
                                      </p:to>
                                    </p:set>
                                    <p:animEffect transition="in" filter="fade">
                                      <p:cBhvr>
                                        <p:cTn id="211" dur="500"/>
                                        <p:tgtEl>
                                          <p:spTgt spid="155"/>
                                        </p:tgtEl>
                                      </p:cBhvr>
                                    </p:animEffect>
                                  </p:childTnLst>
                                </p:cTn>
                              </p:par>
                              <p:par>
                                <p:cTn id="212" presetID="10" presetClass="entr" presetSubtype="0" fill="hold" nodeType="withEffect">
                                  <p:stCondLst>
                                    <p:cond delay="0"/>
                                  </p:stCondLst>
                                  <p:childTnLst>
                                    <p:set>
                                      <p:cBhvr>
                                        <p:cTn id="213" dur="1" fill="hold">
                                          <p:stCondLst>
                                            <p:cond delay="0"/>
                                          </p:stCondLst>
                                        </p:cTn>
                                        <p:tgtEl>
                                          <p:spTgt spid="160"/>
                                        </p:tgtEl>
                                        <p:attrNameLst>
                                          <p:attrName>style.visibility</p:attrName>
                                        </p:attrNameLst>
                                      </p:cBhvr>
                                      <p:to>
                                        <p:strVal val="visible"/>
                                      </p:to>
                                    </p:set>
                                    <p:animEffect transition="in" filter="fade">
                                      <p:cBhvr>
                                        <p:cTn id="214" dur="500"/>
                                        <p:tgtEl>
                                          <p:spTgt spid="160"/>
                                        </p:tgtEl>
                                      </p:cBhvr>
                                    </p:animEffect>
                                  </p:childTnLst>
                                </p:cTn>
                              </p:par>
                              <p:par>
                                <p:cTn id="215" presetID="10" presetClass="entr" presetSubtype="0" fill="hold" nodeType="withEffect">
                                  <p:stCondLst>
                                    <p:cond delay="0"/>
                                  </p:stCondLst>
                                  <p:childTnLst>
                                    <p:set>
                                      <p:cBhvr>
                                        <p:cTn id="216" dur="1" fill="hold">
                                          <p:stCondLst>
                                            <p:cond delay="0"/>
                                          </p:stCondLst>
                                        </p:cTn>
                                        <p:tgtEl>
                                          <p:spTgt spid="289"/>
                                        </p:tgtEl>
                                        <p:attrNameLst>
                                          <p:attrName>style.visibility</p:attrName>
                                        </p:attrNameLst>
                                      </p:cBhvr>
                                      <p:to>
                                        <p:strVal val="visible"/>
                                      </p:to>
                                    </p:set>
                                    <p:animEffect transition="in" filter="fade">
                                      <p:cBhvr>
                                        <p:cTn id="217" dur="500"/>
                                        <p:tgtEl>
                                          <p:spTgt spid="289"/>
                                        </p:tgtEl>
                                      </p:cBhvr>
                                    </p:animEffect>
                                  </p:childTnLst>
                                </p:cTn>
                              </p:par>
                              <p:par>
                                <p:cTn id="218" presetID="10" presetClass="entr" presetSubtype="0" fill="hold" nodeType="withEffect">
                                  <p:stCondLst>
                                    <p:cond delay="0"/>
                                  </p:stCondLst>
                                  <p:childTnLst>
                                    <p:set>
                                      <p:cBhvr>
                                        <p:cTn id="219" dur="1" fill="hold">
                                          <p:stCondLst>
                                            <p:cond delay="0"/>
                                          </p:stCondLst>
                                        </p:cTn>
                                        <p:tgtEl>
                                          <p:spTgt spid="297"/>
                                        </p:tgtEl>
                                        <p:attrNameLst>
                                          <p:attrName>style.visibility</p:attrName>
                                        </p:attrNameLst>
                                      </p:cBhvr>
                                      <p:to>
                                        <p:strVal val="visible"/>
                                      </p:to>
                                    </p:set>
                                    <p:animEffect transition="in" filter="fade">
                                      <p:cBhvr>
                                        <p:cTn id="220" dur="500"/>
                                        <p:tgtEl>
                                          <p:spTgt spid="297"/>
                                        </p:tgtEl>
                                      </p:cBhvr>
                                    </p:animEffect>
                                  </p:childTnLst>
                                </p:cTn>
                              </p:par>
                              <p:par>
                                <p:cTn id="221" presetID="10" presetClass="entr" presetSubtype="0" fill="hold" grpId="0" nodeType="withEffect">
                                  <p:stCondLst>
                                    <p:cond delay="0"/>
                                  </p:stCondLst>
                                  <p:childTnLst>
                                    <p:set>
                                      <p:cBhvr>
                                        <p:cTn id="222" dur="1" fill="hold">
                                          <p:stCondLst>
                                            <p:cond delay="0"/>
                                          </p:stCondLst>
                                        </p:cTn>
                                        <p:tgtEl>
                                          <p:spTgt spid="158"/>
                                        </p:tgtEl>
                                        <p:attrNameLst>
                                          <p:attrName>style.visibility</p:attrName>
                                        </p:attrNameLst>
                                      </p:cBhvr>
                                      <p:to>
                                        <p:strVal val="visible"/>
                                      </p:to>
                                    </p:set>
                                    <p:animEffect transition="in" filter="fade">
                                      <p:cBhvr>
                                        <p:cTn id="223" dur="500"/>
                                        <p:tgtEl>
                                          <p:spTgt spid="158"/>
                                        </p:tgtEl>
                                      </p:cBhvr>
                                    </p:animEffect>
                                  </p:childTnLst>
                                </p:cTn>
                              </p:par>
                              <p:par>
                                <p:cTn id="224" presetID="10" presetClass="entr" presetSubtype="0" fill="hold" grpId="0" nodeType="withEffect">
                                  <p:stCondLst>
                                    <p:cond delay="0"/>
                                  </p:stCondLst>
                                  <p:childTnLst>
                                    <p:set>
                                      <p:cBhvr>
                                        <p:cTn id="225" dur="1" fill="hold">
                                          <p:stCondLst>
                                            <p:cond delay="0"/>
                                          </p:stCondLst>
                                        </p:cTn>
                                        <p:tgtEl>
                                          <p:spTgt spid="302"/>
                                        </p:tgtEl>
                                        <p:attrNameLst>
                                          <p:attrName>style.visibility</p:attrName>
                                        </p:attrNameLst>
                                      </p:cBhvr>
                                      <p:to>
                                        <p:strVal val="visible"/>
                                      </p:to>
                                    </p:set>
                                    <p:animEffect transition="in" filter="fade">
                                      <p:cBhvr>
                                        <p:cTn id="226" dur="500"/>
                                        <p:tgtEl>
                                          <p:spTgt spid="302"/>
                                        </p:tgtEl>
                                      </p:cBhvr>
                                    </p:animEffect>
                                  </p:childTnLst>
                                </p:cTn>
                              </p:par>
                              <p:par>
                                <p:cTn id="227" presetID="10" presetClass="entr" presetSubtype="0" fill="hold" nodeType="withEffect">
                                  <p:stCondLst>
                                    <p:cond delay="0"/>
                                  </p:stCondLst>
                                  <p:childTnLst>
                                    <p:set>
                                      <p:cBhvr>
                                        <p:cTn id="228" dur="1" fill="hold">
                                          <p:stCondLst>
                                            <p:cond delay="0"/>
                                          </p:stCondLst>
                                        </p:cTn>
                                        <p:tgtEl>
                                          <p:spTgt spid="507"/>
                                        </p:tgtEl>
                                        <p:attrNameLst>
                                          <p:attrName>style.visibility</p:attrName>
                                        </p:attrNameLst>
                                      </p:cBhvr>
                                      <p:to>
                                        <p:strVal val="visible"/>
                                      </p:to>
                                    </p:set>
                                    <p:animEffect transition="in" filter="fade">
                                      <p:cBhvr>
                                        <p:cTn id="229" dur="500"/>
                                        <p:tgtEl>
                                          <p:spTgt spid="507"/>
                                        </p:tgtEl>
                                      </p:cBhvr>
                                    </p:animEffect>
                                  </p:childTnLst>
                                </p:cTn>
                              </p:par>
                              <p:par>
                                <p:cTn id="230" presetID="10" presetClass="entr" presetSubtype="0" fill="hold" grpId="0" nodeType="withEffect">
                                  <p:stCondLst>
                                    <p:cond delay="0"/>
                                  </p:stCondLst>
                                  <p:childTnLst>
                                    <p:set>
                                      <p:cBhvr>
                                        <p:cTn id="231" dur="1" fill="hold">
                                          <p:stCondLst>
                                            <p:cond delay="0"/>
                                          </p:stCondLst>
                                        </p:cTn>
                                        <p:tgtEl>
                                          <p:spTgt spid="303"/>
                                        </p:tgtEl>
                                        <p:attrNameLst>
                                          <p:attrName>style.visibility</p:attrName>
                                        </p:attrNameLst>
                                      </p:cBhvr>
                                      <p:to>
                                        <p:strVal val="visible"/>
                                      </p:to>
                                    </p:set>
                                    <p:animEffect transition="in" filter="fade">
                                      <p:cBhvr>
                                        <p:cTn id="232" dur="500"/>
                                        <p:tgtEl>
                                          <p:spTgt spid="303"/>
                                        </p:tgtEl>
                                      </p:cBhvr>
                                    </p:animEffect>
                                  </p:childTnLst>
                                </p:cTn>
                              </p:par>
                              <p:par>
                                <p:cTn id="233" presetID="10" presetClass="entr" presetSubtype="0" fill="hold" nodeType="withEffect">
                                  <p:stCondLst>
                                    <p:cond delay="0"/>
                                  </p:stCondLst>
                                  <p:childTnLst>
                                    <p:set>
                                      <p:cBhvr>
                                        <p:cTn id="234" dur="1" fill="hold">
                                          <p:stCondLst>
                                            <p:cond delay="0"/>
                                          </p:stCondLst>
                                        </p:cTn>
                                        <p:tgtEl>
                                          <p:spTgt spid="421"/>
                                        </p:tgtEl>
                                        <p:attrNameLst>
                                          <p:attrName>style.visibility</p:attrName>
                                        </p:attrNameLst>
                                      </p:cBhvr>
                                      <p:to>
                                        <p:strVal val="visible"/>
                                      </p:to>
                                    </p:set>
                                    <p:animEffect transition="in" filter="fade">
                                      <p:cBhvr>
                                        <p:cTn id="235" dur="500"/>
                                        <p:tgtEl>
                                          <p:spTgt spid="421"/>
                                        </p:tgtEl>
                                      </p:cBhvr>
                                    </p:animEffect>
                                  </p:childTnLst>
                                </p:cTn>
                              </p:par>
                              <p:par>
                                <p:cTn id="236" presetID="10" presetClass="entr" presetSubtype="0" fill="hold" nodeType="withEffect">
                                  <p:stCondLst>
                                    <p:cond delay="0"/>
                                  </p:stCondLst>
                                  <p:childTnLst>
                                    <p:set>
                                      <p:cBhvr>
                                        <p:cTn id="237" dur="1" fill="hold">
                                          <p:stCondLst>
                                            <p:cond delay="0"/>
                                          </p:stCondLst>
                                        </p:cTn>
                                        <p:tgtEl>
                                          <p:spTgt spid="428"/>
                                        </p:tgtEl>
                                        <p:attrNameLst>
                                          <p:attrName>style.visibility</p:attrName>
                                        </p:attrNameLst>
                                      </p:cBhvr>
                                      <p:to>
                                        <p:strVal val="visible"/>
                                      </p:to>
                                    </p:set>
                                    <p:animEffect transition="in" filter="fade">
                                      <p:cBhvr>
                                        <p:cTn id="238" dur="500"/>
                                        <p:tgtEl>
                                          <p:spTgt spid="428"/>
                                        </p:tgtEl>
                                      </p:cBhvr>
                                    </p:animEffect>
                                  </p:childTnLst>
                                </p:cTn>
                              </p:par>
                              <p:par>
                                <p:cTn id="239" presetID="10" presetClass="entr" presetSubtype="0" fill="hold" nodeType="withEffect">
                                  <p:stCondLst>
                                    <p:cond delay="0"/>
                                  </p:stCondLst>
                                  <p:childTnLst>
                                    <p:set>
                                      <p:cBhvr>
                                        <p:cTn id="240" dur="1" fill="hold">
                                          <p:stCondLst>
                                            <p:cond delay="0"/>
                                          </p:stCondLst>
                                        </p:cTn>
                                        <p:tgtEl>
                                          <p:spTgt spid="314"/>
                                        </p:tgtEl>
                                        <p:attrNameLst>
                                          <p:attrName>style.visibility</p:attrName>
                                        </p:attrNameLst>
                                      </p:cBhvr>
                                      <p:to>
                                        <p:strVal val="visible"/>
                                      </p:to>
                                    </p:set>
                                    <p:animEffect transition="in" filter="fade">
                                      <p:cBhvr>
                                        <p:cTn id="241" dur="500"/>
                                        <p:tgtEl>
                                          <p:spTgt spid="314"/>
                                        </p:tgtEl>
                                      </p:cBhvr>
                                    </p:animEffect>
                                  </p:childTnLst>
                                </p:cTn>
                              </p:par>
                              <p:par>
                                <p:cTn id="242" presetID="10" presetClass="entr" presetSubtype="0" fill="hold" nodeType="withEffect">
                                  <p:stCondLst>
                                    <p:cond delay="0"/>
                                  </p:stCondLst>
                                  <p:childTnLst>
                                    <p:set>
                                      <p:cBhvr>
                                        <p:cTn id="243" dur="1" fill="hold">
                                          <p:stCondLst>
                                            <p:cond delay="0"/>
                                          </p:stCondLst>
                                        </p:cTn>
                                        <p:tgtEl>
                                          <p:spTgt spid="328"/>
                                        </p:tgtEl>
                                        <p:attrNameLst>
                                          <p:attrName>style.visibility</p:attrName>
                                        </p:attrNameLst>
                                      </p:cBhvr>
                                      <p:to>
                                        <p:strVal val="visible"/>
                                      </p:to>
                                    </p:set>
                                    <p:animEffect transition="in" filter="fade">
                                      <p:cBhvr>
                                        <p:cTn id="244" dur="500"/>
                                        <p:tgtEl>
                                          <p:spTgt spid="328"/>
                                        </p:tgtEl>
                                      </p:cBhvr>
                                    </p:animEffect>
                                  </p:childTnLst>
                                </p:cTn>
                              </p:par>
                              <p:par>
                                <p:cTn id="245" presetID="10" presetClass="entr" presetSubtype="0" fill="hold" nodeType="withEffect">
                                  <p:stCondLst>
                                    <p:cond delay="0"/>
                                  </p:stCondLst>
                                  <p:childTnLst>
                                    <p:set>
                                      <p:cBhvr>
                                        <p:cTn id="246" dur="1" fill="hold">
                                          <p:stCondLst>
                                            <p:cond delay="0"/>
                                          </p:stCondLst>
                                        </p:cTn>
                                        <p:tgtEl>
                                          <p:spTgt spid="434"/>
                                        </p:tgtEl>
                                        <p:attrNameLst>
                                          <p:attrName>style.visibility</p:attrName>
                                        </p:attrNameLst>
                                      </p:cBhvr>
                                      <p:to>
                                        <p:strVal val="visible"/>
                                      </p:to>
                                    </p:set>
                                    <p:animEffect transition="in" filter="fade">
                                      <p:cBhvr>
                                        <p:cTn id="247" dur="500"/>
                                        <p:tgtEl>
                                          <p:spTgt spid="434"/>
                                        </p:tgtEl>
                                      </p:cBhvr>
                                    </p:animEffect>
                                  </p:childTnLst>
                                </p:cTn>
                              </p:par>
                              <p:par>
                                <p:cTn id="248" presetID="10" presetClass="entr" presetSubtype="0" fill="hold" nodeType="withEffect">
                                  <p:stCondLst>
                                    <p:cond delay="0"/>
                                  </p:stCondLst>
                                  <p:childTnLst>
                                    <p:set>
                                      <p:cBhvr>
                                        <p:cTn id="249" dur="1" fill="hold">
                                          <p:stCondLst>
                                            <p:cond delay="0"/>
                                          </p:stCondLst>
                                        </p:cTn>
                                        <p:tgtEl>
                                          <p:spTgt spid="307"/>
                                        </p:tgtEl>
                                        <p:attrNameLst>
                                          <p:attrName>style.visibility</p:attrName>
                                        </p:attrNameLst>
                                      </p:cBhvr>
                                      <p:to>
                                        <p:strVal val="visible"/>
                                      </p:to>
                                    </p:set>
                                    <p:animEffect transition="in" filter="fade">
                                      <p:cBhvr>
                                        <p:cTn id="250" dur="500"/>
                                        <p:tgtEl>
                                          <p:spTgt spid="307"/>
                                        </p:tgtEl>
                                      </p:cBhvr>
                                    </p:animEffect>
                                  </p:childTnLst>
                                </p:cTn>
                              </p:par>
                              <p:par>
                                <p:cTn id="251" presetID="10" presetClass="entr" presetSubtype="0" fill="hold" nodeType="withEffect">
                                  <p:stCondLst>
                                    <p:cond delay="0"/>
                                  </p:stCondLst>
                                  <p:childTnLst>
                                    <p:set>
                                      <p:cBhvr>
                                        <p:cTn id="252" dur="1" fill="hold">
                                          <p:stCondLst>
                                            <p:cond delay="0"/>
                                          </p:stCondLst>
                                        </p:cTn>
                                        <p:tgtEl>
                                          <p:spTgt spid="464"/>
                                        </p:tgtEl>
                                        <p:attrNameLst>
                                          <p:attrName>style.visibility</p:attrName>
                                        </p:attrNameLst>
                                      </p:cBhvr>
                                      <p:to>
                                        <p:strVal val="visible"/>
                                      </p:to>
                                    </p:set>
                                    <p:animEffect transition="in" filter="fade">
                                      <p:cBhvr>
                                        <p:cTn id="253" dur="500"/>
                                        <p:tgtEl>
                                          <p:spTgt spid="464"/>
                                        </p:tgtEl>
                                      </p:cBhvr>
                                    </p:animEffect>
                                  </p:childTnLst>
                                </p:cTn>
                              </p:par>
                              <p:par>
                                <p:cTn id="254" presetID="10" presetClass="entr" presetSubtype="0" fill="hold" nodeType="withEffect">
                                  <p:stCondLst>
                                    <p:cond delay="0"/>
                                  </p:stCondLst>
                                  <p:childTnLst>
                                    <p:set>
                                      <p:cBhvr>
                                        <p:cTn id="255" dur="1" fill="hold">
                                          <p:stCondLst>
                                            <p:cond delay="0"/>
                                          </p:stCondLst>
                                        </p:cTn>
                                        <p:tgtEl>
                                          <p:spTgt spid="472"/>
                                        </p:tgtEl>
                                        <p:attrNameLst>
                                          <p:attrName>style.visibility</p:attrName>
                                        </p:attrNameLst>
                                      </p:cBhvr>
                                      <p:to>
                                        <p:strVal val="visible"/>
                                      </p:to>
                                    </p:set>
                                    <p:animEffect transition="in" filter="fade">
                                      <p:cBhvr>
                                        <p:cTn id="256" dur="500"/>
                                        <p:tgtEl>
                                          <p:spTgt spid="472"/>
                                        </p:tgtEl>
                                      </p:cBhvr>
                                    </p:animEffect>
                                  </p:childTnLst>
                                </p:cTn>
                              </p:par>
                              <p:par>
                                <p:cTn id="257" presetID="10" presetClass="entr" presetSubtype="0" fill="hold" grpId="0" nodeType="withEffect">
                                  <p:stCondLst>
                                    <p:cond delay="0"/>
                                  </p:stCondLst>
                                  <p:childTnLst>
                                    <p:set>
                                      <p:cBhvr>
                                        <p:cTn id="258" dur="1" fill="hold">
                                          <p:stCondLst>
                                            <p:cond delay="0"/>
                                          </p:stCondLst>
                                        </p:cTn>
                                        <p:tgtEl>
                                          <p:spTgt spid="505"/>
                                        </p:tgtEl>
                                        <p:attrNameLst>
                                          <p:attrName>style.visibility</p:attrName>
                                        </p:attrNameLst>
                                      </p:cBhvr>
                                      <p:to>
                                        <p:strVal val="visible"/>
                                      </p:to>
                                    </p:set>
                                    <p:animEffect transition="in" filter="fade">
                                      <p:cBhvr>
                                        <p:cTn id="259" dur="500"/>
                                        <p:tgtEl>
                                          <p:spTgt spid="505"/>
                                        </p:tgtEl>
                                      </p:cBhvr>
                                    </p:animEffect>
                                  </p:childTnLst>
                                </p:cTn>
                              </p:par>
                            </p:childTnLst>
                          </p:cTn>
                        </p:par>
                        <p:par>
                          <p:cTn id="260" fill="hold">
                            <p:stCondLst>
                              <p:cond delay="1000"/>
                            </p:stCondLst>
                            <p:childTnLst>
                              <p:par>
                                <p:cTn id="261" presetID="10" presetClass="entr" presetSubtype="0" fill="hold" grpId="5" nodeType="afterEffect">
                                  <p:stCondLst>
                                    <p:cond delay="0"/>
                                  </p:stCondLst>
                                  <p:childTnLst>
                                    <p:set>
                                      <p:cBhvr>
                                        <p:cTn id="262" dur="1" fill="hold">
                                          <p:stCondLst>
                                            <p:cond delay="0"/>
                                          </p:stCondLst>
                                        </p:cTn>
                                        <p:tgtEl>
                                          <p:spTgt spid="26"/>
                                        </p:tgtEl>
                                        <p:attrNameLst>
                                          <p:attrName>style.visibility</p:attrName>
                                        </p:attrNameLst>
                                      </p:cBhvr>
                                      <p:to>
                                        <p:strVal val="visible"/>
                                      </p:to>
                                    </p:set>
                                    <p:animEffect transition="in" filter="fade">
                                      <p:cBhvr>
                                        <p:cTn id="263" dur="500"/>
                                        <p:tgtEl>
                                          <p:spTgt spid="26"/>
                                        </p:tgtEl>
                                      </p:cBhvr>
                                    </p:animEffect>
                                  </p:childTnLst>
                                </p:cTn>
                              </p:par>
                              <p:par>
                                <p:cTn id="264" presetID="50" presetClass="path" presetSubtype="0" repeatCount="3000" fill="hold" grpId="0" nodeType="withEffect">
                                  <p:stCondLst>
                                    <p:cond delay="0"/>
                                  </p:stCondLst>
                                  <p:childTnLst>
                                    <p:animMotion origin="layout" path="M -1.45833E-6 -0.00648 L -1.45833E-6 0.00695 C -1.45833E-6 0.01389 -0.00664 0.03195 -0.01536 0.03195 C -0.02943 0.03218 -0.91562 0.03148 -0.93359 0.03148 C -0.9569 0.03056 -0.95469 -0.03194 -0.93568 -0.03171 C -0.79479 -0.03287 -0.17344 -0.03194 -0.01784 -0.03217 C -0.00703 -0.03148 -1.45833E-6 -0.01389 -1.45833E-6 -0.00671 " pathEditMode="relative" rAng="5400000" ptsTypes="AAAAAAA">
                                      <p:cBhvr>
                                        <p:cTn id="265" dur="10000" fill="hold"/>
                                        <p:tgtEl>
                                          <p:spTgt spid="26"/>
                                        </p:tgtEl>
                                        <p:attrNameLst>
                                          <p:attrName>ppt_x</p:attrName>
                                          <p:attrName>ppt_y</p:attrName>
                                        </p:attrNameLst>
                                      </p:cBhvr>
                                      <p:rCtr x="-47513" y="625"/>
                                    </p:animMotion>
                                  </p:childTnLst>
                                </p:cTn>
                              </p:par>
                              <p:par>
                                <p:cTn id="266" presetID="8" presetClass="emph" presetSubtype="0" fill="hold" grpId="1" nodeType="withEffect">
                                  <p:stCondLst>
                                    <p:cond delay="0"/>
                                  </p:stCondLst>
                                  <p:childTnLst>
                                    <p:animRot by="5400000">
                                      <p:cBhvr>
                                        <p:cTn id="267" dur="250" fill="hold"/>
                                        <p:tgtEl>
                                          <p:spTgt spid="26"/>
                                        </p:tgtEl>
                                        <p:attrNameLst>
                                          <p:attrName>r</p:attrName>
                                        </p:attrNameLst>
                                      </p:cBhvr>
                                    </p:animRot>
                                  </p:childTnLst>
                                </p:cTn>
                              </p:par>
                              <p:par>
                                <p:cTn id="268" presetID="8" presetClass="emph" presetSubtype="0" fill="hold" grpId="2" nodeType="withEffect">
                                  <p:stCondLst>
                                    <p:cond delay="4750"/>
                                  </p:stCondLst>
                                  <p:childTnLst>
                                    <p:animRot by="5400000">
                                      <p:cBhvr>
                                        <p:cTn id="269" dur="250" fill="hold"/>
                                        <p:tgtEl>
                                          <p:spTgt spid="26"/>
                                        </p:tgtEl>
                                        <p:attrNameLst>
                                          <p:attrName>r</p:attrName>
                                        </p:attrNameLst>
                                      </p:cBhvr>
                                    </p:animRot>
                                  </p:childTnLst>
                                </p:cTn>
                              </p:par>
                              <p:par>
                                <p:cTn id="270" presetID="8" presetClass="emph" presetSubtype="0" fill="hold" grpId="3" nodeType="withEffect">
                                  <p:stCondLst>
                                    <p:cond delay="5000"/>
                                  </p:stCondLst>
                                  <p:childTnLst>
                                    <p:animRot by="5400000">
                                      <p:cBhvr>
                                        <p:cTn id="271" dur="250" fill="hold"/>
                                        <p:tgtEl>
                                          <p:spTgt spid="26"/>
                                        </p:tgtEl>
                                        <p:attrNameLst>
                                          <p:attrName>r</p:attrName>
                                        </p:attrNameLst>
                                      </p:cBhvr>
                                    </p:animRot>
                                  </p:childTnLst>
                                </p:cTn>
                              </p:par>
                              <p:par>
                                <p:cTn id="272" presetID="8" presetClass="emph" presetSubtype="0" fill="hold" grpId="4" nodeType="withEffect">
                                  <p:stCondLst>
                                    <p:cond delay="9750"/>
                                  </p:stCondLst>
                                  <p:childTnLst>
                                    <p:animRot by="5400000">
                                      <p:cBhvr>
                                        <p:cTn id="273" dur="250" fill="hold"/>
                                        <p:tgtEl>
                                          <p:spTgt spid="26"/>
                                        </p:tgtEl>
                                        <p:attrNameLst>
                                          <p:attrName>r</p:attrName>
                                        </p:attrNameLst>
                                      </p:cBhvr>
                                    </p:animRot>
                                  </p:childTnLst>
                                </p:cTn>
                              </p:par>
                              <p:par>
                                <p:cTn id="274" presetID="8" presetClass="emph" presetSubtype="0" fill="hold" grpId="9" nodeType="withEffect">
                                  <p:stCondLst>
                                    <p:cond delay="10000"/>
                                  </p:stCondLst>
                                  <p:childTnLst>
                                    <p:animRot by="5400000">
                                      <p:cBhvr>
                                        <p:cTn id="275" dur="250" fill="hold"/>
                                        <p:tgtEl>
                                          <p:spTgt spid="26"/>
                                        </p:tgtEl>
                                        <p:attrNameLst>
                                          <p:attrName>r</p:attrName>
                                        </p:attrNameLst>
                                      </p:cBhvr>
                                    </p:animRot>
                                  </p:childTnLst>
                                </p:cTn>
                              </p:par>
                              <p:par>
                                <p:cTn id="276" presetID="8" presetClass="emph" presetSubtype="0" fill="hold" grpId="6" nodeType="withEffect">
                                  <p:stCondLst>
                                    <p:cond delay="14750"/>
                                  </p:stCondLst>
                                  <p:childTnLst>
                                    <p:animRot by="5400000">
                                      <p:cBhvr>
                                        <p:cTn id="277" dur="250" fill="hold"/>
                                        <p:tgtEl>
                                          <p:spTgt spid="26"/>
                                        </p:tgtEl>
                                        <p:attrNameLst>
                                          <p:attrName>r</p:attrName>
                                        </p:attrNameLst>
                                      </p:cBhvr>
                                    </p:animRot>
                                  </p:childTnLst>
                                </p:cTn>
                              </p:par>
                              <p:par>
                                <p:cTn id="278" presetID="8" presetClass="emph" presetSubtype="0" fill="hold" grpId="7" nodeType="withEffect">
                                  <p:stCondLst>
                                    <p:cond delay="15000"/>
                                  </p:stCondLst>
                                  <p:childTnLst>
                                    <p:animRot by="5400000">
                                      <p:cBhvr>
                                        <p:cTn id="279" dur="250" fill="hold"/>
                                        <p:tgtEl>
                                          <p:spTgt spid="26"/>
                                        </p:tgtEl>
                                        <p:attrNameLst>
                                          <p:attrName>r</p:attrName>
                                        </p:attrNameLst>
                                      </p:cBhvr>
                                    </p:animRot>
                                  </p:childTnLst>
                                </p:cTn>
                              </p:par>
                              <p:par>
                                <p:cTn id="280" presetID="8" presetClass="emph" presetSubtype="0" fill="hold" grpId="8" nodeType="withEffect">
                                  <p:stCondLst>
                                    <p:cond delay="19750"/>
                                  </p:stCondLst>
                                  <p:childTnLst>
                                    <p:animRot by="5400000">
                                      <p:cBhvr>
                                        <p:cTn id="281" dur="250" fill="hold"/>
                                        <p:tgtEl>
                                          <p:spTgt spid="26"/>
                                        </p:tgtEl>
                                        <p:attrNameLst>
                                          <p:attrName>r</p:attrName>
                                        </p:attrNameLst>
                                      </p:cBhvr>
                                    </p:animRot>
                                  </p:childTnLst>
                                </p:cTn>
                              </p:par>
                              <p:par>
                                <p:cTn id="282" presetID="8" presetClass="emph" presetSubtype="0" fill="hold" grpId="10" nodeType="withEffect">
                                  <p:stCondLst>
                                    <p:cond delay="20000"/>
                                  </p:stCondLst>
                                  <p:childTnLst>
                                    <p:animRot by="5400000">
                                      <p:cBhvr>
                                        <p:cTn id="283" dur="250" fill="hold"/>
                                        <p:tgtEl>
                                          <p:spTgt spid="26"/>
                                        </p:tgtEl>
                                        <p:attrNameLst>
                                          <p:attrName>r</p:attrName>
                                        </p:attrNameLst>
                                      </p:cBhvr>
                                    </p:animRot>
                                  </p:childTnLst>
                                </p:cTn>
                              </p:par>
                              <p:par>
                                <p:cTn id="284" presetID="8" presetClass="emph" presetSubtype="0" fill="hold" grpId="11" nodeType="withEffect">
                                  <p:stCondLst>
                                    <p:cond delay="24750"/>
                                  </p:stCondLst>
                                  <p:childTnLst>
                                    <p:animRot by="5400000">
                                      <p:cBhvr>
                                        <p:cTn id="285" dur="250" fill="hold"/>
                                        <p:tgtEl>
                                          <p:spTgt spid="26"/>
                                        </p:tgtEl>
                                        <p:attrNameLst>
                                          <p:attrName>r</p:attrName>
                                        </p:attrNameLst>
                                      </p:cBhvr>
                                    </p:animRot>
                                  </p:childTnLst>
                                </p:cTn>
                              </p:par>
                              <p:par>
                                <p:cTn id="286" presetID="8" presetClass="emph" presetSubtype="0" fill="hold" grpId="12" nodeType="withEffect">
                                  <p:stCondLst>
                                    <p:cond delay="25000"/>
                                  </p:stCondLst>
                                  <p:childTnLst>
                                    <p:animRot by="5400000">
                                      <p:cBhvr>
                                        <p:cTn id="287" dur="250" fill="hold"/>
                                        <p:tgtEl>
                                          <p:spTgt spid="26"/>
                                        </p:tgtEl>
                                        <p:attrNameLst>
                                          <p:attrName>r</p:attrName>
                                        </p:attrNameLst>
                                      </p:cBhvr>
                                    </p:animRot>
                                  </p:childTnLst>
                                </p:cTn>
                              </p:par>
                              <p:par>
                                <p:cTn id="288" presetID="8" presetClass="emph" presetSubtype="0" fill="hold" grpId="13" nodeType="withEffect">
                                  <p:stCondLst>
                                    <p:cond delay="29750"/>
                                  </p:stCondLst>
                                  <p:childTnLst>
                                    <p:animRot by="5400000">
                                      <p:cBhvr>
                                        <p:cTn id="289" dur="250" fill="hold"/>
                                        <p:tgtEl>
                                          <p:spTgt spid="26"/>
                                        </p:tgtEl>
                                        <p:attrNameLst>
                                          <p:attrName>r</p:attrName>
                                        </p:attrNameLst>
                                      </p:cBhvr>
                                    </p:animRot>
                                  </p:childTnLst>
                                </p:cTn>
                              </p:par>
                            </p:childTnLst>
                          </p:cTn>
                        </p:par>
                        <p:par>
                          <p:cTn id="290" fill="hold">
                            <p:stCondLst>
                              <p:cond delay="31000"/>
                            </p:stCondLst>
                            <p:childTnLst>
                              <p:par>
                                <p:cTn id="291" presetID="10" presetClass="entr" presetSubtype="0" fill="hold" grpId="0" nodeType="afterEffect">
                                  <p:stCondLst>
                                    <p:cond delay="0"/>
                                  </p:stCondLst>
                                  <p:childTnLst>
                                    <p:set>
                                      <p:cBhvr>
                                        <p:cTn id="292" dur="1" fill="hold">
                                          <p:stCondLst>
                                            <p:cond delay="0"/>
                                          </p:stCondLst>
                                        </p:cTn>
                                        <p:tgtEl>
                                          <p:spTgt spid="368"/>
                                        </p:tgtEl>
                                        <p:attrNameLst>
                                          <p:attrName>style.visibility</p:attrName>
                                        </p:attrNameLst>
                                      </p:cBhvr>
                                      <p:to>
                                        <p:strVal val="visible"/>
                                      </p:to>
                                    </p:set>
                                    <p:animEffect transition="in" filter="fade">
                                      <p:cBhvr>
                                        <p:cTn id="293" dur="500"/>
                                        <p:tgtEl>
                                          <p:spTgt spid="368"/>
                                        </p:tgtEl>
                                      </p:cBhvr>
                                    </p:animEffect>
                                  </p:childTnLst>
                                </p:cTn>
                              </p:par>
                              <p:par>
                                <p:cTn id="294" presetID="10" presetClass="entr" presetSubtype="0" fill="hold" grpId="0" nodeType="withEffect">
                                  <p:stCondLst>
                                    <p:cond delay="0"/>
                                  </p:stCondLst>
                                  <p:childTnLst>
                                    <p:set>
                                      <p:cBhvr>
                                        <p:cTn id="295" dur="1" fill="hold">
                                          <p:stCondLst>
                                            <p:cond delay="0"/>
                                          </p:stCondLst>
                                        </p:cTn>
                                        <p:tgtEl>
                                          <p:spTgt spid="369"/>
                                        </p:tgtEl>
                                        <p:attrNameLst>
                                          <p:attrName>style.visibility</p:attrName>
                                        </p:attrNameLst>
                                      </p:cBhvr>
                                      <p:to>
                                        <p:strVal val="visible"/>
                                      </p:to>
                                    </p:set>
                                    <p:animEffect transition="in" filter="fade">
                                      <p:cBhvr>
                                        <p:cTn id="296" dur="500"/>
                                        <p:tgtEl>
                                          <p:spTgt spid="369"/>
                                        </p:tgtEl>
                                      </p:cBhvr>
                                    </p:animEffect>
                                  </p:childTnLst>
                                </p:cTn>
                              </p:par>
                              <p:par>
                                <p:cTn id="297" presetID="10" presetClass="entr" presetSubtype="0" fill="hold" grpId="0" nodeType="withEffect">
                                  <p:stCondLst>
                                    <p:cond delay="0"/>
                                  </p:stCondLst>
                                  <p:childTnLst>
                                    <p:set>
                                      <p:cBhvr>
                                        <p:cTn id="298" dur="1" fill="hold">
                                          <p:stCondLst>
                                            <p:cond delay="0"/>
                                          </p:stCondLst>
                                        </p:cTn>
                                        <p:tgtEl>
                                          <p:spTgt spid="374"/>
                                        </p:tgtEl>
                                        <p:attrNameLst>
                                          <p:attrName>style.visibility</p:attrName>
                                        </p:attrNameLst>
                                      </p:cBhvr>
                                      <p:to>
                                        <p:strVal val="visible"/>
                                      </p:to>
                                    </p:set>
                                    <p:animEffect transition="in" filter="fade">
                                      <p:cBhvr>
                                        <p:cTn id="299" dur="500"/>
                                        <p:tgtEl>
                                          <p:spTgt spid="37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5" grpId="0" animBg="1"/>
      <p:bldP spid="276" grpId="0" animBg="1"/>
      <p:bldP spid="6" grpId="0" animBg="1"/>
      <p:bldP spid="3" grpId="0"/>
      <p:bldP spid="227" grpId="0"/>
      <p:bldP spid="231" grpId="0" animBg="1"/>
      <p:bldP spid="242" grpId="0" animBg="1"/>
      <p:bldP spid="338" grpId="0"/>
      <p:bldP spid="338" grpId="1"/>
      <p:bldP spid="338" grpId="2"/>
      <p:bldP spid="339" grpId="0"/>
      <p:bldP spid="339" grpId="1"/>
      <p:bldP spid="339" grpId="2"/>
      <p:bldP spid="340" grpId="0"/>
      <p:bldP spid="340" grpId="1"/>
      <p:bldP spid="340" grpId="2"/>
      <p:bldP spid="341" grpId="0"/>
      <p:bldP spid="341" grpId="1"/>
      <p:bldP spid="341" grpId="2"/>
      <p:bldP spid="278" grpId="0"/>
      <p:bldP spid="280" grpId="0" animBg="1"/>
      <p:bldP spid="158" grpId="0"/>
      <p:bldP spid="302" grpId="0"/>
      <p:bldP spid="303" grpId="0" animBg="1"/>
      <p:bldP spid="505" grpId="0"/>
      <p:bldP spid="266" grpId="0" animBg="1"/>
      <p:bldP spid="273" grpId="0" animBg="1"/>
      <p:bldP spid="279" grpId="0" animBg="1"/>
      <p:bldP spid="281" grpId="0" animBg="1"/>
      <p:bldP spid="351" grpId="0" animBg="1"/>
      <p:bldP spid="351" grpId="1" animBg="1"/>
      <p:bldP spid="26" grpId="0" animBg="1"/>
      <p:bldP spid="26" grpId="1" animBg="1"/>
      <p:bldP spid="26" grpId="2" animBg="1"/>
      <p:bldP spid="26" grpId="3" animBg="1"/>
      <p:bldP spid="26" grpId="4" animBg="1"/>
      <p:bldP spid="26" grpId="5" animBg="1"/>
      <p:bldP spid="26" grpId="6" animBg="1"/>
      <p:bldP spid="26" grpId="7" animBg="1"/>
      <p:bldP spid="26" grpId="8" animBg="1"/>
      <p:bldP spid="26" grpId="9" animBg="1"/>
      <p:bldP spid="26" grpId="10" animBg="1"/>
      <p:bldP spid="26" grpId="11" animBg="1"/>
      <p:bldP spid="26" grpId="12" animBg="1"/>
      <p:bldP spid="26" grpId="13" animBg="1"/>
      <p:bldP spid="368" grpId="0" animBg="1"/>
      <p:bldP spid="369" grpId="0" animBg="1"/>
      <p:bldP spid="374" grpId="0" animBg="1"/>
      <p:bldP spid="2" grpId="0" animBg="1"/>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4" name="Rectangle 133">
            <a:extLst>
              <a:ext uri="{FF2B5EF4-FFF2-40B4-BE49-F238E27FC236}">
                <a16:creationId xmlns:a16="http://schemas.microsoft.com/office/drawing/2014/main" id="{ACE86BAA-F2FD-354A-9FD7-EBD4F6294ED7}"/>
              </a:ext>
            </a:extLst>
          </p:cNvPr>
          <p:cNvSpPr/>
          <p:nvPr/>
        </p:nvSpPr>
        <p:spPr>
          <a:xfrm>
            <a:off x="321" y="1071945"/>
            <a:ext cx="9134110" cy="349746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70" tIns="137141" rIns="68570" bIns="68570" numCol="1" spcCol="0" rtlCol="0" fromWordArt="0" anchor="t" anchorCtr="0" forceAA="0" compatLnSpc="1">
            <a:prstTxWarp prst="textNoShape">
              <a:avLst/>
            </a:prstTxWarp>
            <a:noAutofit/>
          </a:bodyPr>
          <a:lstStyle/>
          <a:p>
            <a:pPr algn="ctr" defTabSz="685669">
              <a:defRPr/>
            </a:pPr>
            <a:endParaRPr lang="en-US" sz="2100">
              <a:solidFill>
                <a:srgbClr val="FFFFFF"/>
              </a:solidFill>
              <a:latin typeface="Segoe UI"/>
            </a:endParaRPr>
          </a:p>
        </p:txBody>
      </p:sp>
      <p:sp>
        <p:nvSpPr>
          <p:cNvPr id="131" name="Rectangle 130">
            <a:extLst>
              <a:ext uri="{FF2B5EF4-FFF2-40B4-BE49-F238E27FC236}">
                <a16:creationId xmlns:a16="http://schemas.microsoft.com/office/drawing/2014/main" id="{4F8B510A-94B5-4C19-963A-F054860E8802}"/>
              </a:ext>
            </a:extLst>
          </p:cNvPr>
          <p:cNvSpPr/>
          <p:nvPr/>
        </p:nvSpPr>
        <p:spPr>
          <a:xfrm>
            <a:off x="6357506" y="1572991"/>
            <a:ext cx="999075" cy="28647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70" tIns="68570" rIns="68570" bIns="68570" numCol="1" spcCol="0" rtlCol="0" fromWordArt="0" anchor="ctr" anchorCtr="0" forceAA="0" compatLnSpc="1">
            <a:prstTxWarp prst="textNoShape">
              <a:avLst/>
            </a:prstTxWarp>
            <a:noAutofit/>
          </a:bodyPr>
          <a:lstStyle/>
          <a:p>
            <a:pPr defTabSz="685669">
              <a:defRPr/>
            </a:pPr>
            <a:r>
              <a:rPr lang="en-US" sz="975" b="1">
                <a:solidFill>
                  <a:srgbClr val="3C3C41"/>
                </a:solidFill>
                <a:latin typeface="Segoe UI"/>
              </a:rPr>
              <a:t>Retain</a:t>
            </a:r>
            <a:endParaRPr lang="en-US" sz="975" b="1">
              <a:solidFill>
                <a:srgbClr val="3C3C41"/>
              </a:solidFill>
              <a:latin typeface="Segoe UI"/>
              <a:cs typeface="Segoe UI"/>
            </a:endParaRPr>
          </a:p>
        </p:txBody>
      </p:sp>
      <p:sp>
        <p:nvSpPr>
          <p:cNvPr id="135" name="Rectangle 134">
            <a:extLst>
              <a:ext uri="{FF2B5EF4-FFF2-40B4-BE49-F238E27FC236}">
                <a16:creationId xmlns:a16="http://schemas.microsoft.com/office/drawing/2014/main" id="{8EA54262-5765-4EF9-8003-3D21611820A9}"/>
              </a:ext>
            </a:extLst>
          </p:cNvPr>
          <p:cNvSpPr/>
          <p:nvPr/>
        </p:nvSpPr>
        <p:spPr>
          <a:xfrm>
            <a:off x="4945968" y="3703178"/>
            <a:ext cx="999075" cy="28647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70" tIns="68570" rIns="68570" bIns="68570" numCol="1" spcCol="0" rtlCol="0" fromWordArt="0" anchor="ctr" anchorCtr="0" forceAA="0" compatLnSpc="1">
            <a:prstTxWarp prst="textNoShape">
              <a:avLst/>
            </a:prstTxWarp>
            <a:noAutofit/>
          </a:bodyPr>
          <a:lstStyle/>
          <a:p>
            <a:pPr defTabSz="685669">
              <a:defRPr/>
            </a:pPr>
            <a:r>
              <a:rPr lang="en-US" sz="975" b="1">
                <a:solidFill>
                  <a:srgbClr val="3C3C41"/>
                </a:solidFill>
                <a:latin typeface="Segoe UI"/>
              </a:rPr>
              <a:t>Deliver</a:t>
            </a:r>
            <a:endParaRPr lang="en-US" sz="975" b="1">
              <a:solidFill>
                <a:srgbClr val="3C3C41"/>
              </a:solidFill>
              <a:latin typeface="Segoe UI"/>
              <a:cs typeface="Segoe UI"/>
            </a:endParaRPr>
          </a:p>
        </p:txBody>
      </p:sp>
      <p:sp>
        <p:nvSpPr>
          <p:cNvPr id="139" name="Rectangle 138">
            <a:extLst>
              <a:ext uri="{FF2B5EF4-FFF2-40B4-BE49-F238E27FC236}">
                <a16:creationId xmlns:a16="http://schemas.microsoft.com/office/drawing/2014/main" id="{3E0318FA-1058-4575-A6A0-82BC1906A32E}"/>
              </a:ext>
            </a:extLst>
          </p:cNvPr>
          <p:cNvSpPr/>
          <p:nvPr/>
        </p:nvSpPr>
        <p:spPr>
          <a:xfrm>
            <a:off x="3525432" y="1419566"/>
            <a:ext cx="999075" cy="28647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70" tIns="68570" rIns="68570" bIns="68570" numCol="1" spcCol="0" rtlCol="0" fromWordArt="0" anchor="ctr" anchorCtr="0" forceAA="0" compatLnSpc="1">
            <a:prstTxWarp prst="textNoShape">
              <a:avLst/>
            </a:prstTxWarp>
            <a:noAutofit/>
          </a:bodyPr>
          <a:lstStyle/>
          <a:p>
            <a:pPr defTabSz="685669">
              <a:defRPr/>
            </a:pPr>
            <a:r>
              <a:rPr lang="en-US" sz="975" b="1">
                <a:solidFill>
                  <a:srgbClr val="3C3C41"/>
                </a:solidFill>
                <a:latin typeface="Segoe UI"/>
              </a:rPr>
              <a:t>Use</a:t>
            </a:r>
            <a:endParaRPr lang="en-US" sz="975" b="1">
              <a:solidFill>
                <a:srgbClr val="3C3C41"/>
              </a:solidFill>
              <a:latin typeface="Segoe UI"/>
              <a:cs typeface="Segoe UI"/>
            </a:endParaRPr>
          </a:p>
        </p:txBody>
      </p:sp>
      <p:sp>
        <p:nvSpPr>
          <p:cNvPr id="140" name="Rectangle 139">
            <a:extLst>
              <a:ext uri="{FF2B5EF4-FFF2-40B4-BE49-F238E27FC236}">
                <a16:creationId xmlns:a16="http://schemas.microsoft.com/office/drawing/2014/main" id="{F837C066-BF05-49F7-A476-707D8C13C3E7}"/>
              </a:ext>
            </a:extLst>
          </p:cNvPr>
          <p:cNvSpPr/>
          <p:nvPr/>
        </p:nvSpPr>
        <p:spPr>
          <a:xfrm>
            <a:off x="3439067" y="4083089"/>
            <a:ext cx="999075" cy="28647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70" tIns="68570" rIns="68570" bIns="68570" numCol="1" spcCol="0" rtlCol="0" fromWordArt="0" anchor="ctr" anchorCtr="0" forceAA="0" compatLnSpc="1">
            <a:prstTxWarp prst="textNoShape">
              <a:avLst/>
            </a:prstTxWarp>
            <a:noAutofit/>
          </a:bodyPr>
          <a:lstStyle/>
          <a:p>
            <a:pPr algn="r" defTabSz="685669">
              <a:defRPr/>
            </a:pPr>
            <a:r>
              <a:rPr lang="en-US" sz="975" b="1">
                <a:solidFill>
                  <a:srgbClr val="3C3C41"/>
                </a:solidFill>
                <a:latin typeface="Segoe UI"/>
              </a:rPr>
              <a:t>Buy</a:t>
            </a:r>
            <a:endParaRPr lang="en-US" sz="975" b="1">
              <a:solidFill>
                <a:srgbClr val="3C3C41"/>
              </a:solidFill>
              <a:latin typeface="Segoe UI"/>
              <a:cs typeface="Segoe UI"/>
            </a:endParaRPr>
          </a:p>
        </p:txBody>
      </p:sp>
      <p:sp>
        <p:nvSpPr>
          <p:cNvPr id="141" name="Rectangle 140">
            <a:extLst>
              <a:ext uri="{FF2B5EF4-FFF2-40B4-BE49-F238E27FC236}">
                <a16:creationId xmlns:a16="http://schemas.microsoft.com/office/drawing/2014/main" id="{A064D106-C48A-4F41-915D-BC85734F47E3}"/>
              </a:ext>
            </a:extLst>
          </p:cNvPr>
          <p:cNvSpPr/>
          <p:nvPr/>
        </p:nvSpPr>
        <p:spPr>
          <a:xfrm>
            <a:off x="159225" y="3622636"/>
            <a:ext cx="999075" cy="28647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70" tIns="68570" rIns="68570" bIns="68570" numCol="1" spcCol="0" rtlCol="0" fromWordArt="0" anchor="ctr" anchorCtr="0" forceAA="0" compatLnSpc="1">
            <a:prstTxWarp prst="textNoShape">
              <a:avLst/>
            </a:prstTxWarp>
            <a:noAutofit/>
          </a:bodyPr>
          <a:lstStyle/>
          <a:p>
            <a:pPr defTabSz="685669">
              <a:defRPr/>
            </a:pPr>
            <a:r>
              <a:rPr lang="en-US" sz="975" b="1">
                <a:solidFill>
                  <a:srgbClr val="3C3C41"/>
                </a:solidFill>
                <a:latin typeface="Segoe UI"/>
              </a:rPr>
              <a:t>Explore</a:t>
            </a:r>
            <a:endParaRPr lang="en-US" sz="975" b="1">
              <a:solidFill>
                <a:srgbClr val="3C3C41"/>
              </a:solidFill>
              <a:latin typeface="Segoe UI"/>
              <a:cs typeface="Segoe UI"/>
            </a:endParaRPr>
          </a:p>
        </p:txBody>
      </p:sp>
      <p:sp>
        <p:nvSpPr>
          <p:cNvPr id="143" name="Rectangle 142">
            <a:extLst>
              <a:ext uri="{FF2B5EF4-FFF2-40B4-BE49-F238E27FC236}">
                <a16:creationId xmlns:a16="http://schemas.microsoft.com/office/drawing/2014/main" id="{B0144757-932E-495F-AEAA-0140E627CAEA}"/>
              </a:ext>
            </a:extLst>
          </p:cNvPr>
          <p:cNvSpPr/>
          <p:nvPr/>
        </p:nvSpPr>
        <p:spPr>
          <a:xfrm>
            <a:off x="126954" y="1398697"/>
            <a:ext cx="999075" cy="28647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70" tIns="68570" rIns="68570" bIns="68570" numCol="1" spcCol="0" rtlCol="0" fromWordArt="0" anchor="ctr" anchorCtr="0" forceAA="0" compatLnSpc="1">
            <a:prstTxWarp prst="textNoShape">
              <a:avLst/>
            </a:prstTxWarp>
            <a:noAutofit/>
          </a:bodyPr>
          <a:lstStyle/>
          <a:p>
            <a:pPr defTabSz="685669">
              <a:defRPr/>
            </a:pPr>
            <a:r>
              <a:rPr lang="en-US" sz="975" b="1">
                <a:solidFill>
                  <a:srgbClr val="3C3C41"/>
                </a:solidFill>
                <a:latin typeface="Segoe UI"/>
              </a:rPr>
              <a:t>Discover</a:t>
            </a:r>
            <a:endParaRPr lang="en-US" sz="975" b="1">
              <a:solidFill>
                <a:srgbClr val="3C3C41"/>
              </a:solidFill>
              <a:latin typeface="Segoe UI"/>
              <a:cs typeface="Segoe UI"/>
            </a:endParaRPr>
          </a:p>
        </p:txBody>
      </p:sp>
      <p:graphicFrame>
        <p:nvGraphicFramePr>
          <p:cNvPr id="4" name="Object 3" hidden="1"/>
          <p:cNvGraphicFramePr>
            <a:graphicFrameLocks noChangeAspect="1"/>
          </p:cNvGraphicFramePr>
          <p:nvPr>
            <p:custDataLst>
              <p:tags r:id="rId2"/>
            </p:custDataLst>
          </p:nvPr>
        </p:nvGraphicFramePr>
        <p:xfrm>
          <a:off x="1840" y="1557"/>
          <a:ext cx="1190" cy="1190"/>
        </p:xfrm>
        <a:graphic>
          <a:graphicData uri="http://schemas.openxmlformats.org/presentationml/2006/ole">
            <mc:AlternateContent xmlns:mc="http://schemas.openxmlformats.org/markup-compatibility/2006">
              <mc:Choice xmlns:v="urn:schemas-microsoft-com:vml" Requires="v">
                <p:oleObj spid="_x0000_s3118" name="think-cell Slide" r:id="rId5" imgW="378" imgH="377" progId="TCLayout.ActiveDocument.1">
                  <p:embed/>
                </p:oleObj>
              </mc:Choice>
              <mc:Fallback>
                <p:oleObj name="think-cell Slide" r:id="rId5" imgW="378" imgH="377" progId="TCLayout.ActiveDocument.1">
                  <p:embed/>
                  <p:pic>
                    <p:nvPicPr>
                      <p:cNvPr id="4" name="Object 3" hidden="1"/>
                      <p:cNvPicPr/>
                      <p:nvPr/>
                    </p:nvPicPr>
                    <p:blipFill>
                      <a:blip r:embed="rId6"/>
                      <a:stretch>
                        <a:fillRect/>
                      </a:stretch>
                    </p:blipFill>
                    <p:spPr>
                      <a:xfrm>
                        <a:off x="1840" y="1557"/>
                        <a:ext cx="1190" cy="1190"/>
                      </a:xfrm>
                      <a:prstGeom prst="rect">
                        <a:avLst/>
                      </a:prstGeom>
                    </p:spPr>
                  </p:pic>
                </p:oleObj>
              </mc:Fallback>
            </mc:AlternateContent>
          </a:graphicData>
        </a:graphic>
      </p:graphicFrame>
      <p:sp>
        <p:nvSpPr>
          <p:cNvPr id="137" name="Freeform 136"/>
          <p:cNvSpPr/>
          <p:nvPr/>
        </p:nvSpPr>
        <p:spPr bwMode="auto">
          <a:xfrm>
            <a:off x="202411" y="1476821"/>
            <a:ext cx="8680997" cy="2434630"/>
          </a:xfrm>
          <a:custGeom>
            <a:avLst/>
            <a:gdLst>
              <a:gd name="connsiteX0" fmla="*/ 0 w 12119714"/>
              <a:gd name="connsiteY0" fmla="*/ 1020655 h 3785780"/>
              <a:gd name="connsiteX1" fmla="*/ 1383632 w 12119714"/>
              <a:gd name="connsiteY1" fmla="*/ 118287 h 3785780"/>
              <a:gd name="connsiteX2" fmla="*/ 2442411 w 12119714"/>
              <a:gd name="connsiteY2" fmla="*/ 1513950 h 3785780"/>
              <a:gd name="connsiteX3" fmla="*/ 1130969 w 12119714"/>
              <a:gd name="connsiteY3" fmla="*/ 2536634 h 3785780"/>
              <a:gd name="connsiteX4" fmla="*/ 1143000 w 12119714"/>
              <a:gd name="connsiteY4" fmla="*/ 3523223 h 3785780"/>
              <a:gd name="connsiteX5" fmla="*/ 3164306 w 12119714"/>
              <a:gd name="connsiteY5" fmla="*/ 3330718 h 3785780"/>
              <a:gd name="connsiteX6" fmla="*/ 4030579 w 12119714"/>
              <a:gd name="connsiteY6" fmla="*/ 1213160 h 3785780"/>
              <a:gd name="connsiteX7" fmla="*/ 4896853 w 12119714"/>
              <a:gd name="connsiteY7" fmla="*/ 70160 h 3785780"/>
              <a:gd name="connsiteX8" fmla="*/ 6388769 w 12119714"/>
              <a:gd name="connsiteY8" fmla="*/ 743929 h 3785780"/>
              <a:gd name="connsiteX9" fmla="*/ 7279106 w 12119714"/>
              <a:gd name="connsiteY9" fmla="*/ 1104876 h 3785780"/>
              <a:gd name="connsiteX10" fmla="*/ 8446169 w 12119714"/>
              <a:gd name="connsiteY10" fmla="*/ 142350 h 3785780"/>
              <a:gd name="connsiteX11" fmla="*/ 11105148 w 12119714"/>
              <a:gd name="connsiteY11" fmla="*/ 214539 h 3785780"/>
              <a:gd name="connsiteX12" fmla="*/ 11694695 w 12119714"/>
              <a:gd name="connsiteY12" fmla="*/ 2103497 h 3785780"/>
              <a:gd name="connsiteX13" fmla="*/ 9745579 w 12119714"/>
              <a:gd name="connsiteY13" fmla="*/ 1826771 h 3785780"/>
              <a:gd name="connsiteX14" fmla="*/ 6605337 w 12119714"/>
              <a:gd name="connsiteY14" fmla="*/ 1778644 h 3785780"/>
              <a:gd name="connsiteX15" fmla="*/ 4632158 w 12119714"/>
              <a:gd name="connsiteY15" fmla="*/ 2067402 h 3785780"/>
              <a:gd name="connsiteX16" fmla="*/ 4307306 w 12119714"/>
              <a:gd name="connsiteY16" fmla="*/ 3571350 h 3785780"/>
              <a:gd name="connsiteX17" fmla="*/ 5305927 w 12119714"/>
              <a:gd name="connsiteY17" fmla="*/ 3643539 h 3785780"/>
              <a:gd name="connsiteX18" fmla="*/ 6424863 w 12119714"/>
              <a:gd name="connsiteY18" fmla="*/ 2320065 h 3785780"/>
              <a:gd name="connsiteX19" fmla="*/ 8698832 w 12119714"/>
              <a:gd name="connsiteY19" fmla="*/ 3330718 h 3785780"/>
              <a:gd name="connsiteX20" fmla="*/ 11670632 w 12119714"/>
              <a:gd name="connsiteY20" fmla="*/ 3174308 h 3785780"/>
              <a:gd name="connsiteX21" fmla="*/ 12055642 w 12119714"/>
              <a:gd name="connsiteY21" fmla="*/ 3174308 h 3785780"/>
              <a:gd name="connsiteX0" fmla="*/ 0 w 12119714"/>
              <a:gd name="connsiteY0" fmla="*/ 1020655 h 3785780"/>
              <a:gd name="connsiteX1" fmla="*/ 1383632 w 12119714"/>
              <a:gd name="connsiteY1" fmla="*/ 118287 h 3785780"/>
              <a:gd name="connsiteX2" fmla="*/ 2442411 w 12119714"/>
              <a:gd name="connsiteY2" fmla="*/ 1513950 h 3785780"/>
              <a:gd name="connsiteX3" fmla="*/ 1130969 w 12119714"/>
              <a:gd name="connsiteY3" fmla="*/ 2536634 h 3785780"/>
              <a:gd name="connsiteX4" fmla="*/ 1143000 w 12119714"/>
              <a:gd name="connsiteY4" fmla="*/ 3523223 h 3785780"/>
              <a:gd name="connsiteX5" fmla="*/ 3164306 w 12119714"/>
              <a:gd name="connsiteY5" fmla="*/ 3330718 h 3785780"/>
              <a:gd name="connsiteX6" fmla="*/ 4030579 w 12119714"/>
              <a:gd name="connsiteY6" fmla="*/ 1213160 h 3785780"/>
              <a:gd name="connsiteX7" fmla="*/ 4896853 w 12119714"/>
              <a:gd name="connsiteY7" fmla="*/ 70160 h 3785780"/>
              <a:gd name="connsiteX8" fmla="*/ 6388769 w 12119714"/>
              <a:gd name="connsiteY8" fmla="*/ 743929 h 3785780"/>
              <a:gd name="connsiteX9" fmla="*/ 7279106 w 12119714"/>
              <a:gd name="connsiteY9" fmla="*/ 1104876 h 3785780"/>
              <a:gd name="connsiteX10" fmla="*/ 8446169 w 12119714"/>
              <a:gd name="connsiteY10" fmla="*/ 142350 h 3785780"/>
              <a:gd name="connsiteX11" fmla="*/ 11105148 w 12119714"/>
              <a:gd name="connsiteY11" fmla="*/ 214539 h 3785780"/>
              <a:gd name="connsiteX12" fmla="*/ 11694695 w 12119714"/>
              <a:gd name="connsiteY12" fmla="*/ 2103497 h 3785780"/>
              <a:gd name="connsiteX13" fmla="*/ 9745579 w 12119714"/>
              <a:gd name="connsiteY13" fmla="*/ 1826771 h 3785780"/>
              <a:gd name="connsiteX14" fmla="*/ 6605337 w 12119714"/>
              <a:gd name="connsiteY14" fmla="*/ 1778644 h 3785780"/>
              <a:gd name="connsiteX15" fmla="*/ 4632158 w 12119714"/>
              <a:gd name="connsiteY15" fmla="*/ 2067402 h 3785780"/>
              <a:gd name="connsiteX16" fmla="*/ 4307306 w 12119714"/>
              <a:gd name="connsiteY16" fmla="*/ 3571350 h 3785780"/>
              <a:gd name="connsiteX17" fmla="*/ 5305927 w 12119714"/>
              <a:gd name="connsiteY17" fmla="*/ 3643539 h 3785780"/>
              <a:gd name="connsiteX18" fmla="*/ 6424863 w 12119714"/>
              <a:gd name="connsiteY18" fmla="*/ 2320065 h 3785780"/>
              <a:gd name="connsiteX19" fmla="*/ 8698832 w 12119714"/>
              <a:gd name="connsiteY19" fmla="*/ 3330718 h 3785780"/>
              <a:gd name="connsiteX20" fmla="*/ 11670632 w 12119714"/>
              <a:gd name="connsiteY20" fmla="*/ 3174308 h 3785780"/>
              <a:gd name="connsiteX21" fmla="*/ 12055642 w 12119714"/>
              <a:gd name="connsiteY21" fmla="*/ 3174308 h 3785780"/>
              <a:gd name="connsiteX0" fmla="*/ 0 w 12119714"/>
              <a:gd name="connsiteY0" fmla="*/ 1020655 h 3785780"/>
              <a:gd name="connsiteX1" fmla="*/ 1383632 w 12119714"/>
              <a:gd name="connsiteY1" fmla="*/ 118287 h 3785780"/>
              <a:gd name="connsiteX2" fmla="*/ 2442411 w 12119714"/>
              <a:gd name="connsiteY2" fmla="*/ 1513950 h 3785780"/>
              <a:gd name="connsiteX3" fmla="*/ 1130969 w 12119714"/>
              <a:gd name="connsiteY3" fmla="*/ 2536634 h 3785780"/>
              <a:gd name="connsiteX4" fmla="*/ 1143000 w 12119714"/>
              <a:gd name="connsiteY4" fmla="*/ 3523223 h 3785780"/>
              <a:gd name="connsiteX5" fmla="*/ 3164306 w 12119714"/>
              <a:gd name="connsiteY5" fmla="*/ 3330718 h 3785780"/>
              <a:gd name="connsiteX6" fmla="*/ 4030579 w 12119714"/>
              <a:gd name="connsiteY6" fmla="*/ 1213160 h 3785780"/>
              <a:gd name="connsiteX7" fmla="*/ 4896853 w 12119714"/>
              <a:gd name="connsiteY7" fmla="*/ 70160 h 3785780"/>
              <a:gd name="connsiteX8" fmla="*/ 7279106 w 12119714"/>
              <a:gd name="connsiteY8" fmla="*/ 1104876 h 3785780"/>
              <a:gd name="connsiteX9" fmla="*/ 8446169 w 12119714"/>
              <a:gd name="connsiteY9" fmla="*/ 142350 h 3785780"/>
              <a:gd name="connsiteX10" fmla="*/ 11105148 w 12119714"/>
              <a:gd name="connsiteY10" fmla="*/ 214539 h 3785780"/>
              <a:gd name="connsiteX11" fmla="*/ 11694695 w 12119714"/>
              <a:gd name="connsiteY11" fmla="*/ 2103497 h 3785780"/>
              <a:gd name="connsiteX12" fmla="*/ 9745579 w 12119714"/>
              <a:gd name="connsiteY12" fmla="*/ 1826771 h 3785780"/>
              <a:gd name="connsiteX13" fmla="*/ 6605337 w 12119714"/>
              <a:gd name="connsiteY13" fmla="*/ 1778644 h 3785780"/>
              <a:gd name="connsiteX14" fmla="*/ 4632158 w 12119714"/>
              <a:gd name="connsiteY14" fmla="*/ 2067402 h 3785780"/>
              <a:gd name="connsiteX15" fmla="*/ 4307306 w 12119714"/>
              <a:gd name="connsiteY15" fmla="*/ 3571350 h 3785780"/>
              <a:gd name="connsiteX16" fmla="*/ 5305927 w 12119714"/>
              <a:gd name="connsiteY16" fmla="*/ 3643539 h 3785780"/>
              <a:gd name="connsiteX17" fmla="*/ 6424863 w 12119714"/>
              <a:gd name="connsiteY17" fmla="*/ 2320065 h 3785780"/>
              <a:gd name="connsiteX18" fmla="*/ 8698832 w 12119714"/>
              <a:gd name="connsiteY18" fmla="*/ 3330718 h 3785780"/>
              <a:gd name="connsiteX19" fmla="*/ 11670632 w 12119714"/>
              <a:gd name="connsiteY19" fmla="*/ 3174308 h 3785780"/>
              <a:gd name="connsiteX20" fmla="*/ 12055642 w 12119714"/>
              <a:gd name="connsiteY20" fmla="*/ 3174308 h 3785780"/>
              <a:gd name="connsiteX0" fmla="*/ 0 w 12119714"/>
              <a:gd name="connsiteY0" fmla="*/ 1020655 h 3785780"/>
              <a:gd name="connsiteX1" fmla="*/ 1383632 w 12119714"/>
              <a:gd name="connsiteY1" fmla="*/ 118287 h 3785780"/>
              <a:gd name="connsiteX2" fmla="*/ 2442411 w 12119714"/>
              <a:gd name="connsiteY2" fmla="*/ 1513950 h 3785780"/>
              <a:gd name="connsiteX3" fmla="*/ 1130969 w 12119714"/>
              <a:gd name="connsiteY3" fmla="*/ 2536634 h 3785780"/>
              <a:gd name="connsiteX4" fmla="*/ 1143000 w 12119714"/>
              <a:gd name="connsiteY4" fmla="*/ 3523223 h 3785780"/>
              <a:gd name="connsiteX5" fmla="*/ 3164306 w 12119714"/>
              <a:gd name="connsiteY5" fmla="*/ 3330718 h 3785780"/>
              <a:gd name="connsiteX6" fmla="*/ 4030579 w 12119714"/>
              <a:gd name="connsiteY6" fmla="*/ 1213160 h 3785780"/>
              <a:gd name="connsiteX7" fmla="*/ 4896853 w 12119714"/>
              <a:gd name="connsiteY7" fmla="*/ 70160 h 3785780"/>
              <a:gd name="connsiteX8" fmla="*/ 7279106 w 12119714"/>
              <a:gd name="connsiteY8" fmla="*/ 1104876 h 3785780"/>
              <a:gd name="connsiteX9" fmla="*/ 8446169 w 12119714"/>
              <a:gd name="connsiteY9" fmla="*/ 142350 h 3785780"/>
              <a:gd name="connsiteX10" fmla="*/ 11105148 w 12119714"/>
              <a:gd name="connsiteY10" fmla="*/ 214539 h 3785780"/>
              <a:gd name="connsiteX11" fmla="*/ 11694695 w 12119714"/>
              <a:gd name="connsiteY11" fmla="*/ 2103497 h 3785780"/>
              <a:gd name="connsiteX12" fmla="*/ 9745579 w 12119714"/>
              <a:gd name="connsiteY12" fmla="*/ 1826771 h 3785780"/>
              <a:gd name="connsiteX13" fmla="*/ 6605337 w 12119714"/>
              <a:gd name="connsiteY13" fmla="*/ 1778644 h 3785780"/>
              <a:gd name="connsiteX14" fmla="*/ 4632158 w 12119714"/>
              <a:gd name="connsiteY14" fmla="*/ 2067402 h 3785780"/>
              <a:gd name="connsiteX15" fmla="*/ 4307306 w 12119714"/>
              <a:gd name="connsiteY15" fmla="*/ 3571350 h 3785780"/>
              <a:gd name="connsiteX16" fmla="*/ 5305927 w 12119714"/>
              <a:gd name="connsiteY16" fmla="*/ 3643539 h 3785780"/>
              <a:gd name="connsiteX17" fmla="*/ 6424863 w 12119714"/>
              <a:gd name="connsiteY17" fmla="*/ 2320065 h 3785780"/>
              <a:gd name="connsiteX18" fmla="*/ 8698832 w 12119714"/>
              <a:gd name="connsiteY18" fmla="*/ 3330718 h 3785780"/>
              <a:gd name="connsiteX19" fmla="*/ 11670632 w 12119714"/>
              <a:gd name="connsiteY19" fmla="*/ 3174308 h 3785780"/>
              <a:gd name="connsiteX20" fmla="*/ 12055642 w 12119714"/>
              <a:gd name="connsiteY20" fmla="*/ 3174308 h 3785780"/>
              <a:gd name="connsiteX0" fmla="*/ 0 w 12119714"/>
              <a:gd name="connsiteY0" fmla="*/ 950730 h 3715855"/>
              <a:gd name="connsiteX1" fmla="*/ 1383632 w 12119714"/>
              <a:gd name="connsiteY1" fmla="*/ 48362 h 3715855"/>
              <a:gd name="connsiteX2" fmla="*/ 2442411 w 12119714"/>
              <a:gd name="connsiteY2" fmla="*/ 1444025 h 3715855"/>
              <a:gd name="connsiteX3" fmla="*/ 1130969 w 12119714"/>
              <a:gd name="connsiteY3" fmla="*/ 2466709 h 3715855"/>
              <a:gd name="connsiteX4" fmla="*/ 1143000 w 12119714"/>
              <a:gd name="connsiteY4" fmla="*/ 3453298 h 3715855"/>
              <a:gd name="connsiteX5" fmla="*/ 3164306 w 12119714"/>
              <a:gd name="connsiteY5" fmla="*/ 3260793 h 3715855"/>
              <a:gd name="connsiteX6" fmla="*/ 4030579 w 12119714"/>
              <a:gd name="connsiteY6" fmla="*/ 1143235 h 3715855"/>
              <a:gd name="connsiteX7" fmla="*/ 4896853 w 12119714"/>
              <a:gd name="connsiteY7" fmla="*/ 235 h 3715855"/>
              <a:gd name="connsiteX8" fmla="*/ 7279106 w 12119714"/>
              <a:gd name="connsiteY8" fmla="*/ 1034951 h 3715855"/>
              <a:gd name="connsiteX9" fmla="*/ 11105148 w 12119714"/>
              <a:gd name="connsiteY9" fmla="*/ 144614 h 3715855"/>
              <a:gd name="connsiteX10" fmla="*/ 11694695 w 12119714"/>
              <a:gd name="connsiteY10" fmla="*/ 2033572 h 3715855"/>
              <a:gd name="connsiteX11" fmla="*/ 9745579 w 12119714"/>
              <a:gd name="connsiteY11" fmla="*/ 1756846 h 3715855"/>
              <a:gd name="connsiteX12" fmla="*/ 6605337 w 12119714"/>
              <a:gd name="connsiteY12" fmla="*/ 1708719 h 3715855"/>
              <a:gd name="connsiteX13" fmla="*/ 4632158 w 12119714"/>
              <a:gd name="connsiteY13" fmla="*/ 1997477 h 3715855"/>
              <a:gd name="connsiteX14" fmla="*/ 4307306 w 12119714"/>
              <a:gd name="connsiteY14" fmla="*/ 3501425 h 3715855"/>
              <a:gd name="connsiteX15" fmla="*/ 5305927 w 12119714"/>
              <a:gd name="connsiteY15" fmla="*/ 3573614 h 3715855"/>
              <a:gd name="connsiteX16" fmla="*/ 6424863 w 12119714"/>
              <a:gd name="connsiteY16" fmla="*/ 2250140 h 3715855"/>
              <a:gd name="connsiteX17" fmla="*/ 8698832 w 12119714"/>
              <a:gd name="connsiteY17" fmla="*/ 3260793 h 3715855"/>
              <a:gd name="connsiteX18" fmla="*/ 11670632 w 12119714"/>
              <a:gd name="connsiteY18" fmla="*/ 3104383 h 3715855"/>
              <a:gd name="connsiteX19" fmla="*/ 12055642 w 12119714"/>
              <a:gd name="connsiteY19" fmla="*/ 3104383 h 3715855"/>
              <a:gd name="connsiteX0" fmla="*/ 0 w 12119714"/>
              <a:gd name="connsiteY0" fmla="*/ 950730 h 3715855"/>
              <a:gd name="connsiteX1" fmla="*/ 1383632 w 12119714"/>
              <a:gd name="connsiteY1" fmla="*/ 48362 h 3715855"/>
              <a:gd name="connsiteX2" fmla="*/ 2442411 w 12119714"/>
              <a:gd name="connsiteY2" fmla="*/ 1444025 h 3715855"/>
              <a:gd name="connsiteX3" fmla="*/ 1130969 w 12119714"/>
              <a:gd name="connsiteY3" fmla="*/ 2466709 h 3715855"/>
              <a:gd name="connsiteX4" fmla="*/ 1143000 w 12119714"/>
              <a:gd name="connsiteY4" fmla="*/ 3453298 h 3715855"/>
              <a:gd name="connsiteX5" fmla="*/ 3164306 w 12119714"/>
              <a:gd name="connsiteY5" fmla="*/ 3260793 h 3715855"/>
              <a:gd name="connsiteX6" fmla="*/ 4030579 w 12119714"/>
              <a:gd name="connsiteY6" fmla="*/ 1143235 h 3715855"/>
              <a:gd name="connsiteX7" fmla="*/ 4896853 w 12119714"/>
              <a:gd name="connsiteY7" fmla="*/ 235 h 3715855"/>
              <a:gd name="connsiteX8" fmla="*/ 7279106 w 12119714"/>
              <a:gd name="connsiteY8" fmla="*/ 1034951 h 3715855"/>
              <a:gd name="connsiteX9" fmla="*/ 11105148 w 12119714"/>
              <a:gd name="connsiteY9" fmla="*/ 144614 h 3715855"/>
              <a:gd name="connsiteX10" fmla="*/ 11694695 w 12119714"/>
              <a:gd name="connsiteY10" fmla="*/ 2033572 h 3715855"/>
              <a:gd name="connsiteX11" fmla="*/ 9745579 w 12119714"/>
              <a:gd name="connsiteY11" fmla="*/ 1756846 h 3715855"/>
              <a:gd name="connsiteX12" fmla="*/ 6605337 w 12119714"/>
              <a:gd name="connsiteY12" fmla="*/ 1708719 h 3715855"/>
              <a:gd name="connsiteX13" fmla="*/ 4632158 w 12119714"/>
              <a:gd name="connsiteY13" fmla="*/ 1997477 h 3715855"/>
              <a:gd name="connsiteX14" fmla="*/ 4307306 w 12119714"/>
              <a:gd name="connsiteY14" fmla="*/ 3501425 h 3715855"/>
              <a:gd name="connsiteX15" fmla="*/ 5305927 w 12119714"/>
              <a:gd name="connsiteY15" fmla="*/ 3573614 h 3715855"/>
              <a:gd name="connsiteX16" fmla="*/ 6424863 w 12119714"/>
              <a:gd name="connsiteY16" fmla="*/ 2250140 h 3715855"/>
              <a:gd name="connsiteX17" fmla="*/ 8698832 w 12119714"/>
              <a:gd name="connsiteY17" fmla="*/ 3260793 h 3715855"/>
              <a:gd name="connsiteX18" fmla="*/ 11670632 w 12119714"/>
              <a:gd name="connsiteY18" fmla="*/ 3104383 h 3715855"/>
              <a:gd name="connsiteX19" fmla="*/ 12055642 w 12119714"/>
              <a:gd name="connsiteY19" fmla="*/ 3104383 h 3715855"/>
              <a:gd name="connsiteX0" fmla="*/ 0 w 12119714"/>
              <a:gd name="connsiteY0" fmla="*/ 1108674 h 3873799"/>
              <a:gd name="connsiteX1" fmla="*/ 1383632 w 12119714"/>
              <a:gd name="connsiteY1" fmla="*/ 206306 h 3873799"/>
              <a:gd name="connsiteX2" fmla="*/ 2442411 w 12119714"/>
              <a:gd name="connsiteY2" fmla="*/ 1601969 h 3873799"/>
              <a:gd name="connsiteX3" fmla="*/ 1130969 w 12119714"/>
              <a:gd name="connsiteY3" fmla="*/ 2624653 h 3873799"/>
              <a:gd name="connsiteX4" fmla="*/ 1143000 w 12119714"/>
              <a:gd name="connsiteY4" fmla="*/ 3611242 h 3873799"/>
              <a:gd name="connsiteX5" fmla="*/ 3164306 w 12119714"/>
              <a:gd name="connsiteY5" fmla="*/ 3418737 h 3873799"/>
              <a:gd name="connsiteX6" fmla="*/ 4030579 w 12119714"/>
              <a:gd name="connsiteY6" fmla="*/ 1301179 h 3873799"/>
              <a:gd name="connsiteX7" fmla="*/ 4896853 w 12119714"/>
              <a:gd name="connsiteY7" fmla="*/ 158179 h 3873799"/>
              <a:gd name="connsiteX8" fmla="*/ 7279106 w 12119714"/>
              <a:gd name="connsiteY8" fmla="*/ 1192895 h 3873799"/>
              <a:gd name="connsiteX9" fmla="*/ 10323095 w 12119714"/>
              <a:gd name="connsiteY9" fmla="*/ 49894 h 3873799"/>
              <a:gd name="connsiteX10" fmla="*/ 11694695 w 12119714"/>
              <a:gd name="connsiteY10" fmla="*/ 2191516 h 3873799"/>
              <a:gd name="connsiteX11" fmla="*/ 9745579 w 12119714"/>
              <a:gd name="connsiteY11" fmla="*/ 1914790 h 3873799"/>
              <a:gd name="connsiteX12" fmla="*/ 6605337 w 12119714"/>
              <a:gd name="connsiteY12" fmla="*/ 1866663 h 3873799"/>
              <a:gd name="connsiteX13" fmla="*/ 4632158 w 12119714"/>
              <a:gd name="connsiteY13" fmla="*/ 2155421 h 3873799"/>
              <a:gd name="connsiteX14" fmla="*/ 4307306 w 12119714"/>
              <a:gd name="connsiteY14" fmla="*/ 3659369 h 3873799"/>
              <a:gd name="connsiteX15" fmla="*/ 5305927 w 12119714"/>
              <a:gd name="connsiteY15" fmla="*/ 3731558 h 3873799"/>
              <a:gd name="connsiteX16" fmla="*/ 6424863 w 12119714"/>
              <a:gd name="connsiteY16" fmla="*/ 2408084 h 3873799"/>
              <a:gd name="connsiteX17" fmla="*/ 8698832 w 12119714"/>
              <a:gd name="connsiteY17" fmla="*/ 3418737 h 3873799"/>
              <a:gd name="connsiteX18" fmla="*/ 11670632 w 12119714"/>
              <a:gd name="connsiteY18" fmla="*/ 3262327 h 3873799"/>
              <a:gd name="connsiteX19" fmla="*/ 12055642 w 12119714"/>
              <a:gd name="connsiteY19" fmla="*/ 3262327 h 3873799"/>
              <a:gd name="connsiteX0" fmla="*/ 0 w 12119714"/>
              <a:gd name="connsiteY0" fmla="*/ 1124285 h 3889410"/>
              <a:gd name="connsiteX1" fmla="*/ 1383632 w 12119714"/>
              <a:gd name="connsiteY1" fmla="*/ 221917 h 3889410"/>
              <a:gd name="connsiteX2" fmla="*/ 2442411 w 12119714"/>
              <a:gd name="connsiteY2" fmla="*/ 1617580 h 3889410"/>
              <a:gd name="connsiteX3" fmla="*/ 1130969 w 12119714"/>
              <a:gd name="connsiteY3" fmla="*/ 2640264 h 3889410"/>
              <a:gd name="connsiteX4" fmla="*/ 1143000 w 12119714"/>
              <a:gd name="connsiteY4" fmla="*/ 3626853 h 3889410"/>
              <a:gd name="connsiteX5" fmla="*/ 3164306 w 12119714"/>
              <a:gd name="connsiteY5" fmla="*/ 3434348 h 3889410"/>
              <a:gd name="connsiteX6" fmla="*/ 4030579 w 12119714"/>
              <a:gd name="connsiteY6" fmla="*/ 1316790 h 3889410"/>
              <a:gd name="connsiteX7" fmla="*/ 4896853 w 12119714"/>
              <a:gd name="connsiteY7" fmla="*/ 173790 h 3889410"/>
              <a:gd name="connsiteX8" fmla="*/ 7279106 w 12119714"/>
              <a:gd name="connsiteY8" fmla="*/ 1208506 h 3889410"/>
              <a:gd name="connsiteX9" fmla="*/ 10323095 w 12119714"/>
              <a:gd name="connsiteY9" fmla="*/ 65505 h 3889410"/>
              <a:gd name="connsiteX10" fmla="*/ 11694695 w 12119714"/>
              <a:gd name="connsiteY10" fmla="*/ 2207127 h 3889410"/>
              <a:gd name="connsiteX11" fmla="*/ 9745579 w 12119714"/>
              <a:gd name="connsiteY11" fmla="*/ 1930401 h 3889410"/>
              <a:gd name="connsiteX12" fmla="*/ 6605337 w 12119714"/>
              <a:gd name="connsiteY12" fmla="*/ 1882274 h 3889410"/>
              <a:gd name="connsiteX13" fmla="*/ 4632158 w 12119714"/>
              <a:gd name="connsiteY13" fmla="*/ 2171032 h 3889410"/>
              <a:gd name="connsiteX14" fmla="*/ 4307306 w 12119714"/>
              <a:gd name="connsiteY14" fmla="*/ 3674980 h 3889410"/>
              <a:gd name="connsiteX15" fmla="*/ 5305927 w 12119714"/>
              <a:gd name="connsiteY15" fmla="*/ 3747169 h 3889410"/>
              <a:gd name="connsiteX16" fmla="*/ 6424863 w 12119714"/>
              <a:gd name="connsiteY16" fmla="*/ 2423695 h 3889410"/>
              <a:gd name="connsiteX17" fmla="*/ 8698832 w 12119714"/>
              <a:gd name="connsiteY17" fmla="*/ 3434348 h 3889410"/>
              <a:gd name="connsiteX18" fmla="*/ 11670632 w 12119714"/>
              <a:gd name="connsiteY18" fmla="*/ 3277938 h 3889410"/>
              <a:gd name="connsiteX19" fmla="*/ 12055642 w 12119714"/>
              <a:gd name="connsiteY19" fmla="*/ 3277938 h 3889410"/>
              <a:gd name="connsiteX0" fmla="*/ 0 w 12119714"/>
              <a:gd name="connsiteY0" fmla="*/ 1124285 h 3889410"/>
              <a:gd name="connsiteX1" fmla="*/ 1383632 w 12119714"/>
              <a:gd name="connsiteY1" fmla="*/ 221917 h 3889410"/>
              <a:gd name="connsiteX2" fmla="*/ 2442411 w 12119714"/>
              <a:gd name="connsiteY2" fmla="*/ 1617580 h 3889410"/>
              <a:gd name="connsiteX3" fmla="*/ 1130969 w 12119714"/>
              <a:gd name="connsiteY3" fmla="*/ 2640264 h 3889410"/>
              <a:gd name="connsiteX4" fmla="*/ 1143000 w 12119714"/>
              <a:gd name="connsiteY4" fmla="*/ 3626853 h 3889410"/>
              <a:gd name="connsiteX5" fmla="*/ 3164306 w 12119714"/>
              <a:gd name="connsiteY5" fmla="*/ 3434348 h 3889410"/>
              <a:gd name="connsiteX6" fmla="*/ 4030579 w 12119714"/>
              <a:gd name="connsiteY6" fmla="*/ 1316790 h 3889410"/>
              <a:gd name="connsiteX7" fmla="*/ 4896853 w 12119714"/>
              <a:gd name="connsiteY7" fmla="*/ 173790 h 3889410"/>
              <a:gd name="connsiteX8" fmla="*/ 7279106 w 12119714"/>
              <a:gd name="connsiteY8" fmla="*/ 1208506 h 3889410"/>
              <a:gd name="connsiteX9" fmla="*/ 10323095 w 12119714"/>
              <a:gd name="connsiteY9" fmla="*/ 65505 h 3889410"/>
              <a:gd name="connsiteX10" fmla="*/ 11694695 w 12119714"/>
              <a:gd name="connsiteY10" fmla="*/ 2207127 h 3889410"/>
              <a:gd name="connsiteX11" fmla="*/ 9468853 w 12119714"/>
              <a:gd name="connsiteY11" fmla="*/ 1425075 h 3889410"/>
              <a:gd name="connsiteX12" fmla="*/ 6605337 w 12119714"/>
              <a:gd name="connsiteY12" fmla="*/ 1882274 h 3889410"/>
              <a:gd name="connsiteX13" fmla="*/ 4632158 w 12119714"/>
              <a:gd name="connsiteY13" fmla="*/ 2171032 h 3889410"/>
              <a:gd name="connsiteX14" fmla="*/ 4307306 w 12119714"/>
              <a:gd name="connsiteY14" fmla="*/ 3674980 h 3889410"/>
              <a:gd name="connsiteX15" fmla="*/ 5305927 w 12119714"/>
              <a:gd name="connsiteY15" fmla="*/ 3747169 h 3889410"/>
              <a:gd name="connsiteX16" fmla="*/ 6424863 w 12119714"/>
              <a:gd name="connsiteY16" fmla="*/ 2423695 h 3889410"/>
              <a:gd name="connsiteX17" fmla="*/ 8698832 w 12119714"/>
              <a:gd name="connsiteY17" fmla="*/ 3434348 h 3889410"/>
              <a:gd name="connsiteX18" fmla="*/ 11670632 w 12119714"/>
              <a:gd name="connsiteY18" fmla="*/ 3277938 h 3889410"/>
              <a:gd name="connsiteX19" fmla="*/ 12055642 w 12119714"/>
              <a:gd name="connsiteY19" fmla="*/ 3277938 h 3889410"/>
              <a:gd name="connsiteX0" fmla="*/ 0 w 12119714"/>
              <a:gd name="connsiteY0" fmla="*/ 1124285 h 3889410"/>
              <a:gd name="connsiteX1" fmla="*/ 1383632 w 12119714"/>
              <a:gd name="connsiteY1" fmla="*/ 221917 h 3889410"/>
              <a:gd name="connsiteX2" fmla="*/ 2442411 w 12119714"/>
              <a:gd name="connsiteY2" fmla="*/ 1617580 h 3889410"/>
              <a:gd name="connsiteX3" fmla="*/ 1130969 w 12119714"/>
              <a:gd name="connsiteY3" fmla="*/ 2640264 h 3889410"/>
              <a:gd name="connsiteX4" fmla="*/ 1143000 w 12119714"/>
              <a:gd name="connsiteY4" fmla="*/ 3626853 h 3889410"/>
              <a:gd name="connsiteX5" fmla="*/ 3164306 w 12119714"/>
              <a:gd name="connsiteY5" fmla="*/ 3434348 h 3889410"/>
              <a:gd name="connsiteX6" fmla="*/ 4030579 w 12119714"/>
              <a:gd name="connsiteY6" fmla="*/ 1316790 h 3889410"/>
              <a:gd name="connsiteX7" fmla="*/ 4896853 w 12119714"/>
              <a:gd name="connsiteY7" fmla="*/ 173790 h 3889410"/>
              <a:gd name="connsiteX8" fmla="*/ 7279106 w 12119714"/>
              <a:gd name="connsiteY8" fmla="*/ 1208506 h 3889410"/>
              <a:gd name="connsiteX9" fmla="*/ 10323095 w 12119714"/>
              <a:gd name="connsiteY9" fmla="*/ 65505 h 3889410"/>
              <a:gd name="connsiteX10" fmla="*/ 11694695 w 12119714"/>
              <a:gd name="connsiteY10" fmla="*/ 2207127 h 3889410"/>
              <a:gd name="connsiteX11" fmla="*/ 9468853 w 12119714"/>
              <a:gd name="connsiteY11" fmla="*/ 1425075 h 3889410"/>
              <a:gd name="connsiteX12" fmla="*/ 6605337 w 12119714"/>
              <a:gd name="connsiteY12" fmla="*/ 1882274 h 3889410"/>
              <a:gd name="connsiteX13" fmla="*/ 4632158 w 12119714"/>
              <a:gd name="connsiteY13" fmla="*/ 2171032 h 3889410"/>
              <a:gd name="connsiteX14" fmla="*/ 4307306 w 12119714"/>
              <a:gd name="connsiteY14" fmla="*/ 3674980 h 3889410"/>
              <a:gd name="connsiteX15" fmla="*/ 5305927 w 12119714"/>
              <a:gd name="connsiteY15" fmla="*/ 3747169 h 3889410"/>
              <a:gd name="connsiteX16" fmla="*/ 6424863 w 12119714"/>
              <a:gd name="connsiteY16" fmla="*/ 2423695 h 3889410"/>
              <a:gd name="connsiteX17" fmla="*/ 8698832 w 12119714"/>
              <a:gd name="connsiteY17" fmla="*/ 3434348 h 3889410"/>
              <a:gd name="connsiteX18" fmla="*/ 11670632 w 12119714"/>
              <a:gd name="connsiteY18" fmla="*/ 3277938 h 3889410"/>
              <a:gd name="connsiteX19" fmla="*/ 12055642 w 12119714"/>
              <a:gd name="connsiteY19" fmla="*/ 3277938 h 3889410"/>
              <a:gd name="connsiteX0" fmla="*/ 0 w 12119714"/>
              <a:gd name="connsiteY0" fmla="*/ 1124285 h 3889410"/>
              <a:gd name="connsiteX1" fmla="*/ 1383632 w 12119714"/>
              <a:gd name="connsiteY1" fmla="*/ 221917 h 3889410"/>
              <a:gd name="connsiteX2" fmla="*/ 2442411 w 12119714"/>
              <a:gd name="connsiteY2" fmla="*/ 1617580 h 3889410"/>
              <a:gd name="connsiteX3" fmla="*/ 1130969 w 12119714"/>
              <a:gd name="connsiteY3" fmla="*/ 2640264 h 3889410"/>
              <a:gd name="connsiteX4" fmla="*/ 1143000 w 12119714"/>
              <a:gd name="connsiteY4" fmla="*/ 3626853 h 3889410"/>
              <a:gd name="connsiteX5" fmla="*/ 3164306 w 12119714"/>
              <a:gd name="connsiteY5" fmla="*/ 3434348 h 3889410"/>
              <a:gd name="connsiteX6" fmla="*/ 4030579 w 12119714"/>
              <a:gd name="connsiteY6" fmla="*/ 1316790 h 3889410"/>
              <a:gd name="connsiteX7" fmla="*/ 4896853 w 12119714"/>
              <a:gd name="connsiteY7" fmla="*/ 173790 h 3889410"/>
              <a:gd name="connsiteX8" fmla="*/ 7279106 w 12119714"/>
              <a:gd name="connsiteY8" fmla="*/ 1208506 h 3889410"/>
              <a:gd name="connsiteX9" fmla="*/ 10323095 w 12119714"/>
              <a:gd name="connsiteY9" fmla="*/ 65505 h 3889410"/>
              <a:gd name="connsiteX10" fmla="*/ 11694695 w 12119714"/>
              <a:gd name="connsiteY10" fmla="*/ 2207127 h 3889410"/>
              <a:gd name="connsiteX11" fmla="*/ 9468853 w 12119714"/>
              <a:gd name="connsiteY11" fmla="*/ 1425075 h 3889410"/>
              <a:gd name="connsiteX12" fmla="*/ 6605337 w 12119714"/>
              <a:gd name="connsiteY12" fmla="*/ 1882274 h 3889410"/>
              <a:gd name="connsiteX13" fmla="*/ 4632158 w 12119714"/>
              <a:gd name="connsiteY13" fmla="*/ 2171032 h 3889410"/>
              <a:gd name="connsiteX14" fmla="*/ 4307306 w 12119714"/>
              <a:gd name="connsiteY14" fmla="*/ 3674980 h 3889410"/>
              <a:gd name="connsiteX15" fmla="*/ 5305927 w 12119714"/>
              <a:gd name="connsiteY15" fmla="*/ 3747169 h 3889410"/>
              <a:gd name="connsiteX16" fmla="*/ 6424863 w 12119714"/>
              <a:gd name="connsiteY16" fmla="*/ 2423695 h 3889410"/>
              <a:gd name="connsiteX17" fmla="*/ 8698832 w 12119714"/>
              <a:gd name="connsiteY17" fmla="*/ 3434348 h 3889410"/>
              <a:gd name="connsiteX18" fmla="*/ 11670632 w 12119714"/>
              <a:gd name="connsiteY18" fmla="*/ 3277938 h 3889410"/>
              <a:gd name="connsiteX19" fmla="*/ 12055642 w 12119714"/>
              <a:gd name="connsiteY19" fmla="*/ 3277938 h 3889410"/>
              <a:gd name="connsiteX0" fmla="*/ 0 w 12119714"/>
              <a:gd name="connsiteY0" fmla="*/ 1124285 h 3889410"/>
              <a:gd name="connsiteX1" fmla="*/ 1383632 w 12119714"/>
              <a:gd name="connsiteY1" fmla="*/ 221917 h 3889410"/>
              <a:gd name="connsiteX2" fmla="*/ 2442411 w 12119714"/>
              <a:gd name="connsiteY2" fmla="*/ 1617580 h 3889410"/>
              <a:gd name="connsiteX3" fmla="*/ 1130969 w 12119714"/>
              <a:gd name="connsiteY3" fmla="*/ 2640264 h 3889410"/>
              <a:gd name="connsiteX4" fmla="*/ 1143000 w 12119714"/>
              <a:gd name="connsiteY4" fmla="*/ 3626853 h 3889410"/>
              <a:gd name="connsiteX5" fmla="*/ 3164306 w 12119714"/>
              <a:gd name="connsiteY5" fmla="*/ 3434348 h 3889410"/>
              <a:gd name="connsiteX6" fmla="*/ 4030579 w 12119714"/>
              <a:gd name="connsiteY6" fmla="*/ 1316790 h 3889410"/>
              <a:gd name="connsiteX7" fmla="*/ 4896853 w 12119714"/>
              <a:gd name="connsiteY7" fmla="*/ 173790 h 3889410"/>
              <a:gd name="connsiteX8" fmla="*/ 7279106 w 12119714"/>
              <a:gd name="connsiteY8" fmla="*/ 1208506 h 3889410"/>
              <a:gd name="connsiteX9" fmla="*/ 10323095 w 12119714"/>
              <a:gd name="connsiteY9" fmla="*/ 65505 h 3889410"/>
              <a:gd name="connsiteX10" fmla="*/ 11694695 w 12119714"/>
              <a:gd name="connsiteY10" fmla="*/ 2207127 h 3889410"/>
              <a:gd name="connsiteX11" fmla="*/ 9023684 w 12119714"/>
              <a:gd name="connsiteY11" fmla="*/ 1413043 h 3889410"/>
              <a:gd name="connsiteX12" fmla="*/ 6605337 w 12119714"/>
              <a:gd name="connsiteY12" fmla="*/ 1882274 h 3889410"/>
              <a:gd name="connsiteX13" fmla="*/ 4632158 w 12119714"/>
              <a:gd name="connsiteY13" fmla="*/ 2171032 h 3889410"/>
              <a:gd name="connsiteX14" fmla="*/ 4307306 w 12119714"/>
              <a:gd name="connsiteY14" fmla="*/ 3674980 h 3889410"/>
              <a:gd name="connsiteX15" fmla="*/ 5305927 w 12119714"/>
              <a:gd name="connsiteY15" fmla="*/ 3747169 h 3889410"/>
              <a:gd name="connsiteX16" fmla="*/ 6424863 w 12119714"/>
              <a:gd name="connsiteY16" fmla="*/ 2423695 h 3889410"/>
              <a:gd name="connsiteX17" fmla="*/ 8698832 w 12119714"/>
              <a:gd name="connsiteY17" fmla="*/ 3434348 h 3889410"/>
              <a:gd name="connsiteX18" fmla="*/ 11670632 w 12119714"/>
              <a:gd name="connsiteY18" fmla="*/ 3277938 h 3889410"/>
              <a:gd name="connsiteX19" fmla="*/ 12055642 w 12119714"/>
              <a:gd name="connsiteY19" fmla="*/ 3277938 h 3889410"/>
              <a:gd name="connsiteX0" fmla="*/ 0 w 12119714"/>
              <a:gd name="connsiteY0" fmla="*/ 1073586 h 3838711"/>
              <a:gd name="connsiteX1" fmla="*/ 1383632 w 12119714"/>
              <a:gd name="connsiteY1" fmla="*/ 171218 h 3838711"/>
              <a:gd name="connsiteX2" fmla="*/ 2442411 w 12119714"/>
              <a:gd name="connsiteY2" fmla="*/ 1566881 h 3838711"/>
              <a:gd name="connsiteX3" fmla="*/ 1130969 w 12119714"/>
              <a:gd name="connsiteY3" fmla="*/ 2589565 h 3838711"/>
              <a:gd name="connsiteX4" fmla="*/ 1143000 w 12119714"/>
              <a:gd name="connsiteY4" fmla="*/ 3576154 h 3838711"/>
              <a:gd name="connsiteX5" fmla="*/ 3164306 w 12119714"/>
              <a:gd name="connsiteY5" fmla="*/ 3383649 h 3838711"/>
              <a:gd name="connsiteX6" fmla="*/ 4030579 w 12119714"/>
              <a:gd name="connsiteY6" fmla="*/ 1266091 h 3838711"/>
              <a:gd name="connsiteX7" fmla="*/ 4896853 w 12119714"/>
              <a:gd name="connsiteY7" fmla="*/ 123091 h 3838711"/>
              <a:gd name="connsiteX8" fmla="*/ 7279106 w 12119714"/>
              <a:gd name="connsiteY8" fmla="*/ 1157807 h 3838711"/>
              <a:gd name="connsiteX9" fmla="*/ 10323095 w 12119714"/>
              <a:gd name="connsiteY9" fmla="*/ 14806 h 3838711"/>
              <a:gd name="connsiteX10" fmla="*/ 11694695 w 12119714"/>
              <a:gd name="connsiteY10" fmla="*/ 2156428 h 3838711"/>
              <a:gd name="connsiteX11" fmla="*/ 9023684 w 12119714"/>
              <a:gd name="connsiteY11" fmla="*/ 1362344 h 3838711"/>
              <a:gd name="connsiteX12" fmla="*/ 6605337 w 12119714"/>
              <a:gd name="connsiteY12" fmla="*/ 1831575 h 3838711"/>
              <a:gd name="connsiteX13" fmla="*/ 4632158 w 12119714"/>
              <a:gd name="connsiteY13" fmla="*/ 2120333 h 3838711"/>
              <a:gd name="connsiteX14" fmla="*/ 4307306 w 12119714"/>
              <a:gd name="connsiteY14" fmla="*/ 3624281 h 3838711"/>
              <a:gd name="connsiteX15" fmla="*/ 5305927 w 12119714"/>
              <a:gd name="connsiteY15" fmla="*/ 3696470 h 3838711"/>
              <a:gd name="connsiteX16" fmla="*/ 6424863 w 12119714"/>
              <a:gd name="connsiteY16" fmla="*/ 2372996 h 3838711"/>
              <a:gd name="connsiteX17" fmla="*/ 8698832 w 12119714"/>
              <a:gd name="connsiteY17" fmla="*/ 3383649 h 3838711"/>
              <a:gd name="connsiteX18" fmla="*/ 11670632 w 12119714"/>
              <a:gd name="connsiteY18" fmla="*/ 3227239 h 3838711"/>
              <a:gd name="connsiteX19" fmla="*/ 12055642 w 12119714"/>
              <a:gd name="connsiteY19" fmla="*/ 3227239 h 3838711"/>
              <a:gd name="connsiteX0" fmla="*/ 0 w 12119714"/>
              <a:gd name="connsiteY0" fmla="*/ 1073586 h 3838711"/>
              <a:gd name="connsiteX1" fmla="*/ 1383632 w 12119714"/>
              <a:gd name="connsiteY1" fmla="*/ 171218 h 3838711"/>
              <a:gd name="connsiteX2" fmla="*/ 2442411 w 12119714"/>
              <a:gd name="connsiteY2" fmla="*/ 1566881 h 3838711"/>
              <a:gd name="connsiteX3" fmla="*/ 1130969 w 12119714"/>
              <a:gd name="connsiteY3" fmla="*/ 2589565 h 3838711"/>
              <a:gd name="connsiteX4" fmla="*/ 1143000 w 12119714"/>
              <a:gd name="connsiteY4" fmla="*/ 3576154 h 3838711"/>
              <a:gd name="connsiteX5" fmla="*/ 3164306 w 12119714"/>
              <a:gd name="connsiteY5" fmla="*/ 3383649 h 3838711"/>
              <a:gd name="connsiteX6" fmla="*/ 4030579 w 12119714"/>
              <a:gd name="connsiteY6" fmla="*/ 1266091 h 3838711"/>
              <a:gd name="connsiteX7" fmla="*/ 4896853 w 12119714"/>
              <a:gd name="connsiteY7" fmla="*/ 123091 h 3838711"/>
              <a:gd name="connsiteX8" fmla="*/ 7279106 w 12119714"/>
              <a:gd name="connsiteY8" fmla="*/ 1157807 h 3838711"/>
              <a:gd name="connsiteX9" fmla="*/ 10323095 w 12119714"/>
              <a:gd name="connsiteY9" fmla="*/ 14806 h 3838711"/>
              <a:gd name="connsiteX10" fmla="*/ 11694695 w 12119714"/>
              <a:gd name="connsiteY10" fmla="*/ 2156428 h 3838711"/>
              <a:gd name="connsiteX11" fmla="*/ 9023684 w 12119714"/>
              <a:gd name="connsiteY11" fmla="*/ 1362344 h 3838711"/>
              <a:gd name="connsiteX12" fmla="*/ 6605337 w 12119714"/>
              <a:gd name="connsiteY12" fmla="*/ 1831575 h 3838711"/>
              <a:gd name="connsiteX13" fmla="*/ 4632158 w 12119714"/>
              <a:gd name="connsiteY13" fmla="*/ 2120333 h 3838711"/>
              <a:gd name="connsiteX14" fmla="*/ 4307306 w 12119714"/>
              <a:gd name="connsiteY14" fmla="*/ 3624281 h 3838711"/>
              <a:gd name="connsiteX15" fmla="*/ 5305927 w 12119714"/>
              <a:gd name="connsiteY15" fmla="*/ 3696470 h 3838711"/>
              <a:gd name="connsiteX16" fmla="*/ 6424863 w 12119714"/>
              <a:gd name="connsiteY16" fmla="*/ 2372996 h 3838711"/>
              <a:gd name="connsiteX17" fmla="*/ 8698832 w 12119714"/>
              <a:gd name="connsiteY17" fmla="*/ 3383649 h 3838711"/>
              <a:gd name="connsiteX18" fmla="*/ 11670632 w 12119714"/>
              <a:gd name="connsiteY18" fmla="*/ 3227239 h 3838711"/>
              <a:gd name="connsiteX19" fmla="*/ 12055642 w 12119714"/>
              <a:gd name="connsiteY19" fmla="*/ 3227239 h 3838711"/>
              <a:gd name="connsiteX0" fmla="*/ 0 w 12119714"/>
              <a:gd name="connsiteY0" fmla="*/ 1086920 h 3852045"/>
              <a:gd name="connsiteX1" fmla="*/ 1383632 w 12119714"/>
              <a:gd name="connsiteY1" fmla="*/ 184552 h 3852045"/>
              <a:gd name="connsiteX2" fmla="*/ 2442411 w 12119714"/>
              <a:gd name="connsiteY2" fmla="*/ 1580215 h 3852045"/>
              <a:gd name="connsiteX3" fmla="*/ 1130969 w 12119714"/>
              <a:gd name="connsiteY3" fmla="*/ 2602899 h 3852045"/>
              <a:gd name="connsiteX4" fmla="*/ 1143000 w 12119714"/>
              <a:gd name="connsiteY4" fmla="*/ 3589488 h 3852045"/>
              <a:gd name="connsiteX5" fmla="*/ 3164306 w 12119714"/>
              <a:gd name="connsiteY5" fmla="*/ 3396983 h 3852045"/>
              <a:gd name="connsiteX6" fmla="*/ 4030579 w 12119714"/>
              <a:gd name="connsiteY6" fmla="*/ 1279425 h 3852045"/>
              <a:gd name="connsiteX7" fmla="*/ 4896853 w 12119714"/>
              <a:gd name="connsiteY7" fmla="*/ 136425 h 3852045"/>
              <a:gd name="connsiteX8" fmla="*/ 7279106 w 12119714"/>
              <a:gd name="connsiteY8" fmla="*/ 894415 h 3852045"/>
              <a:gd name="connsiteX9" fmla="*/ 10323095 w 12119714"/>
              <a:gd name="connsiteY9" fmla="*/ 28140 h 3852045"/>
              <a:gd name="connsiteX10" fmla="*/ 11694695 w 12119714"/>
              <a:gd name="connsiteY10" fmla="*/ 2169762 h 3852045"/>
              <a:gd name="connsiteX11" fmla="*/ 9023684 w 12119714"/>
              <a:gd name="connsiteY11" fmla="*/ 1375678 h 3852045"/>
              <a:gd name="connsiteX12" fmla="*/ 6605337 w 12119714"/>
              <a:gd name="connsiteY12" fmla="*/ 1844909 h 3852045"/>
              <a:gd name="connsiteX13" fmla="*/ 4632158 w 12119714"/>
              <a:gd name="connsiteY13" fmla="*/ 2133667 h 3852045"/>
              <a:gd name="connsiteX14" fmla="*/ 4307306 w 12119714"/>
              <a:gd name="connsiteY14" fmla="*/ 3637615 h 3852045"/>
              <a:gd name="connsiteX15" fmla="*/ 5305927 w 12119714"/>
              <a:gd name="connsiteY15" fmla="*/ 3709804 h 3852045"/>
              <a:gd name="connsiteX16" fmla="*/ 6424863 w 12119714"/>
              <a:gd name="connsiteY16" fmla="*/ 2386330 h 3852045"/>
              <a:gd name="connsiteX17" fmla="*/ 8698832 w 12119714"/>
              <a:gd name="connsiteY17" fmla="*/ 3396983 h 3852045"/>
              <a:gd name="connsiteX18" fmla="*/ 11670632 w 12119714"/>
              <a:gd name="connsiteY18" fmla="*/ 3240573 h 3852045"/>
              <a:gd name="connsiteX19" fmla="*/ 12055642 w 12119714"/>
              <a:gd name="connsiteY19" fmla="*/ 3240573 h 3852045"/>
              <a:gd name="connsiteX0" fmla="*/ 0 w 12119714"/>
              <a:gd name="connsiteY0" fmla="*/ 1086920 h 3852045"/>
              <a:gd name="connsiteX1" fmla="*/ 1383632 w 12119714"/>
              <a:gd name="connsiteY1" fmla="*/ 184552 h 3852045"/>
              <a:gd name="connsiteX2" fmla="*/ 2442411 w 12119714"/>
              <a:gd name="connsiteY2" fmla="*/ 1580215 h 3852045"/>
              <a:gd name="connsiteX3" fmla="*/ 1130969 w 12119714"/>
              <a:gd name="connsiteY3" fmla="*/ 2602899 h 3852045"/>
              <a:gd name="connsiteX4" fmla="*/ 1143000 w 12119714"/>
              <a:gd name="connsiteY4" fmla="*/ 3589488 h 3852045"/>
              <a:gd name="connsiteX5" fmla="*/ 3164306 w 12119714"/>
              <a:gd name="connsiteY5" fmla="*/ 3396983 h 3852045"/>
              <a:gd name="connsiteX6" fmla="*/ 4896853 w 12119714"/>
              <a:gd name="connsiteY6" fmla="*/ 136425 h 3852045"/>
              <a:gd name="connsiteX7" fmla="*/ 7279106 w 12119714"/>
              <a:gd name="connsiteY7" fmla="*/ 894415 h 3852045"/>
              <a:gd name="connsiteX8" fmla="*/ 10323095 w 12119714"/>
              <a:gd name="connsiteY8" fmla="*/ 28140 h 3852045"/>
              <a:gd name="connsiteX9" fmla="*/ 11694695 w 12119714"/>
              <a:gd name="connsiteY9" fmla="*/ 2169762 h 3852045"/>
              <a:gd name="connsiteX10" fmla="*/ 9023684 w 12119714"/>
              <a:gd name="connsiteY10" fmla="*/ 1375678 h 3852045"/>
              <a:gd name="connsiteX11" fmla="*/ 6605337 w 12119714"/>
              <a:gd name="connsiteY11" fmla="*/ 1844909 h 3852045"/>
              <a:gd name="connsiteX12" fmla="*/ 4632158 w 12119714"/>
              <a:gd name="connsiteY12" fmla="*/ 2133667 h 3852045"/>
              <a:gd name="connsiteX13" fmla="*/ 4307306 w 12119714"/>
              <a:gd name="connsiteY13" fmla="*/ 3637615 h 3852045"/>
              <a:gd name="connsiteX14" fmla="*/ 5305927 w 12119714"/>
              <a:gd name="connsiteY14" fmla="*/ 3709804 h 3852045"/>
              <a:gd name="connsiteX15" fmla="*/ 6424863 w 12119714"/>
              <a:gd name="connsiteY15" fmla="*/ 2386330 h 3852045"/>
              <a:gd name="connsiteX16" fmla="*/ 8698832 w 12119714"/>
              <a:gd name="connsiteY16" fmla="*/ 3396983 h 3852045"/>
              <a:gd name="connsiteX17" fmla="*/ 11670632 w 12119714"/>
              <a:gd name="connsiteY17" fmla="*/ 3240573 h 3852045"/>
              <a:gd name="connsiteX18" fmla="*/ 12055642 w 12119714"/>
              <a:gd name="connsiteY18" fmla="*/ 3240573 h 3852045"/>
              <a:gd name="connsiteX0" fmla="*/ 0 w 12119714"/>
              <a:gd name="connsiteY0" fmla="*/ 1086920 h 3852045"/>
              <a:gd name="connsiteX1" fmla="*/ 1383632 w 12119714"/>
              <a:gd name="connsiteY1" fmla="*/ 184552 h 3852045"/>
              <a:gd name="connsiteX2" fmla="*/ 2442411 w 12119714"/>
              <a:gd name="connsiteY2" fmla="*/ 1580215 h 3852045"/>
              <a:gd name="connsiteX3" fmla="*/ 1143000 w 12119714"/>
              <a:gd name="connsiteY3" fmla="*/ 3589488 h 3852045"/>
              <a:gd name="connsiteX4" fmla="*/ 3164306 w 12119714"/>
              <a:gd name="connsiteY4" fmla="*/ 3396983 h 3852045"/>
              <a:gd name="connsiteX5" fmla="*/ 4896853 w 12119714"/>
              <a:gd name="connsiteY5" fmla="*/ 136425 h 3852045"/>
              <a:gd name="connsiteX6" fmla="*/ 7279106 w 12119714"/>
              <a:gd name="connsiteY6" fmla="*/ 894415 h 3852045"/>
              <a:gd name="connsiteX7" fmla="*/ 10323095 w 12119714"/>
              <a:gd name="connsiteY7" fmla="*/ 28140 h 3852045"/>
              <a:gd name="connsiteX8" fmla="*/ 11694695 w 12119714"/>
              <a:gd name="connsiteY8" fmla="*/ 2169762 h 3852045"/>
              <a:gd name="connsiteX9" fmla="*/ 9023684 w 12119714"/>
              <a:gd name="connsiteY9" fmla="*/ 1375678 h 3852045"/>
              <a:gd name="connsiteX10" fmla="*/ 6605337 w 12119714"/>
              <a:gd name="connsiteY10" fmla="*/ 1844909 h 3852045"/>
              <a:gd name="connsiteX11" fmla="*/ 4632158 w 12119714"/>
              <a:gd name="connsiteY11" fmla="*/ 2133667 h 3852045"/>
              <a:gd name="connsiteX12" fmla="*/ 4307306 w 12119714"/>
              <a:gd name="connsiteY12" fmla="*/ 3637615 h 3852045"/>
              <a:gd name="connsiteX13" fmla="*/ 5305927 w 12119714"/>
              <a:gd name="connsiteY13" fmla="*/ 3709804 h 3852045"/>
              <a:gd name="connsiteX14" fmla="*/ 6424863 w 12119714"/>
              <a:gd name="connsiteY14" fmla="*/ 2386330 h 3852045"/>
              <a:gd name="connsiteX15" fmla="*/ 8698832 w 12119714"/>
              <a:gd name="connsiteY15" fmla="*/ 3396983 h 3852045"/>
              <a:gd name="connsiteX16" fmla="*/ 11670632 w 12119714"/>
              <a:gd name="connsiteY16" fmla="*/ 3240573 h 3852045"/>
              <a:gd name="connsiteX17" fmla="*/ 12055642 w 12119714"/>
              <a:gd name="connsiteY17" fmla="*/ 3240573 h 3852045"/>
              <a:gd name="connsiteX0" fmla="*/ 0 w 12119714"/>
              <a:gd name="connsiteY0" fmla="*/ 1086920 h 4157199"/>
              <a:gd name="connsiteX1" fmla="*/ 1383632 w 12119714"/>
              <a:gd name="connsiteY1" fmla="*/ 184552 h 4157199"/>
              <a:gd name="connsiteX2" fmla="*/ 2442411 w 12119714"/>
              <a:gd name="connsiteY2" fmla="*/ 1580215 h 4157199"/>
              <a:gd name="connsiteX3" fmla="*/ 1143000 w 12119714"/>
              <a:gd name="connsiteY3" fmla="*/ 3589488 h 4157199"/>
              <a:gd name="connsiteX4" fmla="*/ 3164306 w 12119714"/>
              <a:gd name="connsiteY4" fmla="*/ 3396983 h 4157199"/>
              <a:gd name="connsiteX5" fmla="*/ 4896853 w 12119714"/>
              <a:gd name="connsiteY5" fmla="*/ 136425 h 4157199"/>
              <a:gd name="connsiteX6" fmla="*/ 7279106 w 12119714"/>
              <a:gd name="connsiteY6" fmla="*/ 894415 h 4157199"/>
              <a:gd name="connsiteX7" fmla="*/ 10323095 w 12119714"/>
              <a:gd name="connsiteY7" fmla="*/ 28140 h 4157199"/>
              <a:gd name="connsiteX8" fmla="*/ 11694695 w 12119714"/>
              <a:gd name="connsiteY8" fmla="*/ 2169762 h 4157199"/>
              <a:gd name="connsiteX9" fmla="*/ 9023684 w 12119714"/>
              <a:gd name="connsiteY9" fmla="*/ 1375678 h 4157199"/>
              <a:gd name="connsiteX10" fmla="*/ 6605337 w 12119714"/>
              <a:gd name="connsiteY10" fmla="*/ 1844909 h 4157199"/>
              <a:gd name="connsiteX11" fmla="*/ 4632158 w 12119714"/>
              <a:gd name="connsiteY11" fmla="*/ 2133667 h 4157199"/>
              <a:gd name="connsiteX12" fmla="*/ 4307306 w 12119714"/>
              <a:gd name="connsiteY12" fmla="*/ 3637615 h 4157199"/>
              <a:gd name="connsiteX13" fmla="*/ 5305927 w 12119714"/>
              <a:gd name="connsiteY13" fmla="*/ 3709804 h 4157199"/>
              <a:gd name="connsiteX14" fmla="*/ 6424863 w 12119714"/>
              <a:gd name="connsiteY14" fmla="*/ 2386330 h 4157199"/>
              <a:gd name="connsiteX15" fmla="*/ 8698832 w 12119714"/>
              <a:gd name="connsiteY15" fmla="*/ 3396983 h 4157199"/>
              <a:gd name="connsiteX16" fmla="*/ 11670632 w 12119714"/>
              <a:gd name="connsiteY16" fmla="*/ 3240573 h 4157199"/>
              <a:gd name="connsiteX17" fmla="*/ 12055642 w 12119714"/>
              <a:gd name="connsiteY17" fmla="*/ 3240573 h 4157199"/>
              <a:gd name="connsiteX0" fmla="*/ 0 w 12119714"/>
              <a:gd name="connsiteY0" fmla="*/ 1086920 h 3852045"/>
              <a:gd name="connsiteX1" fmla="*/ 1383632 w 12119714"/>
              <a:gd name="connsiteY1" fmla="*/ 184552 h 3852045"/>
              <a:gd name="connsiteX2" fmla="*/ 2442411 w 12119714"/>
              <a:gd name="connsiteY2" fmla="*/ 1580215 h 3852045"/>
              <a:gd name="connsiteX3" fmla="*/ 589548 w 12119714"/>
              <a:gd name="connsiteY3" fmla="*/ 2975878 h 3852045"/>
              <a:gd name="connsiteX4" fmla="*/ 3164306 w 12119714"/>
              <a:gd name="connsiteY4" fmla="*/ 3396983 h 3852045"/>
              <a:gd name="connsiteX5" fmla="*/ 4896853 w 12119714"/>
              <a:gd name="connsiteY5" fmla="*/ 136425 h 3852045"/>
              <a:gd name="connsiteX6" fmla="*/ 7279106 w 12119714"/>
              <a:gd name="connsiteY6" fmla="*/ 894415 h 3852045"/>
              <a:gd name="connsiteX7" fmla="*/ 10323095 w 12119714"/>
              <a:gd name="connsiteY7" fmla="*/ 28140 h 3852045"/>
              <a:gd name="connsiteX8" fmla="*/ 11694695 w 12119714"/>
              <a:gd name="connsiteY8" fmla="*/ 2169762 h 3852045"/>
              <a:gd name="connsiteX9" fmla="*/ 9023684 w 12119714"/>
              <a:gd name="connsiteY9" fmla="*/ 1375678 h 3852045"/>
              <a:gd name="connsiteX10" fmla="*/ 6605337 w 12119714"/>
              <a:gd name="connsiteY10" fmla="*/ 1844909 h 3852045"/>
              <a:gd name="connsiteX11" fmla="*/ 4632158 w 12119714"/>
              <a:gd name="connsiteY11" fmla="*/ 2133667 h 3852045"/>
              <a:gd name="connsiteX12" fmla="*/ 4307306 w 12119714"/>
              <a:gd name="connsiteY12" fmla="*/ 3637615 h 3852045"/>
              <a:gd name="connsiteX13" fmla="*/ 5305927 w 12119714"/>
              <a:gd name="connsiteY13" fmla="*/ 3709804 h 3852045"/>
              <a:gd name="connsiteX14" fmla="*/ 6424863 w 12119714"/>
              <a:gd name="connsiteY14" fmla="*/ 2386330 h 3852045"/>
              <a:gd name="connsiteX15" fmla="*/ 8698832 w 12119714"/>
              <a:gd name="connsiteY15" fmla="*/ 3396983 h 3852045"/>
              <a:gd name="connsiteX16" fmla="*/ 11670632 w 12119714"/>
              <a:gd name="connsiteY16" fmla="*/ 3240573 h 3852045"/>
              <a:gd name="connsiteX17" fmla="*/ 12055642 w 12119714"/>
              <a:gd name="connsiteY17" fmla="*/ 3240573 h 3852045"/>
              <a:gd name="connsiteX0" fmla="*/ 0 w 12119714"/>
              <a:gd name="connsiteY0" fmla="*/ 1086920 h 3852045"/>
              <a:gd name="connsiteX1" fmla="*/ 1383632 w 12119714"/>
              <a:gd name="connsiteY1" fmla="*/ 184552 h 3852045"/>
              <a:gd name="connsiteX2" fmla="*/ 2538664 w 12119714"/>
              <a:gd name="connsiteY2" fmla="*/ 1351615 h 3852045"/>
              <a:gd name="connsiteX3" fmla="*/ 589548 w 12119714"/>
              <a:gd name="connsiteY3" fmla="*/ 2975878 h 3852045"/>
              <a:gd name="connsiteX4" fmla="*/ 3164306 w 12119714"/>
              <a:gd name="connsiteY4" fmla="*/ 3396983 h 3852045"/>
              <a:gd name="connsiteX5" fmla="*/ 4896853 w 12119714"/>
              <a:gd name="connsiteY5" fmla="*/ 136425 h 3852045"/>
              <a:gd name="connsiteX6" fmla="*/ 7279106 w 12119714"/>
              <a:gd name="connsiteY6" fmla="*/ 894415 h 3852045"/>
              <a:gd name="connsiteX7" fmla="*/ 10323095 w 12119714"/>
              <a:gd name="connsiteY7" fmla="*/ 28140 h 3852045"/>
              <a:gd name="connsiteX8" fmla="*/ 11694695 w 12119714"/>
              <a:gd name="connsiteY8" fmla="*/ 2169762 h 3852045"/>
              <a:gd name="connsiteX9" fmla="*/ 9023684 w 12119714"/>
              <a:gd name="connsiteY9" fmla="*/ 1375678 h 3852045"/>
              <a:gd name="connsiteX10" fmla="*/ 6605337 w 12119714"/>
              <a:gd name="connsiteY10" fmla="*/ 1844909 h 3852045"/>
              <a:gd name="connsiteX11" fmla="*/ 4632158 w 12119714"/>
              <a:gd name="connsiteY11" fmla="*/ 2133667 h 3852045"/>
              <a:gd name="connsiteX12" fmla="*/ 4307306 w 12119714"/>
              <a:gd name="connsiteY12" fmla="*/ 3637615 h 3852045"/>
              <a:gd name="connsiteX13" fmla="*/ 5305927 w 12119714"/>
              <a:gd name="connsiteY13" fmla="*/ 3709804 h 3852045"/>
              <a:gd name="connsiteX14" fmla="*/ 6424863 w 12119714"/>
              <a:gd name="connsiteY14" fmla="*/ 2386330 h 3852045"/>
              <a:gd name="connsiteX15" fmla="*/ 8698832 w 12119714"/>
              <a:gd name="connsiteY15" fmla="*/ 3396983 h 3852045"/>
              <a:gd name="connsiteX16" fmla="*/ 11670632 w 12119714"/>
              <a:gd name="connsiteY16" fmla="*/ 3240573 h 3852045"/>
              <a:gd name="connsiteX17" fmla="*/ 12055642 w 12119714"/>
              <a:gd name="connsiteY17" fmla="*/ 3240573 h 3852045"/>
              <a:gd name="connsiteX0" fmla="*/ 0 w 12119714"/>
              <a:gd name="connsiteY0" fmla="*/ 1086920 h 3852045"/>
              <a:gd name="connsiteX1" fmla="*/ 1383632 w 12119714"/>
              <a:gd name="connsiteY1" fmla="*/ 184552 h 3852045"/>
              <a:gd name="connsiteX2" fmla="*/ 2538664 w 12119714"/>
              <a:gd name="connsiteY2" fmla="*/ 1351615 h 3852045"/>
              <a:gd name="connsiteX3" fmla="*/ 589548 w 12119714"/>
              <a:gd name="connsiteY3" fmla="*/ 2975878 h 3852045"/>
              <a:gd name="connsiteX4" fmla="*/ 3164306 w 12119714"/>
              <a:gd name="connsiteY4" fmla="*/ 3396983 h 3852045"/>
              <a:gd name="connsiteX5" fmla="*/ 4896853 w 12119714"/>
              <a:gd name="connsiteY5" fmla="*/ 136425 h 3852045"/>
              <a:gd name="connsiteX6" fmla="*/ 7279106 w 12119714"/>
              <a:gd name="connsiteY6" fmla="*/ 894415 h 3852045"/>
              <a:gd name="connsiteX7" fmla="*/ 10323095 w 12119714"/>
              <a:gd name="connsiteY7" fmla="*/ 28140 h 3852045"/>
              <a:gd name="connsiteX8" fmla="*/ 11694695 w 12119714"/>
              <a:gd name="connsiteY8" fmla="*/ 2169762 h 3852045"/>
              <a:gd name="connsiteX9" fmla="*/ 9023684 w 12119714"/>
              <a:gd name="connsiteY9" fmla="*/ 1375678 h 3852045"/>
              <a:gd name="connsiteX10" fmla="*/ 6605337 w 12119714"/>
              <a:gd name="connsiteY10" fmla="*/ 1844909 h 3852045"/>
              <a:gd name="connsiteX11" fmla="*/ 4632158 w 12119714"/>
              <a:gd name="connsiteY11" fmla="*/ 2133667 h 3852045"/>
              <a:gd name="connsiteX12" fmla="*/ 4307306 w 12119714"/>
              <a:gd name="connsiteY12" fmla="*/ 3637615 h 3852045"/>
              <a:gd name="connsiteX13" fmla="*/ 5305927 w 12119714"/>
              <a:gd name="connsiteY13" fmla="*/ 3709804 h 3852045"/>
              <a:gd name="connsiteX14" fmla="*/ 6424863 w 12119714"/>
              <a:gd name="connsiteY14" fmla="*/ 2386330 h 3852045"/>
              <a:gd name="connsiteX15" fmla="*/ 8698832 w 12119714"/>
              <a:gd name="connsiteY15" fmla="*/ 3396983 h 3852045"/>
              <a:gd name="connsiteX16" fmla="*/ 11670632 w 12119714"/>
              <a:gd name="connsiteY16" fmla="*/ 3240573 h 3852045"/>
              <a:gd name="connsiteX17" fmla="*/ 12055642 w 12119714"/>
              <a:gd name="connsiteY17" fmla="*/ 3240573 h 3852045"/>
              <a:gd name="connsiteX0" fmla="*/ 0 w 12119714"/>
              <a:gd name="connsiteY0" fmla="*/ 1086920 h 3852045"/>
              <a:gd name="connsiteX1" fmla="*/ 1383632 w 12119714"/>
              <a:gd name="connsiteY1" fmla="*/ 184552 h 3852045"/>
              <a:gd name="connsiteX2" fmla="*/ 2538664 w 12119714"/>
              <a:gd name="connsiteY2" fmla="*/ 1351615 h 3852045"/>
              <a:gd name="connsiteX3" fmla="*/ 589548 w 12119714"/>
              <a:gd name="connsiteY3" fmla="*/ 2975878 h 3852045"/>
              <a:gd name="connsiteX4" fmla="*/ 3164306 w 12119714"/>
              <a:gd name="connsiteY4" fmla="*/ 3396983 h 3852045"/>
              <a:gd name="connsiteX5" fmla="*/ 4896853 w 12119714"/>
              <a:gd name="connsiteY5" fmla="*/ 136425 h 3852045"/>
              <a:gd name="connsiteX6" fmla="*/ 7279106 w 12119714"/>
              <a:gd name="connsiteY6" fmla="*/ 894415 h 3852045"/>
              <a:gd name="connsiteX7" fmla="*/ 10323095 w 12119714"/>
              <a:gd name="connsiteY7" fmla="*/ 28140 h 3852045"/>
              <a:gd name="connsiteX8" fmla="*/ 11694695 w 12119714"/>
              <a:gd name="connsiteY8" fmla="*/ 2169762 h 3852045"/>
              <a:gd name="connsiteX9" fmla="*/ 9023684 w 12119714"/>
              <a:gd name="connsiteY9" fmla="*/ 1375678 h 3852045"/>
              <a:gd name="connsiteX10" fmla="*/ 6605337 w 12119714"/>
              <a:gd name="connsiteY10" fmla="*/ 1844909 h 3852045"/>
              <a:gd name="connsiteX11" fmla="*/ 4632158 w 12119714"/>
              <a:gd name="connsiteY11" fmla="*/ 2133667 h 3852045"/>
              <a:gd name="connsiteX12" fmla="*/ 4307306 w 12119714"/>
              <a:gd name="connsiteY12" fmla="*/ 3637615 h 3852045"/>
              <a:gd name="connsiteX13" fmla="*/ 5305927 w 12119714"/>
              <a:gd name="connsiteY13" fmla="*/ 3709804 h 3852045"/>
              <a:gd name="connsiteX14" fmla="*/ 6424863 w 12119714"/>
              <a:gd name="connsiteY14" fmla="*/ 2386330 h 3852045"/>
              <a:gd name="connsiteX15" fmla="*/ 8698832 w 12119714"/>
              <a:gd name="connsiteY15" fmla="*/ 3396983 h 3852045"/>
              <a:gd name="connsiteX16" fmla="*/ 11670632 w 12119714"/>
              <a:gd name="connsiteY16" fmla="*/ 3240573 h 3852045"/>
              <a:gd name="connsiteX17" fmla="*/ 12055642 w 12119714"/>
              <a:gd name="connsiteY17" fmla="*/ 3240573 h 3852045"/>
              <a:gd name="connsiteX0" fmla="*/ 0 w 12119714"/>
              <a:gd name="connsiteY0" fmla="*/ 1086920 h 3852045"/>
              <a:gd name="connsiteX1" fmla="*/ 1383632 w 12119714"/>
              <a:gd name="connsiteY1" fmla="*/ 184552 h 3852045"/>
              <a:gd name="connsiteX2" fmla="*/ 2538664 w 12119714"/>
              <a:gd name="connsiteY2" fmla="*/ 1351615 h 3852045"/>
              <a:gd name="connsiteX3" fmla="*/ 589548 w 12119714"/>
              <a:gd name="connsiteY3" fmla="*/ 2975878 h 3852045"/>
              <a:gd name="connsiteX4" fmla="*/ 3164306 w 12119714"/>
              <a:gd name="connsiteY4" fmla="*/ 3396983 h 3852045"/>
              <a:gd name="connsiteX5" fmla="*/ 4896853 w 12119714"/>
              <a:gd name="connsiteY5" fmla="*/ 136425 h 3852045"/>
              <a:gd name="connsiteX6" fmla="*/ 7279106 w 12119714"/>
              <a:gd name="connsiteY6" fmla="*/ 894415 h 3852045"/>
              <a:gd name="connsiteX7" fmla="*/ 10323095 w 12119714"/>
              <a:gd name="connsiteY7" fmla="*/ 28140 h 3852045"/>
              <a:gd name="connsiteX8" fmla="*/ 11694695 w 12119714"/>
              <a:gd name="connsiteY8" fmla="*/ 2169762 h 3852045"/>
              <a:gd name="connsiteX9" fmla="*/ 9023684 w 12119714"/>
              <a:gd name="connsiteY9" fmla="*/ 1375678 h 3852045"/>
              <a:gd name="connsiteX10" fmla="*/ 6605337 w 12119714"/>
              <a:gd name="connsiteY10" fmla="*/ 1844909 h 3852045"/>
              <a:gd name="connsiteX11" fmla="*/ 4632158 w 12119714"/>
              <a:gd name="connsiteY11" fmla="*/ 2133667 h 3852045"/>
              <a:gd name="connsiteX12" fmla="*/ 4307306 w 12119714"/>
              <a:gd name="connsiteY12" fmla="*/ 3637615 h 3852045"/>
              <a:gd name="connsiteX13" fmla="*/ 5305927 w 12119714"/>
              <a:gd name="connsiteY13" fmla="*/ 3709804 h 3852045"/>
              <a:gd name="connsiteX14" fmla="*/ 6424863 w 12119714"/>
              <a:gd name="connsiteY14" fmla="*/ 2386330 h 3852045"/>
              <a:gd name="connsiteX15" fmla="*/ 8698832 w 12119714"/>
              <a:gd name="connsiteY15" fmla="*/ 3396983 h 3852045"/>
              <a:gd name="connsiteX16" fmla="*/ 11670632 w 12119714"/>
              <a:gd name="connsiteY16" fmla="*/ 3240573 h 3852045"/>
              <a:gd name="connsiteX17" fmla="*/ 12055642 w 12119714"/>
              <a:gd name="connsiteY17" fmla="*/ 3240573 h 3852045"/>
              <a:gd name="connsiteX0" fmla="*/ 0 w 12119714"/>
              <a:gd name="connsiteY0" fmla="*/ 1086920 h 3852045"/>
              <a:gd name="connsiteX1" fmla="*/ 1479885 w 12119714"/>
              <a:gd name="connsiteY1" fmla="*/ 148457 h 3852045"/>
              <a:gd name="connsiteX2" fmla="*/ 2538664 w 12119714"/>
              <a:gd name="connsiteY2" fmla="*/ 1351615 h 3852045"/>
              <a:gd name="connsiteX3" fmla="*/ 589548 w 12119714"/>
              <a:gd name="connsiteY3" fmla="*/ 2975878 h 3852045"/>
              <a:gd name="connsiteX4" fmla="*/ 3164306 w 12119714"/>
              <a:gd name="connsiteY4" fmla="*/ 3396983 h 3852045"/>
              <a:gd name="connsiteX5" fmla="*/ 4896853 w 12119714"/>
              <a:gd name="connsiteY5" fmla="*/ 136425 h 3852045"/>
              <a:gd name="connsiteX6" fmla="*/ 7279106 w 12119714"/>
              <a:gd name="connsiteY6" fmla="*/ 894415 h 3852045"/>
              <a:gd name="connsiteX7" fmla="*/ 10323095 w 12119714"/>
              <a:gd name="connsiteY7" fmla="*/ 28140 h 3852045"/>
              <a:gd name="connsiteX8" fmla="*/ 11694695 w 12119714"/>
              <a:gd name="connsiteY8" fmla="*/ 2169762 h 3852045"/>
              <a:gd name="connsiteX9" fmla="*/ 9023684 w 12119714"/>
              <a:gd name="connsiteY9" fmla="*/ 1375678 h 3852045"/>
              <a:gd name="connsiteX10" fmla="*/ 6605337 w 12119714"/>
              <a:gd name="connsiteY10" fmla="*/ 1844909 h 3852045"/>
              <a:gd name="connsiteX11" fmla="*/ 4632158 w 12119714"/>
              <a:gd name="connsiteY11" fmla="*/ 2133667 h 3852045"/>
              <a:gd name="connsiteX12" fmla="*/ 4307306 w 12119714"/>
              <a:gd name="connsiteY12" fmla="*/ 3637615 h 3852045"/>
              <a:gd name="connsiteX13" fmla="*/ 5305927 w 12119714"/>
              <a:gd name="connsiteY13" fmla="*/ 3709804 h 3852045"/>
              <a:gd name="connsiteX14" fmla="*/ 6424863 w 12119714"/>
              <a:gd name="connsiteY14" fmla="*/ 2386330 h 3852045"/>
              <a:gd name="connsiteX15" fmla="*/ 8698832 w 12119714"/>
              <a:gd name="connsiteY15" fmla="*/ 3396983 h 3852045"/>
              <a:gd name="connsiteX16" fmla="*/ 11670632 w 12119714"/>
              <a:gd name="connsiteY16" fmla="*/ 3240573 h 3852045"/>
              <a:gd name="connsiteX17" fmla="*/ 12055642 w 12119714"/>
              <a:gd name="connsiteY17" fmla="*/ 3240573 h 3852045"/>
              <a:gd name="connsiteX0" fmla="*/ 0 w 12119714"/>
              <a:gd name="connsiteY0" fmla="*/ 1086920 h 3852045"/>
              <a:gd name="connsiteX1" fmla="*/ 1479885 w 12119714"/>
              <a:gd name="connsiteY1" fmla="*/ 148457 h 3852045"/>
              <a:gd name="connsiteX2" fmla="*/ 2538664 w 12119714"/>
              <a:gd name="connsiteY2" fmla="*/ 1351615 h 3852045"/>
              <a:gd name="connsiteX3" fmla="*/ 589548 w 12119714"/>
              <a:gd name="connsiteY3" fmla="*/ 2975878 h 3852045"/>
              <a:gd name="connsiteX4" fmla="*/ 3164306 w 12119714"/>
              <a:gd name="connsiteY4" fmla="*/ 3396983 h 3852045"/>
              <a:gd name="connsiteX5" fmla="*/ 4896853 w 12119714"/>
              <a:gd name="connsiteY5" fmla="*/ 136425 h 3852045"/>
              <a:gd name="connsiteX6" fmla="*/ 7279106 w 12119714"/>
              <a:gd name="connsiteY6" fmla="*/ 894415 h 3852045"/>
              <a:gd name="connsiteX7" fmla="*/ 10323095 w 12119714"/>
              <a:gd name="connsiteY7" fmla="*/ 28140 h 3852045"/>
              <a:gd name="connsiteX8" fmla="*/ 11694695 w 12119714"/>
              <a:gd name="connsiteY8" fmla="*/ 2169762 h 3852045"/>
              <a:gd name="connsiteX9" fmla="*/ 9023684 w 12119714"/>
              <a:gd name="connsiteY9" fmla="*/ 1375678 h 3852045"/>
              <a:gd name="connsiteX10" fmla="*/ 6605337 w 12119714"/>
              <a:gd name="connsiteY10" fmla="*/ 1844909 h 3852045"/>
              <a:gd name="connsiteX11" fmla="*/ 4632158 w 12119714"/>
              <a:gd name="connsiteY11" fmla="*/ 2133667 h 3852045"/>
              <a:gd name="connsiteX12" fmla="*/ 4307306 w 12119714"/>
              <a:gd name="connsiteY12" fmla="*/ 3637615 h 3852045"/>
              <a:gd name="connsiteX13" fmla="*/ 5305927 w 12119714"/>
              <a:gd name="connsiteY13" fmla="*/ 3709804 h 3852045"/>
              <a:gd name="connsiteX14" fmla="*/ 6424863 w 12119714"/>
              <a:gd name="connsiteY14" fmla="*/ 2386330 h 3852045"/>
              <a:gd name="connsiteX15" fmla="*/ 8698832 w 12119714"/>
              <a:gd name="connsiteY15" fmla="*/ 3396983 h 3852045"/>
              <a:gd name="connsiteX16" fmla="*/ 11670632 w 12119714"/>
              <a:gd name="connsiteY16" fmla="*/ 3240573 h 3852045"/>
              <a:gd name="connsiteX17" fmla="*/ 12055642 w 12119714"/>
              <a:gd name="connsiteY17" fmla="*/ 3240573 h 3852045"/>
              <a:gd name="connsiteX0" fmla="*/ 0 w 12119714"/>
              <a:gd name="connsiteY0" fmla="*/ 1086875 h 3852000"/>
              <a:gd name="connsiteX1" fmla="*/ 1479885 w 12119714"/>
              <a:gd name="connsiteY1" fmla="*/ 148412 h 3852000"/>
              <a:gd name="connsiteX2" fmla="*/ 2538664 w 12119714"/>
              <a:gd name="connsiteY2" fmla="*/ 1351570 h 3852000"/>
              <a:gd name="connsiteX3" fmla="*/ 589548 w 12119714"/>
              <a:gd name="connsiteY3" fmla="*/ 2975833 h 3852000"/>
              <a:gd name="connsiteX4" fmla="*/ 3164306 w 12119714"/>
              <a:gd name="connsiteY4" fmla="*/ 3396938 h 3852000"/>
              <a:gd name="connsiteX5" fmla="*/ 4547937 w 12119714"/>
              <a:gd name="connsiteY5" fmla="*/ 124348 h 3852000"/>
              <a:gd name="connsiteX6" fmla="*/ 7279106 w 12119714"/>
              <a:gd name="connsiteY6" fmla="*/ 894370 h 3852000"/>
              <a:gd name="connsiteX7" fmla="*/ 10323095 w 12119714"/>
              <a:gd name="connsiteY7" fmla="*/ 28095 h 3852000"/>
              <a:gd name="connsiteX8" fmla="*/ 11694695 w 12119714"/>
              <a:gd name="connsiteY8" fmla="*/ 2169717 h 3852000"/>
              <a:gd name="connsiteX9" fmla="*/ 9023684 w 12119714"/>
              <a:gd name="connsiteY9" fmla="*/ 1375633 h 3852000"/>
              <a:gd name="connsiteX10" fmla="*/ 6605337 w 12119714"/>
              <a:gd name="connsiteY10" fmla="*/ 1844864 h 3852000"/>
              <a:gd name="connsiteX11" fmla="*/ 4632158 w 12119714"/>
              <a:gd name="connsiteY11" fmla="*/ 2133622 h 3852000"/>
              <a:gd name="connsiteX12" fmla="*/ 4307306 w 12119714"/>
              <a:gd name="connsiteY12" fmla="*/ 3637570 h 3852000"/>
              <a:gd name="connsiteX13" fmla="*/ 5305927 w 12119714"/>
              <a:gd name="connsiteY13" fmla="*/ 3709759 h 3852000"/>
              <a:gd name="connsiteX14" fmla="*/ 6424863 w 12119714"/>
              <a:gd name="connsiteY14" fmla="*/ 2386285 h 3852000"/>
              <a:gd name="connsiteX15" fmla="*/ 8698832 w 12119714"/>
              <a:gd name="connsiteY15" fmla="*/ 3396938 h 3852000"/>
              <a:gd name="connsiteX16" fmla="*/ 11670632 w 12119714"/>
              <a:gd name="connsiteY16" fmla="*/ 3240528 h 3852000"/>
              <a:gd name="connsiteX17" fmla="*/ 12055642 w 12119714"/>
              <a:gd name="connsiteY17" fmla="*/ 3240528 h 3852000"/>
              <a:gd name="connsiteX0" fmla="*/ 0 w 12119714"/>
              <a:gd name="connsiteY0" fmla="*/ 1086875 h 3852000"/>
              <a:gd name="connsiteX1" fmla="*/ 1479885 w 12119714"/>
              <a:gd name="connsiteY1" fmla="*/ 148412 h 3852000"/>
              <a:gd name="connsiteX2" fmla="*/ 2538664 w 12119714"/>
              <a:gd name="connsiteY2" fmla="*/ 1351570 h 3852000"/>
              <a:gd name="connsiteX3" fmla="*/ 589548 w 12119714"/>
              <a:gd name="connsiteY3" fmla="*/ 2975833 h 3852000"/>
              <a:gd name="connsiteX4" fmla="*/ 3164306 w 12119714"/>
              <a:gd name="connsiteY4" fmla="*/ 3396938 h 3852000"/>
              <a:gd name="connsiteX5" fmla="*/ 4547937 w 12119714"/>
              <a:gd name="connsiteY5" fmla="*/ 124348 h 3852000"/>
              <a:gd name="connsiteX6" fmla="*/ 7279106 w 12119714"/>
              <a:gd name="connsiteY6" fmla="*/ 894370 h 3852000"/>
              <a:gd name="connsiteX7" fmla="*/ 10323095 w 12119714"/>
              <a:gd name="connsiteY7" fmla="*/ 28095 h 3852000"/>
              <a:gd name="connsiteX8" fmla="*/ 11694695 w 12119714"/>
              <a:gd name="connsiteY8" fmla="*/ 2169717 h 3852000"/>
              <a:gd name="connsiteX9" fmla="*/ 9023684 w 12119714"/>
              <a:gd name="connsiteY9" fmla="*/ 1375633 h 3852000"/>
              <a:gd name="connsiteX10" fmla="*/ 6545179 w 12119714"/>
              <a:gd name="connsiteY10" fmla="*/ 1808769 h 3852000"/>
              <a:gd name="connsiteX11" fmla="*/ 4632158 w 12119714"/>
              <a:gd name="connsiteY11" fmla="*/ 2133622 h 3852000"/>
              <a:gd name="connsiteX12" fmla="*/ 4307306 w 12119714"/>
              <a:gd name="connsiteY12" fmla="*/ 3637570 h 3852000"/>
              <a:gd name="connsiteX13" fmla="*/ 5305927 w 12119714"/>
              <a:gd name="connsiteY13" fmla="*/ 3709759 h 3852000"/>
              <a:gd name="connsiteX14" fmla="*/ 6424863 w 12119714"/>
              <a:gd name="connsiteY14" fmla="*/ 2386285 h 3852000"/>
              <a:gd name="connsiteX15" fmla="*/ 8698832 w 12119714"/>
              <a:gd name="connsiteY15" fmla="*/ 3396938 h 3852000"/>
              <a:gd name="connsiteX16" fmla="*/ 11670632 w 12119714"/>
              <a:gd name="connsiteY16" fmla="*/ 3240528 h 3852000"/>
              <a:gd name="connsiteX17" fmla="*/ 12055642 w 12119714"/>
              <a:gd name="connsiteY17" fmla="*/ 3240528 h 3852000"/>
              <a:gd name="connsiteX0" fmla="*/ 0 w 12119714"/>
              <a:gd name="connsiteY0" fmla="*/ 1086875 h 3876767"/>
              <a:gd name="connsiteX1" fmla="*/ 1479885 w 12119714"/>
              <a:gd name="connsiteY1" fmla="*/ 148412 h 3876767"/>
              <a:gd name="connsiteX2" fmla="*/ 2538664 w 12119714"/>
              <a:gd name="connsiteY2" fmla="*/ 1351570 h 3876767"/>
              <a:gd name="connsiteX3" fmla="*/ 589548 w 12119714"/>
              <a:gd name="connsiteY3" fmla="*/ 2975833 h 3876767"/>
              <a:gd name="connsiteX4" fmla="*/ 3164306 w 12119714"/>
              <a:gd name="connsiteY4" fmla="*/ 3396938 h 3876767"/>
              <a:gd name="connsiteX5" fmla="*/ 4547937 w 12119714"/>
              <a:gd name="connsiteY5" fmla="*/ 124348 h 3876767"/>
              <a:gd name="connsiteX6" fmla="*/ 7279106 w 12119714"/>
              <a:gd name="connsiteY6" fmla="*/ 894370 h 3876767"/>
              <a:gd name="connsiteX7" fmla="*/ 10323095 w 12119714"/>
              <a:gd name="connsiteY7" fmla="*/ 28095 h 3876767"/>
              <a:gd name="connsiteX8" fmla="*/ 11694695 w 12119714"/>
              <a:gd name="connsiteY8" fmla="*/ 2169717 h 3876767"/>
              <a:gd name="connsiteX9" fmla="*/ 9023684 w 12119714"/>
              <a:gd name="connsiteY9" fmla="*/ 1375633 h 3876767"/>
              <a:gd name="connsiteX10" fmla="*/ 6545179 w 12119714"/>
              <a:gd name="connsiteY10" fmla="*/ 1808769 h 3876767"/>
              <a:gd name="connsiteX11" fmla="*/ 4511843 w 12119714"/>
              <a:gd name="connsiteY11" fmla="*/ 1712517 h 3876767"/>
              <a:gd name="connsiteX12" fmla="*/ 4307306 w 12119714"/>
              <a:gd name="connsiteY12" fmla="*/ 3637570 h 3876767"/>
              <a:gd name="connsiteX13" fmla="*/ 5305927 w 12119714"/>
              <a:gd name="connsiteY13" fmla="*/ 3709759 h 3876767"/>
              <a:gd name="connsiteX14" fmla="*/ 6424863 w 12119714"/>
              <a:gd name="connsiteY14" fmla="*/ 2386285 h 3876767"/>
              <a:gd name="connsiteX15" fmla="*/ 8698832 w 12119714"/>
              <a:gd name="connsiteY15" fmla="*/ 3396938 h 3876767"/>
              <a:gd name="connsiteX16" fmla="*/ 11670632 w 12119714"/>
              <a:gd name="connsiteY16" fmla="*/ 3240528 h 3876767"/>
              <a:gd name="connsiteX17" fmla="*/ 12055642 w 12119714"/>
              <a:gd name="connsiteY17" fmla="*/ 3240528 h 3876767"/>
              <a:gd name="connsiteX0" fmla="*/ 0 w 12119714"/>
              <a:gd name="connsiteY0" fmla="*/ 1086875 h 3719904"/>
              <a:gd name="connsiteX1" fmla="*/ 1479885 w 12119714"/>
              <a:gd name="connsiteY1" fmla="*/ 148412 h 3719904"/>
              <a:gd name="connsiteX2" fmla="*/ 2538664 w 12119714"/>
              <a:gd name="connsiteY2" fmla="*/ 1351570 h 3719904"/>
              <a:gd name="connsiteX3" fmla="*/ 589548 w 12119714"/>
              <a:gd name="connsiteY3" fmla="*/ 2975833 h 3719904"/>
              <a:gd name="connsiteX4" fmla="*/ 3164306 w 12119714"/>
              <a:gd name="connsiteY4" fmla="*/ 3396938 h 3719904"/>
              <a:gd name="connsiteX5" fmla="*/ 4547937 w 12119714"/>
              <a:gd name="connsiteY5" fmla="*/ 124348 h 3719904"/>
              <a:gd name="connsiteX6" fmla="*/ 7279106 w 12119714"/>
              <a:gd name="connsiteY6" fmla="*/ 894370 h 3719904"/>
              <a:gd name="connsiteX7" fmla="*/ 10323095 w 12119714"/>
              <a:gd name="connsiteY7" fmla="*/ 28095 h 3719904"/>
              <a:gd name="connsiteX8" fmla="*/ 11694695 w 12119714"/>
              <a:gd name="connsiteY8" fmla="*/ 2169717 h 3719904"/>
              <a:gd name="connsiteX9" fmla="*/ 9023684 w 12119714"/>
              <a:gd name="connsiteY9" fmla="*/ 1375633 h 3719904"/>
              <a:gd name="connsiteX10" fmla="*/ 6545179 w 12119714"/>
              <a:gd name="connsiteY10" fmla="*/ 1808769 h 3719904"/>
              <a:gd name="connsiteX11" fmla="*/ 4511843 w 12119714"/>
              <a:gd name="connsiteY11" fmla="*/ 1712517 h 3719904"/>
              <a:gd name="connsiteX12" fmla="*/ 4307306 w 12119714"/>
              <a:gd name="connsiteY12" fmla="*/ 3637570 h 3719904"/>
              <a:gd name="connsiteX13" fmla="*/ 6424863 w 12119714"/>
              <a:gd name="connsiteY13" fmla="*/ 2386285 h 3719904"/>
              <a:gd name="connsiteX14" fmla="*/ 8698832 w 12119714"/>
              <a:gd name="connsiteY14" fmla="*/ 3396938 h 3719904"/>
              <a:gd name="connsiteX15" fmla="*/ 11670632 w 12119714"/>
              <a:gd name="connsiteY15" fmla="*/ 3240528 h 3719904"/>
              <a:gd name="connsiteX16" fmla="*/ 12055642 w 12119714"/>
              <a:gd name="connsiteY16" fmla="*/ 3240528 h 3719904"/>
              <a:gd name="connsiteX0" fmla="*/ 0 w 12119714"/>
              <a:gd name="connsiteY0" fmla="*/ 1086875 h 3719904"/>
              <a:gd name="connsiteX1" fmla="*/ 1479885 w 12119714"/>
              <a:gd name="connsiteY1" fmla="*/ 148412 h 3719904"/>
              <a:gd name="connsiteX2" fmla="*/ 2538664 w 12119714"/>
              <a:gd name="connsiteY2" fmla="*/ 1351570 h 3719904"/>
              <a:gd name="connsiteX3" fmla="*/ 589548 w 12119714"/>
              <a:gd name="connsiteY3" fmla="*/ 2975833 h 3719904"/>
              <a:gd name="connsiteX4" fmla="*/ 3164306 w 12119714"/>
              <a:gd name="connsiteY4" fmla="*/ 3396938 h 3719904"/>
              <a:gd name="connsiteX5" fmla="*/ 4547937 w 12119714"/>
              <a:gd name="connsiteY5" fmla="*/ 124348 h 3719904"/>
              <a:gd name="connsiteX6" fmla="*/ 7279106 w 12119714"/>
              <a:gd name="connsiteY6" fmla="*/ 894370 h 3719904"/>
              <a:gd name="connsiteX7" fmla="*/ 10323095 w 12119714"/>
              <a:gd name="connsiteY7" fmla="*/ 28095 h 3719904"/>
              <a:gd name="connsiteX8" fmla="*/ 11694695 w 12119714"/>
              <a:gd name="connsiteY8" fmla="*/ 2169717 h 3719904"/>
              <a:gd name="connsiteX9" fmla="*/ 9023684 w 12119714"/>
              <a:gd name="connsiteY9" fmla="*/ 1375633 h 3719904"/>
              <a:gd name="connsiteX10" fmla="*/ 6545179 w 12119714"/>
              <a:gd name="connsiteY10" fmla="*/ 1808769 h 3719904"/>
              <a:gd name="connsiteX11" fmla="*/ 4511843 w 12119714"/>
              <a:gd name="connsiteY11" fmla="*/ 1712517 h 3719904"/>
              <a:gd name="connsiteX12" fmla="*/ 4307306 w 12119714"/>
              <a:gd name="connsiteY12" fmla="*/ 3637570 h 3719904"/>
              <a:gd name="connsiteX13" fmla="*/ 6424863 w 12119714"/>
              <a:gd name="connsiteY13" fmla="*/ 2386285 h 3719904"/>
              <a:gd name="connsiteX14" fmla="*/ 8698832 w 12119714"/>
              <a:gd name="connsiteY14" fmla="*/ 3396938 h 3719904"/>
              <a:gd name="connsiteX15" fmla="*/ 11670632 w 12119714"/>
              <a:gd name="connsiteY15" fmla="*/ 3240528 h 3719904"/>
              <a:gd name="connsiteX16" fmla="*/ 12055642 w 12119714"/>
              <a:gd name="connsiteY16" fmla="*/ 3240528 h 3719904"/>
              <a:gd name="connsiteX0" fmla="*/ 0 w 12119714"/>
              <a:gd name="connsiteY0" fmla="*/ 1086875 h 3719904"/>
              <a:gd name="connsiteX1" fmla="*/ 1479885 w 12119714"/>
              <a:gd name="connsiteY1" fmla="*/ 148412 h 3719904"/>
              <a:gd name="connsiteX2" fmla="*/ 2538664 w 12119714"/>
              <a:gd name="connsiteY2" fmla="*/ 1351570 h 3719904"/>
              <a:gd name="connsiteX3" fmla="*/ 589548 w 12119714"/>
              <a:gd name="connsiteY3" fmla="*/ 2975833 h 3719904"/>
              <a:gd name="connsiteX4" fmla="*/ 3164306 w 12119714"/>
              <a:gd name="connsiteY4" fmla="*/ 3396938 h 3719904"/>
              <a:gd name="connsiteX5" fmla="*/ 4547937 w 12119714"/>
              <a:gd name="connsiteY5" fmla="*/ 124348 h 3719904"/>
              <a:gd name="connsiteX6" fmla="*/ 7279106 w 12119714"/>
              <a:gd name="connsiteY6" fmla="*/ 894370 h 3719904"/>
              <a:gd name="connsiteX7" fmla="*/ 10323095 w 12119714"/>
              <a:gd name="connsiteY7" fmla="*/ 28095 h 3719904"/>
              <a:gd name="connsiteX8" fmla="*/ 11694695 w 12119714"/>
              <a:gd name="connsiteY8" fmla="*/ 2169717 h 3719904"/>
              <a:gd name="connsiteX9" fmla="*/ 9023684 w 12119714"/>
              <a:gd name="connsiteY9" fmla="*/ 1375633 h 3719904"/>
              <a:gd name="connsiteX10" fmla="*/ 6545179 w 12119714"/>
              <a:gd name="connsiteY10" fmla="*/ 1808769 h 3719904"/>
              <a:gd name="connsiteX11" fmla="*/ 4511843 w 12119714"/>
              <a:gd name="connsiteY11" fmla="*/ 1712517 h 3719904"/>
              <a:gd name="connsiteX12" fmla="*/ 4307306 w 12119714"/>
              <a:gd name="connsiteY12" fmla="*/ 3637570 h 3719904"/>
              <a:gd name="connsiteX13" fmla="*/ 6424863 w 12119714"/>
              <a:gd name="connsiteY13" fmla="*/ 2386285 h 3719904"/>
              <a:gd name="connsiteX14" fmla="*/ 8698832 w 12119714"/>
              <a:gd name="connsiteY14" fmla="*/ 3396938 h 3719904"/>
              <a:gd name="connsiteX15" fmla="*/ 11670632 w 12119714"/>
              <a:gd name="connsiteY15" fmla="*/ 3240528 h 3719904"/>
              <a:gd name="connsiteX16" fmla="*/ 12055642 w 12119714"/>
              <a:gd name="connsiteY16" fmla="*/ 3240528 h 3719904"/>
              <a:gd name="connsiteX0" fmla="*/ 0 w 12119714"/>
              <a:gd name="connsiteY0" fmla="*/ 1086875 h 3719904"/>
              <a:gd name="connsiteX1" fmla="*/ 1479885 w 12119714"/>
              <a:gd name="connsiteY1" fmla="*/ 148412 h 3719904"/>
              <a:gd name="connsiteX2" fmla="*/ 2538664 w 12119714"/>
              <a:gd name="connsiteY2" fmla="*/ 1351570 h 3719904"/>
              <a:gd name="connsiteX3" fmla="*/ 589548 w 12119714"/>
              <a:gd name="connsiteY3" fmla="*/ 2975833 h 3719904"/>
              <a:gd name="connsiteX4" fmla="*/ 3164306 w 12119714"/>
              <a:gd name="connsiteY4" fmla="*/ 3396938 h 3719904"/>
              <a:gd name="connsiteX5" fmla="*/ 4547937 w 12119714"/>
              <a:gd name="connsiteY5" fmla="*/ 124348 h 3719904"/>
              <a:gd name="connsiteX6" fmla="*/ 7279106 w 12119714"/>
              <a:gd name="connsiteY6" fmla="*/ 894370 h 3719904"/>
              <a:gd name="connsiteX7" fmla="*/ 10323095 w 12119714"/>
              <a:gd name="connsiteY7" fmla="*/ 28095 h 3719904"/>
              <a:gd name="connsiteX8" fmla="*/ 11694695 w 12119714"/>
              <a:gd name="connsiteY8" fmla="*/ 2169717 h 3719904"/>
              <a:gd name="connsiteX9" fmla="*/ 9023684 w 12119714"/>
              <a:gd name="connsiteY9" fmla="*/ 1375633 h 3719904"/>
              <a:gd name="connsiteX10" fmla="*/ 6545179 w 12119714"/>
              <a:gd name="connsiteY10" fmla="*/ 1808769 h 3719904"/>
              <a:gd name="connsiteX11" fmla="*/ 4511843 w 12119714"/>
              <a:gd name="connsiteY11" fmla="*/ 1712517 h 3719904"/>
              <a:gd name="connsiteX12" fmla="*/ 4752475 w 12119714"/>
              <a:gd name="connsiteY12" fmla="*/ 3661633 h 3719904"/>
              <a:gd name="connsiteX13" fmla="*/ 6424863 w 12119714"/>
              <a:gd name="connsiteY13" fmla="*/ 2386285 h 3719904"/>
              <a:gd name="connsiteX14" fmla="*/ 8698832 w 12119714"/>
              <a:gd name="connsiteY14" fmla="*/ 3396938 h 3719904"/>
              <a:gd name="connsiteX15" fmla="*/ 11670632 w 12119714"/>
              <a:gd name="connsiteY15" fmla="*/ 3240528 h 3719904"/>
              <a:gd name="connsiteX16" fmla="*/ 12055642 w 12119714"/>
              <a:gd name="connsiteY16" fmla="*/ 3240528 h 3719904"/>
              <a:gd name="connsiteX0" fmla="*/ 0 w 12119714"/>
              <a:gd name="connsiteY0" fmla="*/ 1086875 h 3719904"/>
              <a:gd name="connsiteX1" fmla="*/ 1479885 w 12119714"/>
              <a:gd name="connsiteY1" fmla="*/ 148412 h 3719904"/>
              <a:gd name="connsiteX2" fmla="*/ 2538664 w 12119714"/>
              <a:gd name="connsiteY2" fmla="*/ 1351570 h 3719904"/>
              <a:gd name="connsiteX3" fmla="*/ 589548 w 12119714"/>
              <a:gd name="connsiteY3" fmla="*/ 2975833 h 3719904"/>
              <a:gd name="connsiteX4" fmla="*/ 3164306 w 12119714"/>
              <a:gd name="connsiteY4" fmla="*/ 3396938 h 3719904"/>
              <a:gd name="connsiteX5" fmla="*/ 4547937 w 12119714"/>
              <a:gd name="connsiteY5" fmla="*/ 124348 h 3719904"/>
              <a:gd name="connsiteX6" fmla="*/ 7279106 w 12119714"/>
              <a:gd name="connsiteY6" fmla="*/ 894370 h 3719904"/>
              <a:gd name="connsiteX7" fmla="*/ 10323095 w 12119714"/>
              <a:gd name="connsiteY7" fmla="*/ 28095 h 3719904"/>
              <a:gd name="connsiteX8" fmla="*/ 11694695 w 12119714"/>
              <a:gd name="connsiteY8" fmla="*/ 2169717 h 3719904"/>
              <a:gd name="connsiteX9" fmla="*/ 9023684 w 12119714"/>
              <a:gd name="connsiteY9" fmla="*/ 1375633 h 3719904"/>
              <a:gd name="connsiteX10" fmla="*/ 6545179 w 12119714"/>
              <a:gd name="connsiteY10" fmla="*/ 1808769 h 3719904"/>
              <a:gd name="connsiteX11" fmla="*/ 4511843 w 12119714"/>
              <a:gd name="connsiteY11" fmla="*/ 1712517 h 3719904"/>
              <a:gd name="connsiteX12" fmla="*/ 4752475 w 12119714"/>
              <a:gd name="connsiteY12" fmla="*/ 3661633 h 3719904"/>
              <a:gd name="connsiteX13" fmla="*/ 6821905 w 12119714"/>
              <a:gd name="connsiteY13" fmla="*/ 2458475 h 3719904"/>
              <a:gd name="connsiteX14" fmla="*/ 8698832 w 12119714"/>
              <a:gd name="connsiteY14" fmla="*/ 3396938 h 3719904"/>
              <a:gd name="connsiteX15" fmla="*/ 11670632 w 12119714"/>
              <a:gd name="connsiteY15" fmla="*/ 3240528 h 3719904"/>
              <a:gd name="connsiteX16" fmla="*/ 12055642 w 12119714"/>
              <a:gd name="connsiteY16" fmla="*/ 3240528 h 3719904"/>
              <a:gd name="connsiteX0" fmla="*/ 0 w 12119714"/>
              <a:gd name="connsiteY0" fmla="*/ 1086875 h 3719904"/>
              <a:gd name="connsiteX1" fmla="*/ 1479885 w 12119714"/>
              <a:gd name="connsiteY1" fmla="*/ 148412 h 3719904"/>
              <a:gd name="connsiteX2" fmla="*/ 2538664 w 12119714"/>
              <a:gd name="connsiteY2" fmla="*/ 1351570 h 3719904"/>
              <a:gd name="connsiteX3" fmla="*/ 589548 w 12119714"/>
              <a:gd name="connsiteY3" fmla="*/ 2975833 h 3719904"/>
              <a:gd name="connsiteX4" fmla="*/ 3164306 w 12119714"/>
              <a:gd name="connsiteY4" fmla="*/ 3396938 h 3719904"/>
              <a:gd name="connsiteX5" fmla="*/ 4547937 w 12119714"/>
              <a:gd name="connsiteY5" fmla="*/ 124348 h 3719904"/>
              <a:gd name="connsiteX6" fmla="*/ 7279106 w 12119714"/>
              <a:gd name="connsiteY6" fmla="*/ 894370 h 3719904"/>
              <a:gd name="connsiteX7" fmla="*/ 10323095 w 12119714"/>
              <a:gd name="connsiteY7" fmla="*/ 28095 h 3719904"/>
              <a:gd name="connsiteX8" fmla="*/ 11694695 w 12119714"/>
              <a:gd name="connsiteY8" fmla="*/ 2169717 h 3719904"/>
              <a:gd name="connsiteX9" fmla="*/ 9023684 w 12119714"/>
              <a:gd name="connsiteY9" fmla="*/ 1375633 h 3719904"/>
              <a:gd name="connsiteX10" fmla="*/ 6545179 w 12119714"/>
              <a:gd name="connsiteY10" fmla="*/ 1808769 h 3719904"/>
              <a:gd name="connsiteX11" fmla="*/ 4511843 w 12119714"/>
              <a:gd name="connsiteY11" fmla="*/ 1712517 h 3719904"/>
              <a:gd name="connsiteX12" fmla="*/ 4981075 w 12119714"/>
              <a:gd name="connsiteY12" fmla="*/ 3673665 h 3719904"/>
              <a:gd name="connsiteX13" fmla="*/ 6821905 w 12119714"/>
              <a:gd name="connsiteY13" fmla="*/ 2458475 h 3719904"/>
              <a:gd name="connsiteX14" fmla="*/ 8698832 w 12119714"/>
              <a:gd name="connsiteY14" fmla="*/ 3396938 h 3719904"/>
              <a:gd name="connsiteX15" fmla="*/ 11670632 w 12119714"/>
              <a:gd name="connsiteY15" fmla="*/ 3240528 h 3719904"/>
              <a:gd name="connsiteX16" fmla="*/ 12055642 w 12119714"/>
              <a:gd name="connsiteY16" fmla="*/ 3240528 h 3719904"/>
              <a:gd name="connsiteX0" fmla="*/ 0 w 12119714"/>
              <a:gd name="connsiteY0" fmla="*/ 1086875 h 3719904"/>
              <a:gd name="connsiteX1" fmla="*/ 1479885 w 12119714"/>
              <a:gd name="connsiteY1" fmla="*/ 148412 h 3719904"/>
              <a:gd name="connsiteX2" fmla="*/ 2538664 w 12119714"/>
              <a:gd name="connsiteY2" fmla="*/ 1351570 h 3719904"/>
              <a:gd name="connsiteX3" fmla="*/ 589548 w 12119714"/>
              <a:gd name="connsiteY3" fmla="*/ 2975833 h 3719904"/>
              <a:gd name="connsiteX4" fmla="*/ 3164306 w 12119714"/>
              <a:gd name="connsiteY4" fmla="*/ 3396938 h 3719904"/>
              <a:gd name="connsiteX5" fmla="*/ 4547937 w 12119714"/>
              <a:gd name="connsiteY5" fmla="*/ 124348 h 3719904"/>
              <a:gd name="connsiteX6" fmla="*/ 7279106 w 12119714"/>
              <a:gd name="connsiteY6" fmla="*/ 894370 h 3719904"/>
              <a:gd name="connsiteX7" fmla="*/ 10323095 w 12119714"/>
              <a:gd name="connsiteY7" fmla="*/ 28095 h 3719904"/>
              <a:gd name="connsiteX8" fmla="*/ 11694695 w 12119714"/>
              <a:gd name="connsiteY8" fmla="*/ 2169717 h 3719904"/>
              <a:gd name="connsiteX9" fmla="*/ 9023684 w 12119714"/>
              <a:gd name="connsiteY9" fmla="*/ 1375633 h 3719904"/>
              <a:gd name="connsiteX10" fmla="*/ 6545179 w 12119714"/>
              <a:gd name="connsiteY10" fmla="*/ 1808769 h 3719904"/>
              <a:gd name="connsiteX11" fmla="*/ 4511843 w 12119714"/>
              <a:gd name="connsiteY11" fmla="*/ 1712517 h 3719904"/>
              <a:gd name="connsiteX12" fmla="*/ 4981075 w 12119714"/>
              <a:gd name="connsiteY12" fmla="*/ 3673665 h 3719904"/>
              <a:gd name="connsiteX13" fmla="*/ 6821905 w 12119714"/>
              <a:gd name="connsiteY13" fmla="*/ 2458475 h 3719904"/>
              <a:gd name="connsiteX14" fmla="*/ 8698832 w 12119714"/>
              <a:gd name="connsiteY14" fmla="*/ 3396938 h 3719904"/>
              <a:gd name="connsiteX15" fmla="*/ 11670632 w 12119714"/>
              <a:gd name="connsiteY15" fmla="*/ 3240528 h 3719904"/>
              <a:gd name="connsiteX16" fmla="*/ 12055642 w 12119714"/>
              <a:gd name="connsiteY16" fmla="*/ 3240528 h 3719904"/>
              <a:gd name="connsiteX0" fmla="*/ 0 w 12119714"/>
              <a:gd name="connsiteY0" fmla="*/ 1086875 h 3719904"/>
              <a:gd name="connsiteX1" fmla="*/ 1479885 w 12119714"/>
              <a:gd name="connsiteY1" fmla="*/ 148412 h 3719904"/>
              <a:gd name="connsiteX2" fmla="*/ 2538664 w 12119714"/>
              <a:gd name="connsiteY2" fmla="*/ 1351570 h 3719904"/>
              <a:gd name="connsiteX3" fmla="*/ 589548 w 12119714"/>
              <a:gd name="connsiteY3" fmla="*/ 2975833 h 3719904"/>
              <a:gd name="connsiteX4" fmla="*/ 3164306 w 12119714"/>
              <a:gd name="connsiteY4" fmla="*/ 3396938 h 3719904"/>
              <a:gd name="connsiteX5" fmla="*/ 4547937 w 12119714"/>
              <a:gd name="connsiteY5" fmla="*/ 124348 h 3719904"/>
              <a:gd name="connsiteX6" fmla="*/ 7279106 w 12119714"/>
              <a:gd name="connsiteY6" fmla="*/ 894370 h 3719904"/>
              <a:gd name="connsiteX7" fmla="*/ 10323095 w 12119714"/>
              <a:gd name="connsiteY7" fmla="*/ 28095 h 3719904"/>
              <a:gd name="connsiteX8" fmla="*/ 11694695 w 12119714"/>
              <a:gd name="connsiteY8" fmla="*/ 2169717 h 3719904"/>
              <a:gd name="connsiteX9" fmla="*/ 9023684 w 12119714"/>
              <a:gd name="connsiteY9" fmla="*/ 1375633 h 3719904"/>
              <a:gd name="connsiteX10" fmla="*/ 6545179 w 12119714"/>
              <a:gd name="connsiteY10" fmla="*/ 1808769 h 3719904"/>
              <a:gd name="connsiteX11" fmla="*/ 4776538 w 12119714"/>
              <a:gd name="connsiteY11" fmla="*/ 1953149 h 3719904"/>
              <a:gd name="connsiteX12" fmla="*/ 4981075 w 12119714"/>
              <a:gd name="connsiteY12" fmla="*/ 3673665 h 3719904"/>
              <a:gd name="connsiteX13" fmla="*/ 6821905 w 12119714"/>
              <a:gd name="connsiteY13" fmla="*/ 2458475 h 3719904"/>
              <a:gd name="connsiteX14" fmla="*/ 8698832 w 12119714"/>
              <a:gd name="connsiteY14" fmla="*/ 3396938 h 3719904"/>
              <a:gd name="connsiteX15" fmla="*/ 11670632 w 12119714"/>
              <a:gd name="connsiteY15" fmla="*/ 3240528 h 3719904"/>
              <a:gd name="connsiteX16" fmla="*/ 12055642 w 12119714"/>
              <a:gd name="connsiteY16" fmla="*/ 3240528 h 3719904"/>
              <a:gd name="connsiteX0" fmla="*/ 0 w 12119714"/>
              <a:gd name="connsiteY0" fmla="*/ 1086875 h 3719904"/>
              <a:gd name="connsiteX1" fmla="*/ 1479885 w 12119714"/>
              <a:gd name="connsiteY1" fmla="*/ 148412 h 3719904"/>
              <a:gd name="connsiteX2" fmla="*/ 2538664 w 12119714"/>
              <a:gd name="connsiteY2" fmla="*/ 1351570 h 3719904"/>
              <a:gd name="connsiteX3" fmla="*/ 589548 w 12119714"/>
              <a:gd name="connsiteY3" fmla="*/ 2975833 h 3719904"/>
              <a:gd name="connsiteX4" fmla="*/ 3164306 w 12119714"/>
              <a:gd name="connsiteY4" fmla="*/ 3396938 h 3719904"/>
              <a:gd name="connsiteX5" fmla="*/ 4547937 w 12119714"/>
              <a:gd name="connsiteY5" fmla="*/ 124348 h 3719904"/>
              <a:gd name="connsiteX6" fmla="*/ 7279106 w 12119714"/>
              <a:gd name="connsiteY6" fmla="*/ 894370 h 3719904"/>
              <a:gd name="connsiteX7" fmla="*/ 10323095 w 12119714"/>
              <a:gd name="connsiteY7" fmla="*/ 28095 h 3719904"/>
              <a:gd name="connsiteX8" fmla="*/ 11694695 w 12119714"/>
              <a:gd name="connsiteY8" fmla="*/ 2169717 h 3719904"/>
              <a:gd name="connsiteX9" fmla="*/ 9023684 w 12119714"/>
              <a:gd name="connsiteY9" fmla="*/ 1375633 h 3719904"/>
              <a:gd name="connsiteX10" fmla="*/ 6545179 w 12119714"/>
              <a:gd name="connsiteY10" fmla="*/ 1808769 h 3719904"/>
              <a:gd name="connsiteX11" fmla="*/ 4776538 w 12119714"/>
              <a:gd name="connsiteY11" fmla="*/ 1953149 h 3719904"/>
              <a:gd name="connsiteX12" fmla="*/ 4981075 w 12119714"/>
              <a:gd name="connsiteY12" fmla="*/ 3673665 h 3719904"/>
              <a:gd name="connsiteX13" fmla="*/ 6821905 w 12119714"/>
              <a:gd name="connsiteY13" fmla="*/ 2458475 h 3719904"/>
              <a:gd name="connsiteX14" fmla="*/ 8698832 w 12119714"/>
              <a:gd name="connsiteY14" fmla="*/ 3396938 h 3719904"/>
              <a:gd name="connsiteX15" fmla="*/ 11670632 w 12119714"/>
              <a:gd name="connsiteY15" fmla="*/ 3240528 h 3719904"/>
              <a:gd name="connsiteX16" fmla="*/ 12055642 w 12119714"/>
              <a:gd name="connsiteY16" fmla="*/ 3240528 h 3719904"/>
              <a:gd name="connsiteX0" fmla="*/ 0 w 12119714"/>
              <a:gd name="connsiteY0" fmla="*/ 1086875 h 3719904"/>
              <a:gd name="connsiteX1" fmla="*/ 1479885 w 12119714"/>
              <a:gd name="connsiteY1" fmla="*/ 148412 h 3719904"/>
              <a:gd name="connsiteX2" fmla="*/ 2538664 w 12119714"/>
              <a:gd name="connsiteY2" fmla="*/ 1351570 h 3719904"/>
              <a:gd name="connsiteX3" fmla="*/ 589548 w 12119714"/>
              <a:gd name="connsiteY3" fmla="*/ 2975833 h 3719904"/>
              <a:gd name="connsiteX4" fmla="*/ 3164306 w 12119714"/>
              <a:gd name="connsiteY4" fmla="*/ 3396938 h 3719904"/>
              <a:gd name="connsiteX5" fmla="*/ 4547937 w 12119714"/>
              <a:gd name="connsiteY5" fmla="*/ 124348 h 3719904"/>
              <a:gd name="connsiteX6" fmla="*/ 7279106 w 12119714"/>
              <a:gd name="connsiteY6" fmla="*/ 894370 h 3719904"/>
              <a:gd name="connsiteX7" fmla="*/ 10323095 w 12119714"/>
              <a:gd name="connsiteY7" fmla="*/ 28095 h 3719904"/>
              <a:gd name="connsiteX8" fmla="*/ 11694695 w 12119714"/>
              <a:gd name="connsiteY8" fmla="*/ 2169717 h 3719904"/>
              <a:gd name="connsiteX9" fmla="*/ 9023684 w 12119714"/>
              <a:gd name="connsiteY9" fmla="*/ 1375633 h 3719904"/>
              <a:gd name="connsiteX10" fmla="*/ 6545179 w 12119714"/>
              <a:gd name="connsiteY10" fmla="*/ 1808769 h 3719904"/>
              <a:gd name="connsiteX11" fmla="*/ 4776538 w 12119714"/>
              <a:gd name="connsiteY11" fmla="*/ 1953149 h 3719904"/>
              <a:gd name="connsiteX12" fmla="*/ 4981075 w 12119714"/>
              <a:gd name="connsiteY12" fmla="*/ 3673665 h 3719904"/>
              <a:gd name="connsiteX13" fmla="*/ 6821905 w 12119714"/>
              <a:gd name="connsiteY13" fmla="*/ 2458475 h 3719904"/>
              <a:gd name="connsiteX14" fmla="*/ 8698832 w 12119714"/>
              <a:gd name="connsiteY14" fmla="*/ 3396938 h 3719904"/>
              <a:gd name="connsiteX15" fmla="*/ 11670632 w 12119714"/>
              <a:gd name="connsiteY15" fmla="*/ 3240528 h 3719904"/>
              <a:gd name="connsiteX16" fmla="*/ 12055642 w 12119714"/>
              <a:gd name="connsiteY16" fmla="*/ 3240528 h 3719904"/>
              <a:gd name="connsiteX0" fmla="*/ 0 w 12119714"/>
              <a:gd name="connsiteY0" fmla="*/ 1086875 h 3719904"/>
              <a:gd name="connsiteX1" fmla="*/ 1479885 w 12119714"/>
              <a:gd name="connsiteY1" fmla="*/ 148412 h 3719904"/>
              <a:gd name="connsiteX2" fmla="*/ 2538664 w 12119714"/>
              <a:gd name="connsiteY2" fmla="*/ 1351570 h 3719904"/>
              <a:gd name="connsiteX3" fmla="*/ 589548 w 12119714"/>
              <a:gd name="connsiteY3" fmla="*/ 2975833 h 3719904"/>
              <a:gd name="connsiteX4" fmla="*/ 3164306 w 12119714"/>
              <a:gd name="connsiteY4" fmla="*/ 3396938 h 3719904"/>
              <a:gd name="connsiteX5" fmla="*/ 4547937 w 12119714"/>
              <a:gd name="connsiteY5" fmla="*/ 124348 h 3719904"/>
              <a:gd name="connsiteX6" fmla="*/ 7279106 w 12119714"/>
              <a:gd name="connsiteY6" fmla="*/ 894370 h 3719904"/>
              <a:gd name="connsiteX7" fmla="*/ 10323095 w 12119714"/>
              <a:gd name="connsiteY7" fmla="*/ 28095 h 3719904"/>
              <a:gd name="connsiteX8" fmla="*/ 11694695 w 12119714"/>
              <a:gd name="connsiteY8" fmla="*/ 2169717 h 3719904"/>
              <a:gd name="connsiteX9" fmla="*/ 9023684 w 12119714"/>
              <a:gd name="connsiteY9" fmla="*/ 1375633 h 3719904"/>
              <a:gd name="connsiteX10" fmla="*/ 6918158 w 12119714"/>
              <a:gd name="connsiteY10" fmla="*/ 1652358 h 3719904"/>
              <a:gd name="connsiteX11" fmla="*/ 4776538 w 12119714"/>
              <a:gd name="connsiteY11" fmla="*/ 1953149 h 3719904"/>
              <a:gd name="connsiteX12" fmla="*/ 4981075 w 12119714"/>
              <a:gd name="connsiteY12" fmla="*/ 3673665 h 3719904"/>
              <a:gd name="connsiteX13" fmla="*/ 6821905 w 12119714"/>
              <a:gd name="connsiteY13" fmla="*/ 2458475 h 3719904"/>
              <a:gd name="connsiteX14" fmla="*/ 8698832 w 12119714"/>
              <a:gd name="connsiteY14" fmla="*/ 3396938 h 3719904"/>
              <a:gd name="connsiteX15" fmla="*/ 11670632 w 12119714"/>
              <a:gd name="connsiteY15" fmla="*/ 3240528 h 3719904"/>
              <a:gd name="connsiteX16" fmla="*/ 12055642 w 12119714"/>
              <a:gd name="connsiteY16" fmla="*/ 3240528 h 3719904"/>
              <a:gd name="connsiteX0" fmla="*/ 0 w 12119714"/>
              <a:gd name="connsiteY0" fmla="*/ 1086875 h 3719904"/>
              <a:gd name="connsiteX1" fmla="*/ 1479885 w 12119714"/>
              <a:gd name="connsiteY1" fmla="*/ 148412 h 3719904"/>
              <a:gd name="connsiteX2" fmla="*/ 2538664 w 12119714"/>
              <a:gd name="connsiteY2" fmla="*/ 1351570 h 3719904"/>
              <a:gd name="connsiteX3" fmla="*/ 589548 w 12119714"/>
              <a:gd name="connsiteY3" fmla="*/ 2975833 h 3719904"/>
              <a:gd name="connsiteX4" fmla="*/ 3164306 w 12119714"/>
              <a:gd name="connsiteY4" fmla="*/ 3396938 h 3719904"/>
              <a:gd name="connsiteX5" fmla="*/ 4547937 w 12119714"/>
              <a:gd name="connsiteY5" fmla="*/ 124348 h 3719904"/>
              <a:gd name="connsiteX6" fmla="*/ 7279106 w 12119714"/>
              <a:gd name="connsiteY6" fmla="*/ 894370 h 3719904"/>
              <a:gd name="connsiteX7" fmla="*/ 10323095 w 12119714"/>
              <a:gd name="connsiteY7" fmla="*/ 28095 h 3719904"/>
              <a:gd name="connsiteX8" fmla="*/ 11694695 w 12119714"/>
              <a:gd name="connsiteY8" fmla="*/ 2169717 h 3719904"/>
              <a:gd name="connsiteX9" fmla="*/ 9023684 w 12119714"/>
              <a:gd name="connsiteY9" fmla="*/ 1375633 h 3719904"/>
              <a:gd name="connsiteX10" fmla="*/ 6918158 w 12119714"/>
              <a:gd name="connsiteY10" fmla="*/ 1652358 h 3719904"/>
              <a:gd name="connsiteX11" fmla="*/ 6304548 w 12119714"/>
              <a:gd name="connsiteY11" fmla="*/ 1868928 h 3719904"/>
              <a:gd name="connsiteX12" fmla="*/ 4981075 w 12119714"/>
              <a:gd name="connsiteY12" fmla="*/ 3673665 h 3719904"/>
              <a:gd name="connsiteX13" fmla="*/ 6821905 w 12119714"/>
              <a:gd name="connsiteY13" fmla="*/ 2458475 h 3719904"/>
              <a:gd name="connsiteX14" fmla="*/ 8698832 w 12119714"/>
              <a:gd name="connsiteY14" fmla="*/ 3396938 h 3719904"/>
              <a:gd name="connsiteX15" fmla="*/ 11670632 w 12119714"/>
              <a:gd name="connsiteY15" fmla="*/ 3240528 h 3719904"/>
              <a:gd name="connsiteX16" fmla="*/ 12055642 w 12119714"/>
              <a:gd name="connsiteY16" fmla="*/ 3240528 h 3719904"/>
              <a:gd name="connsiteX0" fmla="*/ 0 w 12119714"/>
              <a:gd name="connsiteY0" fmla="*/ 1086875 h 3719904"/>
              <a:gd name="connsiteX1" fmla="*/ 1479885 w 12119714"/>
              <a:gd name="connsiteY1" fmla="*/ 148412 h 3719904"/>
              <a:gd name="connsiteX2" fmla="*/ 2538664 w 12119714"/>
              <a:gd name="connsiteY2" fmla="*/ 1351570 h 3719904"/>
              <a:gd name="connsiteX3" fmla="*/ 589548 w 12119714"/>
              <a:gd name="connsiteY3" fmla="*/ 2975833 h 3719904"/>
              <a:gd name="connsiteX4" fmla="*/ 3164306 w 12119714"/>
              <a:gd name="connsiteY4" fmla="*/ 3396938 h 3719904"/>
              <a:gd name="connsiteX5" fmla="*/ 4547937 w 12119714"/>
              <a:gd name="connsiteY5" fmla="*/ 124348 h 3719904"/>
              <a:gd name="connsiteX6" fmla="*/ 7279106 w 12119714"/>
              <a:gd name="connsiteY6" fmla="*/ 894370 h 3719904"/>
              <a:gd name="connsiteX7" fmla="*/ 10323095 w 12119714"/>
              <a:gd name="connsiteY7" fmla="*/ 28095 h 3719904"/>
              <a:gd name="connsiteX8" fmla="*/ 11694695 w 12119714"/>
              <a:gd name="connsiteY8" fmla="*/ 2169717 h 3719904"/>
              <a:gd name="connsiteX9" fmla="*/ 9023684 w 12119714"/>
              <a:gd name="connsiteY9" fmla="*/ 1375633 h 3719904"/>
              <a:gd name="connsiteX10" fmla="*/ 6918158 w 12119714"/>
              <a:gd name="connsiteY10" fmla="*/ 1652358 h 3719904"/>
              <a:gd name="connsiteX11" fmla="*/ 6304548 w 12119714"/>
              <a:gd name="connsiteY11" fmla="*/ 1868928 h 3719904"/>
              <a:gd name="connsiteX12" fmla="*/ 6641433 w 12119714"/>
              <a:gd name="connsiteY12" fmla="*/ 3264592 h 3719904"/>
              <a:gd name="connsiteX13" fmla="*/ 6821905 w 12119714"/>
              <a:gd name="connsiteY13" fmla="*/ 2458475 h 3719904"/>
              <a:gd name="connsiteX14" fmla="*/ 8698832 w 12119714"/>
              <a:gd name="connsiteY14" fmla="*/ 3396938 h 3719904"/>
              <a:gd name="connsiteX15" fmla="*/ 11670632 w 12119714"/>
              <a:gd name="connsiteY15" fmla="*/ 3240528 h 3719904"/>
              <a:gd name="connsiteX16" fmla="*/ 12055642 w 12119714"/>
              <a:gd name="connsiteY16" fmla="*/ 3240528 h 3719904"/>
              <a:gd name="connsiteX0" fmla="*/ 0 w 12119714"/>
              <a:gd name="connsiteY0" fmla="*/ 1086875 h 3719904"/>
              <a:gd name="connsiteX1" fmla="*/ 1479885 w 12119714"/>
              <a:gd name="connsiteY1" fmla="*/ 148412 h 3719904"/>
              <a:gd name="connsiteX2" fmla="*/ 2538664 w 12119714"/>
              <a:gd name="connsiteY2" fmla="*/ 1351570 h 3719904"/>
              <a:gd name="connsiteX3" fmla="*/ 589548 w 12119714"/>
              <a:gd name="connsiteY3" fmla="*/ 2975833 h 3719904"/>
              <a:gd name="connsiteX4" fmla="*/ 3164306 w 12119714"/>
              <a:gd name="connsiteY4" fmla="*/ 3396938 h 3719904"/>
              <a:gd name="connsiteX5" fmla="*/ 4547937 w 12119714"/>
              <a:gd name="connsiteY5" fmla="*/ 124348 h 3719904"/>
              <a:gd name="connsiteX6" fmla="*/ 7279106 w 12119714"/>
              <a:gd name="connsiteY6" fmla="*/ 894370 h 3719904"/>
              <a:gd name="connsiteX7" fmla="*/ 10323095 w 12119714"/>
              <a:gd name="connsiteY7" fmla="*/ 28095 h 3719904"/>
              <a:gd name="connsiteX8" fmla="*/ 11694695 w 12119714"/>
              <a:gd name="connsiteY8" fmla="*/ 2169717 h 3719904"/>
              <a:gd name="connsiteX9" fmla="*/ 9023684 w 12119714"/>
              <a:gd name="connsiteY9" fmla="*/ 1375633 h 3719904"/>
              <a:gd name="connsiteX10" fmla="*/ 6918158 w 12119714"/>
              <a:gd name="connsiteY10" fmla="*/ 1652358 h 3719904"/>
              <a:gd name="connsiteX11" fmla="*/ 6304548 w 12119714"/>
              <a:gd name="connsiteY11" fmla="*/ 1868928 h 3719904"/>
              <a:gd name="connsiteX12" fmla="*/ 6641433 w 12119714"/>
              <a:gd name="connsiteY12" fmla="*/ 3264592 h 3719904"/>
              <a:gd name="connsiteX13" fmla="*/ 8915400 w 12119714"/>
              <a:gd name="connsiteY13" fmla="*/ 2518633 h 3719904"/>
              <a:gd name="connsiteX14" fmla="*/ 8698832 w 12119714"/>
              <a:gd name="connsiteY14" fmla="*/ 3396938 h 3719904"/>
              <a:gd name="connsiteX15" fmla="*/ 11670632 w 12119714"/>
              <a:gd name="connsiteY15" fmla="*/ 3240528 h 3719904"/>
              <a:gd name="connsiteX16" fmla="*/ 12055642 w 12119714"/>
              <a:gd name="connsiteY16" fmla="*/ 3240528 h 3719904"/>
              <a:gd name="connsiteX0" fmla="*/ 0 w 12073168"/>
              <a:gd name="connsiteY0" fmla="*/ 1086875 h 3763216"/>
              <a:gd name="connsiteX1" fmla="*/ 1479885 w 12073168"/>
              <a:gd name="connsiteY1" fmla="*/ 148412 h 3763216"/>
              <a:gd name="connsiteX2" fmla="*/ 2538664 w 12073168"/>
              <a:gd name="connsiteY2" fmla="*/ 1351570 h 3763216"/>
              <a:gd name="connsiteX3" fmla="*/ 589548 w 12073168"/>
              <a:gd name="connsiteY3" fmla="*/ 2975833 h 3763216"/>
              <a:gd name="connsiteX4" fmla="*/ 3164306 w 12073168"/>
              <a:gd name="connsiteY4" fmla="*/ 3396938 h 3763216"/>
              <a:gd name="connsiteX5" fmla="*/ 4547937 w 12073168"/>
              <a:gd name="connsiteY5" fmla="*/ 124348 h 3763216"/>
              <a:gd name="connsiteX6" fmla="*/ 7279106 w 12073168"/>
              <a:gd name="connsiteY6" fmla="*/ 894370 h 3763216"/>
              <a:gd name="connsiteX7" fmla="*/ 10323095 w 12073168"/>
              <a:gd name="connsiteY7" fmla="*/ 28095 h 3763216"/>
              <a:gd name="connsiteX8" fmla="*/ 11694695 w 12073168"/>
              <a:gd name="connsiteY8" fmla="*/ 2169717 h 3763216"/>
              <a:gd name="connsiteX9" fmla="*/ 9023684 w 12073168"/>
              <a:gd name="connsiteY9" fmla="*/ 1375633 h 3763216"/>
              <a:gd name="connsiteX10" fmla="*/ 6918158 w 12073168"/>
              <a:gd name="connsiteY10" fmla="*/ 1652358 h 3763216"/>
              <a:gd name="connsiteX11" fmla="*/ 6304548 w 12073168"/>
              <a:gd name="connsiteY11" fmla="*/ 1868928 h 3763216"/>
              <a:gd name="connsiteX12" fmla="*/ 6641433 w 12073168"/>
              <a:gd name="connsiteY12" fmla="*/ 3264592 h 3763216"/>
              <a:gd name="connsiteX13" fmla="*/ 8915400 w 12073168"/>
              <a:gd name="connsiteY13" fmla="*/ 2518633 h 3763216"/>
              <a:gd name="connsiteX14" fmla="*/ 10756232 w 12073168"/>
              <a:gd name="connsiteY14" fmla="*/ 3745854 h 3763216"/>
              <a:gd name="connsiteX15" fmla="*/ 11670632 w 12073168"/>
              <a:gd name="connsiteY15" fmla="*/ 3240528 h 3763216"/>
              <a:gd name="connsiteX16" fmla="*/ 12055642 w 12073168"/>
              <a:gd name="connsiteY16" fmla="*/ 3240528 h 3763216"/>
              <a:gd name="connsiteX0" fmla="*/ 0 w 12073168"/>
              <a:gd name="connsiteY0" fmla="*/ 1086875 h 3750732"/>
              <a:gd name="connsiteX1" fmla="*/ 1479885 w 12073168"/>
              <a:gd name="connsiteY1" fmla="*/ 148412 h 3750732"/>
              <a:gd name="connsiteX2" fmla="*/ 2538664 w 12073168"/>
              <a:gd name="connsiteY2" fmla="*/ 1351570 h 3750732"/>
              <a:gd name="connsiteX3" fmla="*/ 589548 w 12073168"/>
              <a:gd name="connsiteY3" fmla="*/ 2975833 h 3750732"/>
              <a:gd name="connsiteX4" fmla="*/ 3164306 w 12073168"/>
              <a:gd name="connsiteY4" fmla="*/ 3396938 h 3750732"/>
              <a:gd name="connsiteX5" fmla="*/ 4547937 w 12073168"/>
              <a:gd name="connsiteY5" fmla="*/ 124348 h 3750732"/>
              <a:gd name="connsiteX6" fmla="*/ 7279106 w 12073168"/>
              <a:gd name="connsiteY6" fmla="*/ 894370 h 3750732"/>
              <a:gd name="connsiteX7" fmla="*/ 10323095 w 12073168"/>
              <a:gd name="connsiteY7" fmla="*/ 28095 h 3750732"/>
              <a:gd name="connsiteX8" fmla="*/ 11694695 w 12073168"/>
              <a:gd name="connsiteY8" fmla="*/ 2169717 h 3750732"/>
              <a:gd name="connsiteX9" fmla="*/ 9023684 w 12073168"/>
              <a:gd name="connsiteY9" fmla="*/ 1375633 h 3750732"/>
              <a:gd name="connsiteX10" fmla="*/ 6918158 w 12073168"/>
              <a:gd name="connsiteY10" fmla="*/ 1652358 h 3750732"/>
              <a:gd name="connsiteX11" fmla="*/ 6304548 w 12073168"/>
              <a:gd name="connsiteY11" fmla="*/ 1868928 h 3750732"/>
              <a:gd name="connsiteX12" fmla="*/ 6641433 w 12073168"/>
              <a:gd name="connsiteY12" fmla="*/ 3264592 h 3750732"/>
              <a:gd name="connsiteX13" fmla="*/ 9059779 w 12073168"/>
              <a:gd name="connsiteY13" fmla="*/ 2891612 h 3750732"/>
              <a:gd name="connsiteX14" fmla="*/ 10756232 w 12073168"/>
              <a:gd name="connsiteY14" fmla="*/ 3745854 h 3750732"/>
              <a:gd name="connsiteX15" fmla="*/ 11670632 w 12073168"/>
              <a:gd name="connsiteY15" fmla="*/ 3240528 h 3750732"/>
              <a:gd name="connsiteX16" fmla="*/ 12055642 w 12073168"/>
              <a:gd name="connsiteY16" fmla="*/ 3240528 h 3750732"/>
              <a:gd name="connsiteX0" fmla="*/ 0 w 12073168"/>
              <a:gd name="connsiteY0" fmla="*/ 1086875 h 3750732"/>
              <a:gd name="connsiteX1" fmla="*/ 1479885 w 12073168"/>
              <a:gd name="connsiteY1" fmla="*/ 148412 h 3750732"/>
              <a:gd name="connsiteX2" fmla="*/ 2538664 w 12073168"/>
              <a:gd name="connsiteY2" fmla="*/ 1351570 h 3750732"/>
              <a:gd name="connsiteX3" fmla="*/ 589548 w 12073168"/>
              <a:gd name="connsiteY3" fmla="*/ 2975833 h 3750732"/>
              <a:gd name="connsiteX4" fmla="*/ 3164306 w 12073168"/>
              <a:gd name="connsiteY4" fmla="*/ 3396938 h 3750732"/>
              <a:gd name="connsiteX5" fmla="*/ 4547937 w 12073168"/>
              <a:gd name="connsiteY5" fmla="*/ 124348 h 3750732"/>
              <a:gd name="connsiteX6" fmla="*/ 7279106 w 12073168"/>
              <a:gd name="connsiteY6" fmla="*/ 894370 h 3750732"/>
              <a:gd name="connsiteX7" fmla="*/ 10323095 w 12073168"/>
              <a:gd name="connsiteY7" fmla="*/ 28095 h 3750732"/>
              <a:gd name="connsiteX8" fmla="*/ 11694695 w 12073168"/>
              <a:gd name="connsiteY8" fmla="*/ 2169717 h 3750732"/>
              <a:gd name="connsiteX9" fmla="*/ 9023684 w 12073168"/>
              <a:gd name="connsiteY9" fmla="*/ 1375633 h 3750732"/>
              <a:gd name="connsiteX10" fmla="*/ 6304548 w 12073168"/>
              <a:gd name="connsiteY10" fmla="*/ 1868928 h 3750732"/>
              <a:gd name="connsiteX11" fmla="*/ 6641433 w 12073168"/>
              <a:gd name="connsiteY11" fmla="*/ 3264592 h 3750732"/>
              <a:gd name="connsiteX12" fmla="*/ 9059779 w 12073168"/>
              <a:gd name="connsiteY12" fmla="*/ 2891612 h 3750732"/>
              <a:gd name="connsiteX13" fmla="*/ 10756232 w 12073168"/>
              <a:gd name="connsiteY13" fmla="*/ 3745854 h 3750732"/>
              <a:gd name="connsiteX14" fmla="*/ 11670632 w 12073168"/>
              <a:gd name="connsiteY14" fmla="*/ 3240528 h 3750732"/>
              <a:gd name="connsiteX15" fmla="*/ 12055642 w 12073168"/>
              <a:gd name="connsiteY15" fmla="*/ 3240528 h 3750732"/>
              <a:gd name="connsiteX0" fmla="*/ 0 w 12073168"/>
              <a:gd name="connsiteY0" fmla="*/ 1086875 h 3750732"/>
              <a:gd name="connsiteX1" fmla="*/ 1479885 w 12073168"/>
              <a:gd name="connsiteY1" fmla="*/ 148412 h 3750732"/>
              <a:gd name="connsiteX2" fmla="*/ 2538664 w 12073168"/>
              <a:gd name="connsiteY2" fmla="*/ 1351570 h 3750732"/>
              <a:gd name="connsiteX3" fmla="*/ 589548 w 12073168"/>
              <a:gd name="connsiteY3" fmla="*/ 2975833 h 3750732"/>
              <a:gd name="connsiteX4" fmla="*/ 3164306 w 12073168"/>
              <a:gd name="connsiteY4" fmla="*/ 3396938 h 3750732"/>
              <a:gd name="connsiteX5" fmla="*/ 4547937 w 12073168"/>
              <a:gd name="connsiteY5" fmla="*/ 124348 h 3750732"/>
              <a:gd name="connsiteX6" fmla="*/ 7279106 w 12073168"/>
              <a:gd name="connsiteY6" fmla="*/ 894370 h 3750732"/>
              <a:gd name="connsiteX7" fmla="*/ 10323095 w 12073168"/>
              <a:gd name="connsiteY7" fmla="*/ 28095 h 3750732"/>
              <a:gd name="connsiteX8" fmla="*/ 11694695 w 12073168"/>
              <a:gd name="connsiteY8" fmla="*/ 2169717 h 3750732"/>
              <a:gd name="connsiteX9" fmla="*/ 9023684 w 12073168"/>
              <a:gd name="connsiteY9" fmla="*/ 1375633 h 3750732"/>
              <a:gd name="connsiteX10" fmla="*/ 6340643 w 12073168"/>
              <a:gd name="connsiteY10" fmla="*/ 2133622 h 3750732"/>
              <a:gd name="connsiteX11" fmla="*/ 6641433 w 12073168"/>
              <a:gd name="connsiteY11" fmla="*/ 3264592 h 3750732"/>
              <a:gd name="connsiteX12" fmla="*/ 9059779 w 12073168"/>
              <a:gd name="connsiteY12" fmla="*/ 2891612 h 3750732"/>
              <a:gd name="connsiteX13" fmla="*/ 10756232 w 12073168"/>
              <a:gd name="connsiteY13" fmla="*/ 3745854 h 3750732"/>
              <a:gd name="connsiteX14" fmla="*/ 11670632 w 12073168"/>
              <a:gd name="connsiteY14" fmla="*/ 3240528 h 3750732"/>
              <a:gd name="connsiteX15" fmla="*/ 12055642 w 12073168"/>
              <a:gd name="connsiteY15" fmla="*/ 3240528 h 3750732"/>
              <a:gd name="connsiteX0" fmla="*/ 0 w 12482242"/>
              <a:gd name="connsiteY0" fmla="*/ 1447823 h 3750732"/>
              <a:gd name="connsiteX1" fmla="*/ 1888959 w 12482242"/>
              <a:gd name="connsiteY1" fmla="*/ 148412 h 3750732"/>
              <a:gd name="connsiteX2" fmla="*/ 2947738 w 12482242"/>
              <a:gd name="connsiteY2" fmla="*/ 1351570 h 3750732"/>
              <a:gd name="connsiteX3" fmla="*/ 998622 w 12482242"/>
              <a:gd name="connsiteY3" fmla="*/ 2975833 h 3750732"/>
              <a:gd name="connsiteX4" fmla="*/ 3573380 w 12482242"/>
              <a:gd name="connsiteY4" fmla="*/ 3396938 h 3750732"/>
              <a:gd name="connsiteX5" fmla="*/ 4957011 w 12482242"/>
              <a:gd name="connsiteY5" fmla="*/ 124348 h 3750732"/>
              <a:gd name="connsiteX6" fmla="*/ 7688180 w 12482242"/>
              <a:gd name="connsiteY6" fmla="*/ 894370 h 3750732"/>
              <a:gd name="connsiteX7" fmla="*/ 10732169 w 12482242"/>
              <a:gd name="connsiteY7" fmla="*/ 28095 h 3750732"/>
              <a:gd name="connsiteX8" fmla="*/ 12103769 w 12482242"/>
              <a:gd name="connsiteY8" fmla="*/ 2169717 h 3750732"/>
              <a:gd name="connsiteX9" fmla="*/ 9432758 w 12482242"/>
              <a:gd name="connsiteY9" fmla="*/ 1375633 h 3750732"/>
              <a:gd name="connsiteX10" fmla="*/ 6749717 w 12482242"/>
              <a:gd name="connsiteY10" fmla="*/ 2133622 h 3750732"/>
              <a:gd name="connsiteX11" fmla="*/ 7050507 w 12482242"/>
              <a:gd name="connsiteY11" fmla="*/ 3264592 h 3750732"/>
              <a:gd name="connsiteX12" fmla="*/ 9468853 w 12482242"/>
              <a:gd name="connsiteY12" fmla="*/ 2891612 h 3750732"/>
              <a:gd name="connsiteX13" fmla="*/ 11165306 w 12482242"/>
              <a:gd name="connsiteY13" fmla="*/ 3745854 h 3750732"/>
              <a:gd name="connsiteX14" fmla="*/ 12079706 w 12482242"/>
              <a:gd name="connsiteY14" fmla="*/ 3240528 h 3750732"/>
              <a:gd name="connsiteX15" fmla="*/ 12464716 w 12482242"/>
              <a:gd name="connsiteY15" fmla="*/ 3240528 h 3750732"/>
              <a:gd name="connsiteX0" fmla="*/ 0 w 12482242"/>
              <a:gd name="connsiteY0" fmla="*/ 1426339 h 3729248"/>
              <a:gd name="connsiteX1" fmla="*/ 1888959 w 12482242"/>
              <a:gd name="connsiteY1" fmla="*/ 126928 h 3729248"/>
              <a:gd name="connsiteX2" fmla="*/ 2947738 w 12482242"/>
              <a:gd name="connsiteY2" fmla="*/ 1330086 h 3729248"/>
              <a:gd name="connsiteX3" fmla="*/ 998622 w 12482242"/>
              <a:gd name="connsiteY3" fmla="*/ 2954349 h 3729248"/>
              <a:gd name="connsiteX4" fmla="*/ 3573380 w 12482242"/>
              <a:gd name="connsiteY4" fmla="*/ 3375454 h 3729248"/>
              <a:gd name="connsiteX5" fmla="*/ 4957011 w 12482242"/>
              <a:gd name="connsiteY5" fmla="*/ 102864 h 3729248"/>
              <a:gd name="connsiteX6" fmla="*/ 7688180 w 12482242"/>
              <a:gd name="connsiteY6" fmla="*/ 872886 h 3729248"/>
              <a:gd name="connsiteX7" fmla="*/ 10732169 w 12482242"/>
              <a:gd name="connsiteY7" fmla="*/ 6611 h 3729248"/>
              <a:gd name="connsiteX8" fmla="*/ 11542181 w 12482242"/>
              <a:gd name="connsiteY8" fmla="*/ 1438370 h 3729248"/>
              <a:gd name="connsiteX9" fmla="*/ 9432758 w 12482242"/>
              <a:gd name="connsiteY9" fmla="*/ 1354149 h 3729248"/>
              <a:gd name="connsiteX10" fmla="*/ 6749717 w 12482242"/>
              <a:gd name="connsiteY10" fmla="*/ 2112138 h 3729248"/>
              <a:gd name="connsiteX11" fmla="*/ 7050507 w 12482242"/>
              <a:gd name="connsiteY11" fmla="*/ 3243108 h 3729248"/>
              <a:gd name="connsiteX12" fmla="*/ 9468853 w 12482242"/>
              <a:gd name="connsiteY12" fmla="*/ 2870128 h 3729248"/>
              <a:gd name="connsiteX13" fmla="*/ 11165306 w 12482242"/>
              <a:gd name="connsiteY13" fmla="*/ 3724370 h 3729248"/>
              <a:gd name="connsiteX14" fmla="*/ 12079706 w 12482242"/>
              <a:gd name="connsiteY14" fmla="*/ 3219044 h 3729248"/>
              <a:gd name="connsiteX15" fmla="*/ 12464716 w 12482242"/>
              <a:gd name="connsiteY15" fmla="*/ 3219044 h 3729248"/>
              <a:gd name="connsiteX0" fmla="*/ 0 w 13485251"/>
              <a:gd name="connsiteY0" fmla="*/ 1426339 h 3729400"/>
              <a:gd name="connsiteX1" fmla="*/ 1888959 w 13485251"/>
              <a:gd name="connsiteY1" fmla="*/ 126928 h 3729400"/>
              <a:gd name="connsiteX2" fmla="*/ 2947738 w 13485251"/>
              <a:gd name="connsiteY2" fmla="*/ 1330086 h 3729400"/>
              <a:gd name="connsiteX3" fmla="*/ 998622 w 13485251"/>
              <a:gd name="connsiteY3" fmla="*/ 2954349 h 3729400"/>
              <a:gd name="connsiteX4" fmla="*/ 3573380 w 13485251"/>
              <a:gd name="connsiteY4" fmla="*/ 3375454 h 3729400"/>
              <a:gd name="connsiteX5" fmla="*/ 4957011 w 13485251"/>
              <a:gd name="connsiteY5" fmla="*/ 102864 h 3729400"/>
              <a:gd name="connsiteX6" fmla="*/ 7688180 w 13485251"/>
              <a:gd name="connsiteY6" fmla="*/ 872886 h 3729400"/>
              <a:gd name="connsiteX7" fmla="*/ 10732169 w 13485251"/>
              <a:gd name="connsiteY7" fmla="*/ 6611 h 3729400"/>
              <a:gd name="connsiteX8" fmla="*/ 11542181 w 13485251"/>
              <a:gd name="connsiteY8" fmla="*/ 1438370 h 3729400"/>
              <a:gd name="connsiteX9" fmla="*/ 9432758 w 13485251"/>
              <a:gd name="connsiteY9" fmla="*/ 1354149 h 3729400"/>
              <a:gd name="connsiteX10" fmla="*/ 6749717 w 13485251"/>
              <a:gd name="connsiteY10" fmla="*/ 2112138 h 3729400"/>
              <a:gd name="connsiteX11" fmla="*/ 7050507 w 13485251"/>
              <a:gd name="connsiteY11" fmla="*/ 3243108 h 3729400"/>
              <a:gd name="connsiteX12" fmla="*/ 9468853 w 13485251"/>
              <a:gd name="connsiteY12" fmla="*/ 2870128 h 3729400"/>
              <a:gd name="connsiteX13" fmla="*/ 11165306 w 13485251"/>
              <a:gd name="connsiteY13" fmla="*/ 3724370 h 3729400"/>
              <a:gd name="connsiteX14" fmla="*/ 12079706 w 13485251"/>
              <a:gd name="connsiteY14" fmla="*/ 3219044 h 3729400"/>
              <a:gd name="connsiteX15" fmla="*/ 13480355 w 13485251"/>
              <a:gd name="connsiteY15" fmla="*/ 3122791 h 3729400"/>
              <a:gd name="connsiteX0" fmla="*/ 0 w 13486837"/>
              <a:gd name="connsiteY0" fmla="*/ 1426339 h 3724673"/>
              <a:gd name="connsiteX1" fmla="*/ 1888959 w 13486837"/>
              <a:gd name="connsiteY1" fmla="*/ 126928 h 3724673"/>
              <a:gd name="connsiteX2" fmla="*/ 2947738 w 13486837"/>
              <a:gd name="connsiteY2" fmla="*/ 1330086 h 3724673"/>
              <a:gd name="connsiteX3" fmla="*/ 998622 w 13486837"/>
              <a:gd name="connsiteY3" fmla="*/ 2954349 h 3724673"/>
              <a:gd name="connsiteX4" fmla="*/ 3573380 w 13486837"/>
              <a:gd name="connsiteY4" fmla="*/ 3375454 h 3724673"/>
              <a:gd name="connsiteX5" fmla="*/ 4957011 w 13486837"/>
              <a:gd name="connsiteY5" fmla="*/ 102864 h 3724673"/>
              <a:gd name="connsiteX6" fmla="*/ 7688180 w 13486837"/>
              <a:gd name="connsiteY6" fmla="*/ 872886 h 3724673"/>
              <a:gd name="connsiteX7" fmla="*/ 10732169 w 13486837"/>
              <a:gd name="connsiteY7" fmla="*/ 6611 h 3724673"/>
              <a:gd name="connsiteX8" fmla="*/ 11542181 w 13486837"/>
              <a:gd name="connsiteY8" fmla="*/ 1438370 h 3724673"/>
              <a:gd name="connsiteX9" fmla="*/ 9432758 w 13486837"/>
              <a:gd name="connsiteY9" fmla="*/ 1354149 h 3724673"/>
              <a:gd name="connsiteX10" fmla="*/ 6749717 w 13486837"/>
              <a:gd name="connsiteY10" fmla="*/ 2112138 h 3724673"/>
              <a:gd name="connsiteX11" fmla="*/ 7050507 w 13486837"/>
              <a:gd name="connsiteY11" fmla="*/ 3243108 h 3724673"/>
              <a:gd name="connsiteX12" fmla="*/ 9468853 w 13486837"/>
              <a:gd name="connsiteY12" fmla="*/ 2870128 h 3724673"/>
              <a:gd name="connsiteX13" fmla="*/ 11165306 w 13486837"/>
              <a:gd name="connsiteY13" fmla="*/ 3724370 h 3724673"/>
              <a:gd name="connsiteX14" fmla="*/ 12366474 w 13486837"/>
              <a:gd name="connsiteY14" fmla="*/ 2761844 h 3724673"/>
              <a:gd name="connsiteX15" fmla="*/ 13480355 w 13486837"/>
              <a:gd name="connsiteY15" fmla="*/ 3122791 h 3724673"/>
              <a:gd name="connsiteX0" fmla="*/ 0 w 13485059"/>
              <a:gd name="connsiteY0" fmla="*/ 1426339 h 3724555"/>
              <a:gd name="connsiteX1" fmla="*/ 1888959 w 13485059"/>
              <a:gd name="connsiteY1" fmla="*/ 126928 h 3724555"/>
              <a:gd name="connsiteX2" fmla="*/ 2947738 w 13485059"/>
              <a:gd name="connsiteY2" fmla="*/ 1330086 h 3724555"/>
              <a:gd name="connsiteX3" fmla="*/ 998622 w 13485059"/>
              <a:gd name="connsiteY3" fmla="*/ 2954349 h 3724555"/>
              <a:gd name="connsiteX4" fmla="*/ 3573380 w 13485059"/>
              <a:gd name="connsiteY4" fmla="*/ 3375454 h 3724555"/>
              <a:gd name="connsiteX5" fmla="*/ 4957011 w 13485059"/>
              <a:gd name="connsiteY5" fmla="*/ 102864 h 3724555"/>
              <a:gd name="connsiteX6" fmla="*/ 7688180 w 13485059"/>
              <a:gd name="connsiteY6" fmla="*/ 872886 h 3724555"/>
              <a:gd name="connsiteX7" fmla="*/ 10732169 w 13485059"/>
              <a:gd name="connsiteY7" fmla="*/ 6611 h 3724555"/>
              <a:gd name="connsiteX8" fmla="*/ 11542181 w 13485059"/>
              <a:gd name="connsiteY8" fmla="*/ 1438370 h 3724555"/>
              <a:gd name="connsiteX9" fmla="*/ 9432758 w 13485059"/>
              <a:gd name="connsiteY9" fmla="*/ 1354149 h 3724555"/>
              <a:gd name="connsiteX10" fmla="*/ 6749717 w 13485059"/>
              <a:gd name="connsiteY10" fmla="*/ 2112138 h 3724555"/>
              <a:gd name="connsiteX11" fmla="*/ 7050507 w 13485059"/>
              <a:gd name="connsiteY11" fmla="*/ 3243108 h 3724555"/>
              <a:gd name="connsiteX12" fmla="*/ 9468853 w 13485059"/>
              <a:gd name="connsiteY12" fmla="*/ 2870128 h 3724555"/>
              <a:gd name="connsiteX13" fmla="*/ 11165306 w 13485059"/>
              <a:gd name="connsiteY13" fmla="*/ 3724370 h 3724555"/>
              <a:gd name="connsiteX14" fmla="*/ 12031911 w 13485059"/>
              <a:gd name="connsiteY14" fmla="*/ 2785907 h 3724555"/>
              <a:gd name="connsiteX15" fmla="*/ 13480355 w 13485059"/>
              <a:gd name="connsiteY15" fmla="*/ 3122791 h 3724555"/>
              <a:gd name="connsiteX0" fmla="*/ 0 w 13485059"/>
              <a:gd name="connsiteY0" fmla="*/ 1426339 h 3724555"/>
              <a:gd name="connsiteX1" fmla="*/ 1888959 w 13485059"/>
              <a:gd name="connsiteY1" fmla="*/ 126928 h 3724555"/>
              <a:gd name="connsiteX2" fmla="*/ 2947738 w 13485059"/>
              <a:gd name="connsiteY2" fmla="*/ 1330086 h 3724555"/>
              <a:gd name="connsiteX3" fmla="*/ 998622 w 13485059"/>
              <a:gd name="connsiteY3" fmla="*/ 2954349 h 3724555"/>
              <a:gd name="connsiteX4" fmla="*/ 3573380 w 13485059"/>
              <a:gd name="connsiteY4" fmla="*/ 3375454 h 3724555"/>
              <a:gd name="connsiteX5" fmla="*/ 4957011 w 13485059"/>
              <a:gd name="connsiteY5" fmla="*/ 102864 h 3724555"/>
              <a:gd name="connsiteX6" fmla="*/ 7688180 w 13485059"/>
              <a:gd name="connsiteY6" fmla="*/ 872886 h 3724555"/>
              <a:gd name="connsiteX7" fmla="*/ 10732169 w 13485059"/>
              <a:gd name="connsiteY7" fmla="*/ 6611 h 3724555"/>
              <a:gd name="connsiteX8" fmla="*/ 11542181 w 13485059"/>
              <a:gd name="connsiteY8" fmla="*/ 1438370 h 3724555"/>
              <a:gd name="connsiteX9" fmla="*/ 9432758 w 13485059"/>
              <a:gd name="connsiteY9" fmla="*/ 1354149 h 3724555"/>
              <a:gd name="connsiteX10" fmla="*/ 8506177 w 13485059"/>
              <a:gd name="connsiteY10" fmla="*/ 2256517 h 3724555"/>
              <a:gd name="connsiteX11" fmla="*/ 7050507 w 13485059"/>
              <a:gd name="connsiteY11" fmla="*/ 3243108 h 3724555"/>
              <a:gd name="connsiteX12" fmla="*/ 9468853 w 13485059"/>
              <a:gd name="connsiteY12" fmla="*/ 2870128 h 3724555"/>
              <a:gd name="connsiteX13" fmla="*/ 11165306 w 13485059"/>
              <a:gd name="connsiteY13" fmla="*/ 3724370 h 3724555"/>
              <a:gd name="connsiteX14" fmla="*/ 12031911 w 13485059"/>
              <a:gd name="connsiteY14" fmla="*/ 2785907 h 3724555"/>
              <a:gd name="connsiteX15" fmla="*/ 13480355 w 13485059"/>
              <a:gd name="connsiteY15" fmla="*/ 3122791 h 3724555"/>
              <a:gd name="connsiteX0" fmla="*/ 0 w 13485059"/>
              <a:gd name="connsiteY0" fmla="*/ 1426339 h 3724555"/>
              <a:gd name="connsiteX1" fmla="*/ 1888959 w 13485059"/>
              <a:gd name="connsiteY1" fmla="*/ 126928 h 3724555"/>
              <a:gd name="connsiteX2" fmla="*/ 2947738 w 13485059"/>
              <a:gd name="connsiteY2" fmla="*/ 1330086 h 3724555"/>
              <a:gd name="connsiteX3" fmla="*/ 998622 w 13485059"/>
              <a:gd name="connsiteY3" fmla="*/ 2954349 h 3724555"/>
              <a:gd name="connsiteX4" fmla="*/ 3573380 w 13485059"/>
              <a:gd name="connsiteY4" fmla="*/ 3375454 h 3724555"/>
              <a:gd name="connsiteX5" fmla="*/ 4957011 w 13485059"/>
              <a:gd name="connsiteY5" fmla="*/ 102864 h 3724555"/>
              <a:gd name="connsiteX6" fmla="*/ 7688180 w 13485059"/>
              <a:gd name="connsiteY6" fmla="*/ 872886 h 3724555"/>
              <a:gd name="connsiteX7" fmla="*/ 10732169 w 13485059"/>
              <a:gd name="connsiteY7" fmla="*/ 6611 h 3724555"/>
              <a:gd name="connsiteX8" fmla="*/ 11542181 w 13485059"/>
              <a:gd name="connsiteY8" fmla="*/ 1438370 h 3724555"/>
              <a:gd name="connsiteX9" fmla="*/ 9432758 w 13485059"/>
              <a:gd name="connsiteY9" fmla="*/ 1354149 h 3724555"/>
              <a:gd name="connsiteX10" fmla="*/ 7050507 w 13485059"/>
              <a:gd name="connsiteY10" fmla="*/ 3243108 h 3724555"/>
              <a:gd name="connsiteX11" fmla="*/ 9468853 w 13485059"/>
              <a:gd name="connsiteY11" fmla="*/ 2870128 h 3724555"/>
              <a:gd name="connsiteX12" fmla="*/ 11165306 w 13485059"/>
              <a:gd name="connsiteY12" fmla="*/ 3724370 h 3724555"/>
              <a:gd name="connsiteX13" fmla="*/ 12031911 w 13485059"/>
              <a:gd name="connsiteY13" fmla="*/ 2785907 h 3724555"/>
              <a:gd name="connsiteX14" fmla="*/ 13480355 w 13485059"/>
              <a:gd name="connsiteY14" fmla="*/ 3122791 h 3724555"/>
              <a:gd name="connsiteX0" fmla="*/ 0 w 13485059"/>
              <a:gd name="connsiteY0" fmla="*/ 1426339 h 3724587"/>
              <a:gd name="connsiteX1" fmla="*/ 1888959 w 13485059"/>
              <a:gd name="connsiteY1" fmla="*/ 126928 h 3724587"/>
              <a:gd name="connsiteX2" fmla="*/ 2947738 w 13485059"/>
              <a:gd name="connsiteY2" fmla="*/ 1330086 h 3724587"/>
              <a:gd name="connsiteX3" fmla="*/ 998622 w 13485059"/>
              <a:gd name="connsiteY3" fmla="*/ 2954349 h 3724587"/>
              <a:gd name="connsiteX4" fmla="*/ 3573380 w 13485059"/>
              <a:gd name="connsiteY4" fmla="*/ 3375454 h 3724587"/>
              <a:gd name="connsiteX5" fmla="*/ 4957011 w 13485059"/>
              <a:gd name="connsiteY5" fmla="*/ 102864 h 3724587"/>
              <a:gd name="connsiteX6" fmla="*/ 7688180 w 13485059"/>
              <a:gd name="connsiteY6" fmla="*/ 872886 h 3724587"/>
              <a:gd name="connsiteX7" fmla="*/ 10732169 w 13485059"/>
              <a:gd name="connsiteY7" fmla="*/ 6611 h 3724587"/>
              <a:gd name="connsiteX8" fmla="*/ 11542181 w 13485059"/>
              <a:gd name="connsiteY8" fmla="*/ 1438370 h 3724587"/>
              <a:gd name="connsiteX9" fmla="*/ 9432758 w 13485059"/>
              <a:gd name="connsiteY9" fmla="*/ 1354149 h 3724587"/>
              <a:gd name="connsiteX10" fmla="*/ 8579941 w 13485059"/>
              <a:gd name="connsiteY10" fmla="*/ 2533245 h 3724587"/>
              <a:gd name="connsiteX11" fmla="*/ 9468853 w 13485059"/>
              <a:gd name="connsiteY11" fmla="*/ 2870128 h 3724587"/>
              <a:gd name="connsiteX12" fmla="*/ 11165306 w 13485059"/>
              <a:gd name="connsiteY12" fmla="*/ 3724370 h 3724587"/>
              <a:gd name="connsiteX13" fmla="*/ 12031911 w 13485059"/>
              <a:gd name="connsiteY13" fmla="*/ 2785907 h 3724587"/>
              <a:gd name="connsiteX14" fmla="*/ 13480355 w 13485059"/>
              <a:gd name="connsiteY14" fmla="*/ 3122791 h 3724587"/>
              <a:gd name="connsiteX0" fmla="*/ 0 w 13485059"/>
              <a:gd name="connsiteY0" fmla="*/ 1426339 h 3735599"/>
              <a:gd name="connsiteX1" fmla="*/ 1888959 w 13485059"/>
              <a:gd name="connsiteY1" fmla="*/ 126928 h 3735599"/>
              <a:gd name="connsiteX2" fmla="*/ 2947738 w 13485059"/>
              <a:gd name="connsiteY2" fmla="*/ 1330086 h 3735599"/>
              <a:gd name="connsiteX3" fmla="*/ 998622 w 13485059"/>
              <a:gd name="connsiteY3" fmla="*/ 2954349 h 3735599"/>
              <a:gd name="connsiteX4" fmla="*/ 3573380 w 13485059"/>
              <a:gd name="connsiteY4" fmla="*/ 3375454 h 3735599"/>
              <a:gd name="connsiteX5" fmla="*/ 4957011 w 13485059"/>
              <a:gd name="connsiteY5" fmla="*/ 102864 h 3735599"/>
              <a:gd name="connsiteX6" fmla="*/ 7688180 w 13485059"/>
              <a:gd name="connsiteY6" fmla="*/ 872886 h 3735599"/>
              <a:gd name="connsiteX7" fmla="*/ 10732169 w 13485059"/>
              <a:gd name="connsiteY7" fmla="*/ 6611 h 3735599"/>
              <a:gd name="connsiteX8" fmla="*/ 11542181 w 13485059"/>
              <a:gd name="connsiteY8" fmla="*/ 1438370 h 3735599"/>
              <a:gd name="connsiteX9" fmla="*/ 9432758 w 13485059"/>
              <a:gd name="connsiteY9" fmla="*/ 1354149 h 3735599"/>
              <a:gd name="connsiteX10" fmla="*/ 8579941 w 13485059"/>
              <a:gd name="connsiteY10" fmla="*/ 2533245 h 3735599"/>
              <a:gd name="connsiteX11" fmla="*/ 9755622 w 13485059"/>
              <a:gd name="connsiteY11" fmla="*/ 3255138 h 3735599"/>
              <a:gd name="connsiteX12" fmla="*/ 11165306 w 13485059"/>
              <a:gd name="connsiteY12" fmla="*/ 3724370 h 3735599"/>
              <a:gd name="connsiteX13" fmla="*/ 12031911 w 13485059"/>
              <a:gd name="connsiteY13" fmla="*/ 2785907 h 3735599"/>
              <a:gd name="connsiteX14" fmla="*/ 13480355 w 13485059"/>
              <a:gd name="connsiteY14" fmla="*/ 3122791 h 3735599"/>
              <a:gd name="connsiteX0" fmla="*/ 0 w 13485059"/>
              <a:gd name="connsiteY0" fmla="*/ 1426339 h 3724370"/>
              <a:gd name="connsiteX1" fmla="*/ 1888959 w 13485059"/>
              <a:gd name="connsiteY1" fmla="*/ 126928 h 3724370"/>
              <a:gd name="connsiteX2" fmla="*/ 2947738 w 13485059"/>
              <a:gd name="connsiteY2" fmla="*/ 1330086 h 3724370"/>
              <a:gd name="connsiteX3" fmla="*/ 998622 w 13485059"/>
              <a:gd name="connsiteY3" fmla="*/ 2954349 h 3724370"/>
              <a:gd name="connsiteX4" fmla="*/ 3573380 w 13485059"/>
              <a:gd name="connsiteY4" fmla="*/ 3375454 h 3724370"/>
              <a:gd name="connsiteX5" fmla="*/ 4957011 w 13485059"/>
              <a:gd name="connsiteY5" fmla="*/ 102864 h 3724370"/>
              <a:gd name="connsiteX6" fmla="*/ 7688180 w 13485059"/>
              <a:gd name="connsiteY6" fmla="*/ 872886 h 3724370"/>
              <a:gd name="connsiteX7" fmla="*/ 10732169 w 13485059"/>
              <a:gd name="connsiteY7" fmla="*/ 6611 h 3724370"/>
              <a:gd name="connsiteX8" fmla="*/ 11542181 w 13485059"/>
              <a:gd name="connsiteY8" fmla="*/ 1438370 h 3724370"/>
              <a:gd name="connsiteX9" fmla="*/ 9432758 w 13485059"/>
              <a:gd name="connsiteY9" fmla="*/ 1354149 h 3724370"/>
              <a:gd name="connsiteX10" fmla="*/ 8579941 w 13485059"/>
              <a:gd name="connsiteY10" fmla="*/ 2533245 h 3724370"/>
              <a:gd name="connsiteX11" fmla="*/ 11165306 w 13485059"/>
              <a:gd name="connsiteY11" fmla="*/ 3724370 h 3724370"/>
              <a:gd name="connsiteX12" fmla="*/ 12031911 w 13485059"/>
              <a:gd name="connsiteY12" fmla="*/ 2785907 h 3724370"/>
              <a:gd name="connsiteX13" fmla="*/ 13480355 w 13485059"/>
              <a:gd name="connsiteY13" fmla="*/ 3122791 h 3724370"/>
              <a:gd name="connsiteX0" fmla="*/ 0 w 13485152"/>
              <a:gd name="connsiteY0" fmla="*/ 1426339 h 3698420"/>
              <a:gd name="connsiteX1" fmla="*/ 1888959 w 13485152"/>
              <a:gd name="connsiteY1" fmla="*/ 126928 h 3698420"/>
              <a:gd name="connsiteX2" fmla="*/ 2947738 w 13485152"/>
              <a:gd name="connsiteY2" fmla="*/ 1330086 h 3698420"/>
              <a:gd name="connsiteX3" fmla="*/ 998622 w 13485152"/>
              <a:gd name="connsiteY3" fmla="*/ 2954349 h 3698420"/>
              <a:gd name="connsiteX4" fmla="*/ 3573380 w 13485152"/>
              <a:gd name="connsiteY4" fmla="*/ 3375454 h 3698420"/>
              <a:gd name="connsiteX5" fmla="*/ 4957011 w 13485152"/>
              <a:gd name="connsiteY5" fmla="*/ 102864 h 3698420"/>
              <a:gd name="connsiteX6" fmla="*/ 7688180 w 13485152"/>
              <a:gd name="connsiteY6" fmla="*/ 872886 h 3698420"/>
              <a:gd name="connsiteX7" fmla="*/ 10732169 w 13485152"/>
              <a:gd name="connsiteY7" fmla="*/ 6611 h 3698420"/>
              <a:gd name="connsiteX8" fmla="*/ 11542181 w 13485152"/>
              <a:gd name="connsiteY8" fmla="*/ 1438370 h 3698420"/>
              <a:gd name="connsiteX9" fmla="*/ 9432758 w 13485152"/>
              <a:gd name="connsiteY9" fmla="*/ 1354149 h 3698420"/>
              <a:gd name="connsiteX10" fmla="*/ 8579941 w 13485152"/>
              <a:gd name="connsiteY10" fmla="*/ 2533245 h 3698420"/>
              <a:gd name="connsiteX11" fmla="*/ 11021921 w 13485152"/>
              <a:gd name="connsiteY11" fmla="*/ 2858097 h 3698420"/>
              <a:gd name="connsiteX12" fmla="*/ 12031911 w 13485152"/>
              <a:gd name="connsiteY12" fmla="*/ 2785907 h 3698420"/>
              <a:gd name="connsiteX13" fmla="*/ 13480355 w 13485152"/>
              <a:gd name="connsiteY13" fmla="*/ 3122791 h 3698420"/>
              <a:gd name="connsiteX0" fmla="*/ 0 w 13485152"/>
              <a:gd name="connsiteY0" fmla="*/ 1426339 h 3698420"/>
              <a:gd name="connsiteX1" fmla="*/ 1888959 w 13485152"/>
              <a:gd name="connsiteY1" fmla="*/ 126928 h 3698420"/>
              <a:gd name="connsiteX2" fmla="*/ 2947738 w 13485152"/>
              <a:gd name="connsiteY2" fmla="*/ 1330086 h 3698420"/>
              <a:gd name="connsiteX3" fmla="*/ 998622 w 13485152"/>
              <a:gd name="connsiteY3" fmla="*/ 2954349 h 3698420"/>
              <a:gd name="connsiteX4" fmla="*/ 3573380 w 13485152"/>
              <a:gd name="connsiteY4" fmla="*/ 3375454 h 3698420"/>
              <a:gd name="connsiteX5" fmla="*/ 4957011 w 13485152"/>
              <a:gd name="connsiteY5" fmla="*/ 102864 h 3698420"/>
              <a:gd name="connsiteX6" fmla="*/ 7688180 w 13485152"/>
              <a:gd name="connsiteY6" fmla="*/ 872886 h 3698420"/>
              <a:gd name="connsiteX7" fmla="*/ 10732169 w 13485152"/>
              <a:gd name="connsiteY7" fmla="*/ 6611 h 3698420"/>
              <a:gd name="connsiteX8" fmla="*/ 11542181 w 13485152"/>
              <a:gd name="connsiteY8" fmla="*/ 1438370 h 3698420"/>
              <a:gd name="connsiteX9" fmla="*/ 9432758 w 13485152"/>
              <a:gd name="connsiteY9" fmla="*/ 1354149 h 3698420"/>
              <a:gd name="connsiteX10" fmla="*/ 8305122 w 13485152"/>
              <a:gd name="connsiteY10" fmla="*/ 2834034 h 3698420"/>
              <a:gd name="connsiteX11" fmla="*/ 11021921 w 13485152"/>
              <a:gd name="connsiteY11" fmla="*/ 2858097 h 3698420"/>
              <a:gd name="connsiteX12" fmla="*/ 12031911 w 13485152"/>
              <a:gd name="connsiteY12" fmla="*/ 2785907 h 3698420"/>
              <a:gd name="connsiteX13" fmla="*/ 13480355 w 13485152"/>
              <a:gd name="connsiteY13" fmla="*/ 3122791 h 3698420"/>
              <a:gd name="connsiteX0" fmla="*/ 0 w 13485152"/>
              <a:gd name="connsiteY0" fmla="*/ 1419976 h 3692057"/>
              <a:gd name="connsiteX1" fmla="*/ 1888959 w 13485152"/>
              <a:gd name="connsiteY1" fmla="*/ 120565 h 3692057"/>
              <a:gd name="connsiteX2" fmla="*/ 2947738 w 13485152"/>
              <a:gd name="connsiteY2" fmla="*/ 1323723 h 3692057"/>
              <a:gd name="connsiteX3" fmla="*/ 998622 w 13485152"/>
              <a:gd name="connsiteY3" fmla="*/ 2947986 h 3692057"/>
              <a:gd name="connsiteX4" fmla="*/ 3573380 w 13485152"/>
              <a:gd name="connsiteY4" fmla="*/ 3369091 h 3692057"/>
              <a:gd name="connsiteX5" fmla="*/ 4957011 w 13485152"/>
              <a:gd name="connsiteY5" fmla="*/ 96501 h 3692057"/>
              <a:gd name="connsiteX6" fmla="*/ 7544797 w 13485152"/>
              <a:gd name="connsiteY6" fmla="*/ 1540292 h 3692057"/>
              <a:gd name="connsiteX7" fmla="*/ 10732169 w 13485152"/>
              <a:gd name="connsiteY7" fmla="*/ 248 h 3692057"/>
              <a:gd name="connsiteX8" fmla="*/ 11542181 w 13485152"/>
              <a:gd name="connsiteY8" fmla="*/ 1432007 h 3692057"/>
              <a:gd name="connsiteX9" fmla="*/ 9432758 w 13485152"/>
              <a:gd name="connsiteY9" fmla="*/ 1347786 h 3692057"/>
              <a:gd name="connsiteX10" fmla="*/ 8305122 w 13485152"/>
              <a:gd name="connsiteY10" fmla="*/ 2827671 h 3692057"/>
              <a:gd name="connsiteX11" fmla="*/ 11021921 w 13485152"/>
              <a:gd name="connsiteY11" fmla="*/ 2851734 h 3692057"/>
              <a:gd name="connsiteX12" fmla="*/ 12031911 w 13485152"/>
              <a:gd name="connsiteY12" fmla="*/ 2779544 h 3692057"/>
              <a:gd name="connsiteX13" fmla="*/ 13480355 w 13485152"/>
              <a:gd name="connsiteY13" fmla="*/ 3116428 h 3692057"/>
              <a:gd name="connsiteX0" fmla="*/ 0 w 13485152"/>
              <a:gd name="connsiteY0" fmla="*/ 1419976 h 3604285"/>
              <a:gd name="connsiteX1" fmla="*/ 1888959 w 13485152"/>
              <a:gd name="connsiteY1" fmla="*/ 120565 h 3604285"/>
              <a:gd name="connsiteX2" fmla="*/ 2947738 w 13485152"/>
              <a:gd name="connsiteY2" fmla="*/ 1323723 h 3604285"/>
              <a:gd name="connsiteX3" fmla="*/ 998622 w 13485152"/>
              <a:gd name="connsiteY3" fmla="*/ 2947986 h 3604285"/>
              <a:gd name="connsiteX4" fmla="*/ 3573380 w 13485152"/>
              <a:gd name="connsiteY4" fmla="*/ 3369091 h 3604285"/>
              <a:gd name="connsiteX5" fmla="*/ 5255729 w 13485152"/>
              <a:gd name="connsiteY5" fmla="*/ 1371849 h 3604285"/>
              <a:gd name="connsiteX6" fmla="*/ 7544797 w 13485152"/>
              <a:gd name="connsiteY6" fmla="*/ 1540292 h 3604285"/>
              <a:gd name="connsiteX7" fmla="*/ 10732169 w 13485152"/>
              <a:gd name="connsiteY7" fmla="*/ 248 h 3604285"/>
              <a:gd name="connsiteX8" fmla="*/ 11542181 w 13485152"/>
              <a:gd name="connsiteY8" fmla="*/ 1432007 h 3604285"/>
              <a:gd name="connsiteX9" fmla="*/ 9432758 w 13485152"/>
              <a:gd name="connsiteY9" fmla="*/ 1347786 h 3604285"/>
              <a:gd name="connsiteX10" fmla="*/ 8305122 w 13485152"/>
              <a:gd name="connsiteY10" fmla="*/ 2827671 h 3604285"/>
              <a:gd name="connsiteX11" fmla="*/ 11021921 w 13485152"/>
              <a:gd name="connsiteY11" fmla="*/ 2851734 h 3604285"/>
              <a:gd name="connsiteX12" fmla="*/ 12031911 w 13485152"/>
              <a:gd name="connsiteY12" fmla="*/ 2779544 h 3604285"/>
              <a:gd name="connsiteX13" fmla="*/ 13480355 w 13485152"/>
              <a:gd name="connsiteY13" fmla="*/ 3116428 h 3604285"/>
              <a:gd name="connsiteX0" fmla="*/ 0 w 13485152"/>
              <a:gd name="connsiteY0" fmla="*/ 1299799 h 3484108"/>
              <a:gd name="connsiteX1" fmla="*/ 1888959 w 13485152"/>
              <a:gd name="connsiteY1" fmla="*/ 388 h 3484108"/>
              <a:gd name="connsiteX2" fmla="*/ 2947738 w 13485152"/>
              <a:gd name="connsiteY2" fmla="*/ 1203546 h 3484108"/>
              <a:gd name="connsiteX3" fmla="*/ 998622 w 13485152"/>
              <a:gd name="connsiteY3" fmla="*/ 2827809 h 3484108"/>
              <a:gd name="connsiteX4" fmla="*/ 3573380 w 13485152"/>
              <a:gd name="connsiteY4" fmla="*/ 3248914 h 3484108"/>
              <a:gd name="connsiteX5" fmla="*/ 5255729 w 13485152"/>
              <a:gd name="connsiteY5" fmla="*/ 1251672 h 3484108"/>
              <a:gd name="connsiteX6" fmla="*/ 7544797 w 13485152"/>
              <a:gd name="connsiteY6" fmla="*/ 1420115 h 3484108"/>
              <a:gd name="connsiteX7" fmla="*/ 10325913 w 13485152"/>
              <a:gd name="connsiteY7" fmla="*/ 806503 h 3484108"/>
              <a:gd name="connsiteX8" fmla="*/ 11542181 w 13485152"/>
              <a:gd name="connsiteY8" fmla="*/ 1311830 h 3484108"/>
              <a:gd name="connsiteX9" fmla="*/ 9432758 w 13485152"/>
              <a:gd name="connsiteY9" fmla="*/ 1227609 h 3484108"/>
              <a:gd name="connsiteX10" fmla="*/ 8305122 w 13485152"/>
              <a:gd name="connsiteY10" fmla="*/ 2707494 h 3484108"/>
              <a:gd name="connsiteX11" fmla="*/ 11021921 w 13485152"/>
              <a:gd name="connsiteY11" fmla="*/ 2731557 h 3484108"/>
              <a:gd name="connsiteX12" fmla="*/ 12031911 w 13485152"/>
              <a:gd name="connsiteY12" fmla="*/ 2659367 h 3484108"/>
              <a:gd name="connsiteX13" fmla="*/ 13480355 w 13485152"/>
              <a:gd name="connsiteY13" fmla="*/ 2996251 h 3484108"/>
              <a:gd name="connsiteX0" fmla="*/ 0 w 13485152"/>
              <a:gd name="connsiteY0" fmla="*/ 1299799 h 3484108"/>
              <a:gd name="connsiteX1" fmla="*/ 1888959 w 13485152"/>
              <a:gd name="connsiteY1" fmla="*/ 388 h 3484108"/>
              <a:gd name="connsiteX2" fmla="*/ 2947738 w 13485152"/>
              <a:gd name="connsiteY2" fmla="*/ 1203546 h 3484108"/>
              <a:gd name="connsiteX3" fmla="*/ 998622 w 13485152"/>
              <a:gd name="connsiteY3" fmla="*/ 2827809 h 3484108"/>
              <a:gd name="connsiteX4" fmla="*/ 3573380 w 13485152"/>
              <a:gd name="connsiteY4" fmla="*/ 3248914 h 3484108"/>
              <a:gd name="connsiteX5" fmla="*/ 5255729 w 13485152"/>
              <a:gd name="connsiteY5" fmla="*/ 1251672 h 3484108"/>
              <a:gd name="connsiteX6" fmla="*/ 7544797 w 13485152"/>
              <a:gd name="connsiteY6" fmla="*/ 1420115 h 3484108"/>
              <a:gd name="connsiteX7" fmla="*/ 10325913 w 13485152"/>
              <a:gd name="connsiteY7" fmla="*/ 806503 h 3484108"/>
              <a:gd name="connsiteX8" fmla="*/ 11542181 w 13485152"/>
              <a:gd name="connsiteY8" fmla="*/ 1311830 h 3484108"/>
              <a:gd name="connsiteX9" fmla="*/ 8918964 w 13485152"/>
              <a:gd name="connsiteY9" fmla="*/ 2009662 h 3484108"/>
              <a:gd name="connsiteX10" fmla="*/ 8305122 w 13485152"/>
              <a:gd name="connsiteY10" fmla="*/ 2707494 h 3484108"/>
              <a:gd name="connsiteX11" fmla="*/ 11021921 w 13485152"/>
              <a:gd name="connsiteY11" fmla="*/ 2731557 h 3484108"/>
              <a:gd name="connsiteX12" fmla="*/ 12031911 w 13485152"/>
              <a:gd name="connsiteY12" fmla="*/ 2659367 h 3484108"/>
              <a:gd name="connsiteX13" fmla="*/ 13480355 w 13485152"/>
              <a:gd name="connsiteY13" fmla="*/ 2996251 h 3484108"/>
              <a:gd name="connsiteX0" fmla="*/ 0 w 13485152"/>
              <a:gd name="connsiteY0" fmla="*/ 1299799 h 3484108"/>
              <a:gd name="connsiteX1" fmla="*/ 1888959 w 13485152"/>
              <a:gd name="connsiteY1" fmla="*/ 388 h 3484108"/>
              <a:gd name="connsiteX2" fmla="*/ 2947738 w 13485152"/>
              <a:gd name="connsiteY2" fmla="*/ 1203546 h 3484108"/>
              <a:gd name="connsiteX3" fmla="*/ 998622 w 13485152"/>
              <a:gd name="connsiteY3" fmla="*/ 2827809 h 3484108"/>
              <a:gd name="connsiteX4" fmla="*/ 3573380 w 13485152"/>
              <a:gd name="connsiteY4" fmla="*/ 3248914 h 3484108"/>
              <a:gd name="connsiteX5" fmla="*/ 5255729 w 13485152"/>
              <a:gd name="connsiteY5" fmla="*/ 1251672 h 3484108"/>
              <a:gd name="connsiteX6" fmla="*/ 7544797 w 13485152"/>
              <a:gd name="connsiteY6" fmla="*/ 1420115 h 3484108"/>
              <a:gd name="connsiteX7" fmla="*/ 10325913 w 13485152"/>
              <a:gd name="connsiteY7" fmla="*/ 806503 h 3484108"/>
              <a:gd name="connsiteX8" fmla="*/ 11542181 w 13485152"/>
              <a:gd name="connsiteY8" fmla="*/ 1311830 h 3484108"/>
              <a:gd name="connsiteX9" fmla="*/ 8918964 w 13485152"/>
              <a:gd name="connsiteY9" fmla="*/ 2009662 h 3484108"/>
              <a:gd name="connsiteX10" fmla="*/ 9153481 w 13485152"/>
              <a:gd name="connsiteY10" fmla="*/ 3309073 h 3484108"/>
              <a:gd name="connsiteX11" fmla="*/ 11021921 w 13485152"/>
              <a:gd name="connsiteY11" fmla="*/ 2731557 h 3484108"/>
              <a:gd name="connsiteX12" fmla="*/ 12031911 w 13485152"/>
              <a:gd name="connsiteY12" fmla="*/ 2659367 h 3484108"/>
              <a:gd name="connsiteX13" fmla="*/ 13480355 w 13485152"/>
              <a:gd name="connsiteY13" fmla="*/ 2996251 h 3484108"/>
              <a:gd name="connsiteX0" fmla="*/ 0 w 13485152"/>
              <a:gd name="connsiteY0" fmla="*/ 1299799 h 3484108"/>
              <a:gd name="connsiteX1" fmla="*/ 1888959 w 13485152"/>
              <a:gd name="connsiteY1" fmla="*/ 388 h 3484108"/>
              <a:gd name="connsiteX2" fmla="*/ 2947738 w 13485152"/>
              <a:gd name="connsiteY2" fmla="*/ 1203546 h 3484108"/>
              <a:gd name="connsiteX3" fmla="*/ 998622 w 13485152"/>
              <a:gd name="connsiteY3" fmla="*/ 2827809 h 3484108"/>
              <a:gd name="connsiteX4" fmla="*/ 3573380 w 13485152"/>
              <a:gd name="connsiteY4" fmla="*/ 3248914 h 3484108"/>
              <a:gd name="connsiteX5" fmla="*/ 5255729 w 13485152"/>
              <a:gd name="connsiteY5" fmla="*/ 1251672 h 3484108"/>
              <a:gd name="connsiteX6" fmla="*/ 7544797 w 13485152"/>
              <a:gd name="connsiteY6" fmla="*/ 1420115 h 3484108"/>
              <a:gd name="connsiteX7" fmla="*/ 10325913 w 13485152"/>
              <a:gd name="connsiteY7" fmla="*/ 806503 h 3484108"/>
              <a:gd name="connsiteX8" fmla="*/ 11542181 w 13485152"/>
              <a:gd name="connsiteY8" fmla="*/ 1311830 h 3484108"/>
              <a:gd name="connsiteX9" fmla="*/ 8918964 w 13485152"/>
              <a:gd name="connsiteY9" fmla="*/ 2009662 h 3484108"/>
              <a:gd name="connsiteX10" fmla="*/ 8567994 w 13485152"/>
              <a:gd name="connsiteY10" fmla="*/ 3164694 h 3484108"/>
              <a:gd name="connsiteX11" fmla="*/ 11021921 w 13485152"/>
              <a:gd name="connsiteY11" fmla="*/ 2731557 h 3484108"/>
              <a:gd name="connsiteX12" fmla="*/ 12031911 w 13485152"/>
              <a:gd name="connsiteY12" fmla="*/ 2659367 h 3484108"/>
              <a:gd name="connsiteX13" fmla="*/ 13480355 w 13485152"/>
              <a:gd name="connsiteY13" fmla="*/ 2996251 h 3484108"/>
              <a:gd name="connsiteX0" fmla="*/ 0 w 13485168"/>
              <a:gd name="connsiteY0" fmla="*/ 1299799 h 3484108"/>
              <a:gd name="connsiteX1" fmla="*/ 1888959 w 13485168"/>
              <a:gd name="connsiteY1" fmla="*/ 388 h 3484108"/>
              <a:gd name="connsiteX2" fmla="*/ 2947738 w 13485168"/>
              <a:gd name="connsiteY2" fmla="*/ 1203546 h 3484108"/>
              <a:gd name="connsiteX3" fmla="*/ 998622 w 13485168"/>
              <a:gd name="connsiteY3" fmla="*/ 2827809 h 3484108"/>
              <a:gd name="connsiteX4" fmla="*/ 3573380 w 13485168"/>
              <a:gd name="connsiteY4" fmla="*/ 3248914 h 3484108"/>
              <a:gd name="connsiteX5" fmla="*/ 5255729 w 13485168"/>
              <a:gd name="connsiteY5" fmla="*/ 1251672 h 3484108"/>
              <a:gd name="connsiteX6" fmla="*/ 7544797 w 13485168"/>
              <a:gd name="connsiteY6" fmla="*/ 1420115 h 3484108"/>
              <a:gd name="connsiteX7" fmla="*/ 10325913 w 13485168"/>
              <a:gd name="connsiteY7" fmla="*/ 806503 h 3484108"/>
              <a:gd name="connsiteX8" fmla="*/ 11542181 w 13485168"/>
              <a:gd name="connsiteY8" fmla="*/ 1311830 h 3484108"/>
              <a:gd name="connsiteX9" fmla="*/ 8918964 w 13485168"/>
              <a:gd name="connsiteY9" fmla="*/ 2009662 h 3484108"/>
              <a:gd name="connsiteX10" fmla="*/ 8567994 w 13485168"/>
              <a:gd name="connsiteY10" fmla="*/ 3164694 h 3484108"/>
              <a:gd name="connsiteX11" fmla="*/ 10998024 w 13485168"/>
              <a:gd name="connsiteY11" fmla="*/ 2960157 h 3484108"/>
              <a:gd name="connsiteX12" fmla="*/ 12031911 w 13485168"/>
              <a:gd name="connsiteY12" fmla="*/ 2659367 h 3484108"/>
              <a:gd name="connsiteX13" fmla="*/ 13480355 w 13485168"/>
              <a:gd name="connsiteY13" fmla="*/ 2996251 h 3484108"/>
              <a:gd name="connsiteX0" fmla="*/ 0 w 13480355"/>
              <a:gd name="connsiteY0" fmla="*/ 1299799 h 3484108"/>
              <a:gd name="connsiteX1" fmla="*/ 1888959 w 13480355"/>
              <a:gd name="connsiteY1" fmla="*/ 388 h 3484108"/>
              <a:gd name="connsiteX2" fmla="*/ 2947738 w 13480355"/>
              <a:gd name="connsiteY2" fmla="*/ 1203546 h 3484108"/>
              <a:gd name="connsiteX3" fmla="*/ 998622 w 13480355"/>
              <a:gd name="connsiteY3" fmla="*/ 2827809 h 3484108"/>
              <a:gd name="connsiteX4" fmla="*/ 3573380 w 13480355"/>
              <a:gd name="connsiteY4" fmla="*/ 3248914 h 3484108"/>
              <a:gd name="connsiteX5" fmla="*/ 5255729 w 13480355"/>
              <a:gd name="connsiteY5" fmla="*/ 1251672 h 3484108"/>
              <a:gd name="connsiteX6" fmla="*/ 7544797 w 13480355"/>
              <a:gd name="connsiteY6" fmla="*/ 1420115 h 3484108"/>
              <a:gd name="connsiteX7" fmla="*/ 10325913 w 13480355"/>
              <a:gd name="connsiteY7" fmla="*/ 806503 h 3484108"/>
              <a:gd name="connsiteX8" fmla="*/ 11542181 w 13480355"/>
              <a:gd name="connsiteY8" fmla="*/ 1311830 h 3484108"/>
              <a:gd name="connsiteX9" fmla="*/ 8918964 w 13480355"/>
              <a:gd name="connsiteY9" fmla="*/ 2009662 h 3484108"/>
              <a:gd name="connsiteX10" fmla="*/ 8567994 w 13480355"/>
              <a:gd name="connsiteY10" fmla="*/ 3164694 h 3484108"/>
              <a:gd name="connsiteX11" fmla="*/ 10998024 w 13480355"/>
              <a:gd name="connsiteY11" fmla="*/ 2960157 h 3484108"/>
              <a:gd name="connsiteX12" fmla="*/ 13480355 w 13480355"/>
              <a:gd name="connsiteY12" fmla="*/ 2996251 h 3484108"/>
              <a:gd name="connsiteX0" fmla="*/ 0 w 11584575"/>
              <a:gd name="connsiteY0" fmla="*/ 1299799 h 3484108"/>
              <a:gd name="connsiteX1" fmla="*/ 1888959 w 11584575"/>
              <a:gd name="connsiteY1" fmla="*/ 388 h 3484108"/>
              <a:gd name="connsiteX2" fmla="*/ 2947738 w 11584575"/>
              <a:gd name="connsiteY2" fmla="*/ 1203546 h 3484108"/>
              <a:gd name="connsiteX3" fmla="*/ 998622 w 11584575"/>
              <a:gd name="connsiteY3" fmla="*/ 2827809 h 3484108"/>
              <a:gd name="connsiteX4" fmla="*/ 3573380 w 11584575"/>
              <a:gd name="connsiteY4" fmla="*/ 3248914 h 3484108"/>
              <a:gd name="connsiteX5" fmla="*/ 5255729 w 11584575"/>
              <a:gd name="connsiteY5" fmla="*/ 1251672 h 3484108"/>
              <a:gd name="connsiteX6" fmla="*/ 7544797 w 11584575"/>
              <a:gd name="connsiteY6" fmla="*/ 1420115 h 3484108"/>
              <a:gd name="connsiteX7" fmla="*/ 10325913 w 11584575"/>
              <a:gd name="connsiteY7" fmla="*/ 806503 h 3484108"/>
              <a:gd name="connsiteX8" fmla="*/ 11542181 w 11584575"/>
              <a:gd name="connsiteY8" fmla="*/ 1311830 h 3484108"/>
              <a:gd name="connsiteX9" fmla="*/ 8918964 w 11584575"/>
              <a:gd name="connsiteY9" fmla="*/ 2009662 h 3484108"/>
              <a:gd name="connsiteX10" fmla="*/ 8567994 w 11584575"/>
              <a:gd name="connsiteY10" fmla="*/ 3164694 h 3484108"/>
              <a:gd name="connsiteX11" fmla="*/ 10998024 w 11584575"/>
              <a:gd name="connsiteY11" fmla="*/ 2960157 h 3484108"/>
              <a:gd name="connsiteX0" fmla="*/ 0 w 13053199"/>
              <a:gd name="connsiteY0" fmla="*/ 1299799 h 3484108"/>
              <a:gd name="connsiteX1" fmla="*/ 1888959 w 13053199"/>
              <a:gd name="connsiteY1" fmla="*/ 388 h 3484108"/>
              <a:gd name="connsiteX2" fmla="*/ 2947738 w 13053199"/>
              <a:gd name="connsiteY2" fmla="*/ 1203546 h 3484108"/>
              <a:gd name="connsiteX3" fmla="*/ 998622 w 13053199"/>
              <a:gd name="connsiteY3" fmla="*/ 2827809 h 3484108"/>
              <a:gd name="connsiteX4" fmla="*/ 3573380 w 13053199"/>
              <a:gd name="connsiteY4" fmla="*/ 3248914 h 3484108"/>
              <a:gd name="connsiteX5" fmla="*/ 5255729 w 13053199"/>
              <a:gd name="connsiteY5" fmla="*/ 1251672 h 3484108"/>
              <a:gd name="connsiteX6" fmla="*/ 7544797 w 13053199"/>
              <a:gd name="connsiteY6" fmla="*/ 1420115 h 3484108"/>
              <a:gd name="connsiteX7" fmla="*/ 10325913 w 13053199"/>
              <a:gd name="connsiteY7" fmla="*/ 806503 h 3484108"/>
              <a:gd name="connsiteX8" fmla="*/ 11542181 w 13053199"/>
              <a:gd name="connsiteY8" fmla="*/ 1311830 h 3484108"/>
              <a:gd name="connsiteX9" fmla="*/ 8918964 w 13053199"/>
              <a:gd name="connsiteY9" fmla="*/ 2009662 h 3484108"/>
              <a:gd name="connsiteX10" fmla="*/ 8567994 w 13053199"/>
              <a:gd name="connsiteY10" fmla="*/ 3164694 h 3484108"/>
              <a:gd name="connsiteX11" fmla="*/ 13053199 w 13053199"/>
              <a:gd name="connsiteY11" fmla="*/ 2129978 h 3484108"/>
              <a:gd name="connsiteX0" fmla="*/ 0 w 13053199"/>
              <a:gd name="connsiteY0" fmla="*/ 1299799 h 3484108"/>
              <a:gd name="connsiteX1" fmla="*/ 1888959 w 13053199"/>
              <a:gd name="connsiteY1" fmla="*/ 388 h 3484108"/>
              <a:gd name="connsiteX2" fmla="*/ 2947738 w 13053199"/>
              <a:gd name="connsiteY2" fmla="*/ 1203546 h 3484108"/>
              <a:gd name="connsiteX3" fmla="*/ 998622 w 13053199"/>
              <a:gd name="connsiteY3" fmla="*/ 2827809 h 3484108"/>
              <a:gd name="connsiteX4" fmla="*/ 3573380 w 13053199"/>
              <a:gd name="connsiteY4" fmla="*/ 3248914 h 3484108"/>
              <a:gd name="connsiteX5" fmla="*/ 5255729 w 13053199"/>
              <a:gd name="connsiteY5" fmla="*/ 1251672 h 3484108"/>
              <a:gd name="connsiteX6" fmla="*/ 7544797 w 13053199"/>
              <a:gd name="connsiteY6" fmla="*/ 1420115 h 3484108"/>
              <a:gd name="connsiteX7" fmla="*/ 9298324 w 13053199"/>
              <a:gd name="connsiteY7" fmla="*/ 589935 h 3484108"/>
              <a:gd name="connsiteX8" fmla="*/ 11542181 w 13053199"/>
              <a:gd name="connsiteY8" fmla="*/ 1311830 h 3484108"/>
              <a:gd name="connsiteX9" fmla="*/ 8918964 w 13053199"/>
              <a:gd name="connsiteY9" fmla="*/ 2009662 h 3484108"/>
              <a:gd name="connsiteX10" fmla="*/ 8567994 w 13053199"/>
              <a:gd name="connsiteY10" fmla="*/ 3164694 h 3484108"/>
              <a:gd name="connsiteX11" fmla="*/ 13053199 w 13053199"/>
              <a:gd name="connsiteY11" fmla="*/ 2129978 h 3484108"/>
              <a:gd name="connsiteX0" fmla="*/ 0 w 13053199"/>
              <a:gd name="connsiteY0" fmla="*/ 1299799 h 3484108"/>
              <a:gd name="connsiteX1" fmla="*/ 1888959 w 13053199"/>
              <a:gd name="connsiteY1" fmla="*/ 388 h 3484108"/>
              <a:gd name="connsiteX2" fmla="*/ 2947738 w 13053199"/>
              <a:gd name="connsiteY2" fmla="*/ 1203546 h 3484108"/>
              <a:gd name="connsiteX3" fmla="*/ 998622 w 13053199"/>
              <a:gd name="connsiteY3" fmla="*/ 2827809 h 3484108"/>
              <a:gd name="connsiteX4" fmla="*/ 3573380 w 13053199"/>
              <a:gd name="connsiteY4" fmla="*/ 3248914 h 3484108"/>
              <a:gd name="connsiteX5" fmla="*/ 5255729 w 13053199"/>
              <a:gd name="connsiteY5" fmla="*/ 1251672 h 3484108"/>
              <a:gd name="connsiteX6" fmla="*/ 7544797 w 13053199"/>
              <a:gd name="connsiteY6" fmla="*/ 1420115 h 3484108"/>
              <a:gd name="connsiteX7" fmla="*/ 9298324 w 13053199"/>
              <a:gd name="connsiteY7" fmla="*/ 589935 h 3484108"/>
              <a:gd name="connsiteX8" fmla="*/ 9905210 w 13053199"/>
              <a:gd name="connsiteY8" fmla="*/ 1648714 h 3484108"/>
              <a:gd name="connsiteX9" fmla="*/ 8918964 w 13053199"/>
              <a:gd name="connsiteY9" fmla="*/ 2009662 h 3484108"/>
              <a:gd name="connsiteX10" fmla="*/ 8567994 w 13053199"/>
              <a:gd name="connsiteY10" fmla="*/ 3164694 h 3484108"/>
              <a:gd name="connsiteX11" fmla="*/ 13053199 w 13053199"/>
              <a:gd name="connsiteY11" fmla="*/ 2129978 h 3484108"/>
              <a:gd name="connsiteX0" fmla="*/ 0 w 13053199"/>
              <a:gd name="connsiteY0" fmla="*/ 1299799 h 3484108"/>
              <a:gd name="connsiteX1" fmla="*/ 1888959 w 13053199"/>
              <a:gd name="connsiteY1" fmla="*/ 388 h 3484108"/>
              <a:gd name="connsiteX2" fmla="*/ 2947738 w 13053199"/>
              <a:gd name="connsiteY2" fmla="*/ 1203546 h 3484108"/>
              <a:gd name="connsiteX3" fmla="*/ 998622 w 13053199"/>
              <a:gd name="connsiteY3" fmla="*/ 2827809 h 3484108"/>
              <a:gd name="connsiteX4" fmla="*/ 3573380 w 13053199"/>
              <a:gd name="connsiteY4" fmla="*/ 3248914 h 3484108"/>
              <a:gd name="connsiteX5" fmla="*/ 5255729 w 13053199"/>
              <a:gd name="connsiteY5" fmla="*/ 1251672 h 3484108"/>
              <a:gd name="connsiteX6" fmla="*/ 7544797 w 13053199"/>
              <a:gd name="connsiteY6" fmla="*/ 1420115 h 3484108"/>
              <a:gd name="connsiteX7" fmla="*/ 9298324 w 13053199"/>
              <a:gd name="connsiteY7" fmla="*/ 589935 h 3484108"/>
              <a:gd name="connsiteX8" fmla="*/ 9905210 w 13053199"/>
              <a:gd name="connsiteY8" fmla="*/ 1648714 h 3484108"/>
              <a:gd name="connsiteX9" fmla="*/ 7867478 w 13053199"/>
              <a:gd name="connsiteY9" fmla="*/ 2767651 h 3484108"/>
              <a:gd name="connsiteX10" fmla="*/ 8567994 w 13053199"/>
              <a:gd name="connsiteY10" fmla="*/ 3164694 h 3484108"/>
              <a:gd name="connsiteX11" fmla="*/ 13053199 w 13053199"/>
              <a:gd name="connsiteY11" fmla="*/ 2129978 h 3484108"/>
              <a:gd name="connsiteX0" fmla="*/ 0 w 13053199"/>
              <a:gd name="connsiteY0" fmla="*/ 1299799 h 3522829"/>
              <a:gd name="connsiteX1" fmla="*/ 1888959 w 13053199"/>
              <a:gd name="connsiteY1" fmla="*/ 388 h 3522829"/>
              <a:gd name="connsiteX2" fmla="*/ 2947738 w 13053199"/>
              <a:gd name="connsiteY2" fmla="*/ 1203546 h 3522829"/>
              <a:gd name="connsiteX3" fmla="*/ 998622 w 13053199"/>
              <a:gd name="connsiteY3" fmla="*/ 2827809 h 3522829"/>
              <a:gd name="connsiteX4" fmla="*/ 3573380 w 13053199"/>
              <a:gd name="connsiteY4" fmla="*/ 3248914 h 3522829"/>
              <a:gd name="connsiteX5" fmla="*/ 5255729 w 13053199"/>
              <a:gd name="connsiteY5" fmla="*/ 1251672 h 3522829"/>
              <a:gd name="connsiteX6" fmla="*/ 7544797 w 13053199"/>
              <a:gd name="connsiteY6" fmla="*/ 1420115 h 3522829"/>
              <a:gd name="connsiteX7" fmla="*/ 9298324 w 13053199"/>
              <a:gd name="connsiteY7" fmla="*/ 589935 h 3522829"/>
              <a:gd name="connsiteX8" fmla="*/ 9905210 w 13053199"/>
              <a:gd name="connsiteY8" fmla="*/ 1648714 h 3522829"/>
              <a:gd name="connsiteX9" fmla="*/ 7867478 w 13053199"/>
              <a:gd name="connsiteY9" fmla="*/ 2767651 h 3522829"/>
              <a:gd name="connsiteX10" fmla="*/ 8567994 w 13053199"/>
              <a:gd name="connsiteY10" fmla="*/ 3164694 h 3522829"/>
              <a:gd name="connsiteX11" fmla="*/ 9523113 w 13053199"/>
              <a:gd name="connsiteY11" fmla="*/ 3477513 h 3522829"/>
              <a:gd name="connsiteX12" fmla="*/ 13053199 w 13053199"/>
              <a:gd name="connsiteY12" fmla="*/ 2129978 h 3522829"/>
              <a:gd name="connsiteX0" fmla="*/ 0 w 13053199"/>
              <a:gd name="connsiteY0" fmla="*/ 1299799 h 3491805"/>
              <a:gd name="connsiteX1" fmla="*/ 1888959 w 13053199"/>
              <a:gd name="connsiteY1" fmla="*/ 388 h 3491805"/>
              <a:gd name="connsiteX2" fmla="*/ 2947738 w 13053199"/>
              <a:gd name="connsiteY2" fmla="*/ 1203546 h 3491805"/>
              <a:gd name="connsiteX3" fmla="*/ 998622 w 13053199"/>
              <a:gd name="connsiteY3" fmla="*/ 2827809 h 3491805"/>
              <a:gd name="connsiteX4" fmla="*/ 3573380 w 13053199"/>
              <a:gd name="connsiteY4" fmla="*/ 3248914 h 3491805"/>
              <a:gd name="connsiteX5" fmla="*/ 5255729 w 13053199"/>
              <a:gd name="connsiteY5" fmla="*/ 1251672 h 3491805"/>
              <a:gd name="connsiteX6" fmla="*/ 7544797 w 13053199"/>
              <a:gd name="connsiteY6" fmla="*/ 1420115 h 3491805"/>
              <a:gd name="connsiteX7" fmla="*/ 9298324 w 13053199"/>
              <a:gd name="connsiteY7" fmla="*/ 589935 h 3491805"/>
              <a:gd name="connsiteX8" fmla="*/ 9905210 w 13053199"/>
              <a:gd name="connsiteY8" fmla="*/ 1648714 h 3491805"/>
              <a:gd name="connsiteX9" fmla="*/ 7867478 w 13053199"/>
              <a:gd name="connsiteY9" fmla="*/ 2767651 h 3491805"/>
              <a:gd name="connsiteX10" fmla="*/ 9523113 w 13053199"/>
              <a:gd name="connsiteY10" fmla="*/ 3477513 h 3491805"/>
              <a:gd name="connsiteX11" fmla="*/ 13053199 w 13053199"/>
              <a:gd name="connsiteY11" fmla="*/ 2129978 h 3491805"/>
              <a:gd name="connsiteX0" fmla="*/ 0 w 13053199"/>
              <a:gd name="connsiteY0" fmla="*/ 1299799 h 3525481"/>
              <a:gd name="connsiteX1" fmla="*/ 1888959 w 13053199"/>
              <a:gd name="connsiteY1" fmla="*/ 388 h 3525481"/>
              <a:gd name="connsiteX2" fmla="*/ 2947738 w 13053199"/>
              <a:gd name="connsiteY2" fmla="*/ 1203546 h 3525481"/>
              <a:gd name="connsiteX3" fmla="*/ 998622 w 13053199"/>
              <a:gd name="connsiteY3" fmla="*/ 2827809 h 3525481"/>
              <a:gd name="connsiteX4" fmla="*/ 3573380 w 13053199"/>
              <a:gd name="connsiteY4" fmla="*/ 3248914 h 3525481"/>
              <a:gd name="connsiteX5" fmla="*/ 5255729 w 13053199"/>
              <a:gd name="connsiteY5" fmla="*/ 1251672 h 3525481"/>
              <a:gd name="connsiteX6" fmla="*/ 7544797 w 13053199"/>
              <a:gd name="connsiteY6" fmla="*/ 1420115 h 3525481"/>
              <a:gd name="connsiteX7" fmla="*/ 9298324 w 13053199"/>
              <a:gd name="connsiteY7" fmla="*/ 589935 h 3525481"/>
              <a:gd name="connsiteX8" fmla="*/ 9905210 w 13053199"/>
              <a:gd name="connsiteY8" fmla="*/ 1648714 h 3525481"/>
              <a:gd name="connsiteX9" fmla="*/ 7867478 w 13053199"/>
              <a:gd name="connsiteY9" fmla="*/ 2767651 h 3525481"/>
              <a:gd name="connsiteX10" fmla="*/ 9523113 w 13053199"/>
              <a:gd name="connsiteY10" fmla="*/ 3477513 h 3525481"/>
              <a:gd name="connsiteX11" fmla="*/ 13053199 w 13053199"/>
              <a:gd name="connsiteY11" fmla="*/ 2129978 h 3525481"/>
              <a:gd name="connsiteX0" fmla="*/ 0 w 13053199"/>
              <a:gd name="connsiteY0" fmla="*/ 1299799 h 3525481"/>
              <a:gd name="connsiteX1" fmla="*/ 1888959 w 13053199"/>
              <a:gd name="connsiteY1" fmla="*/ 388 h 3525481"/>
              <a:gd name="connsiteX2" fmla="*/ 2947738 w 13053199"/>
              <a:gd name="connsiteY2" fmla="*/ 1203546 h 3525481"/>
              <a:gd name="connsiteX3" fmla="*/ 998622 w 13053199"/>
              <a:gd name="connsiteY3" fmla="*/ 2827809 h 3525481"/>
              <a:gd name="connsiteX4" fmla="*/ 3573380 w 13053199"/>
              <a:gd name="connsiteY4" fmla="*/ 3248914 h 3525481"/>
              <a:gd name="connsiteX5" fmla="*/ 5255729 w 13053199"/>
              <a:gd name="connsiteY5" fmla="*/ 1251672 h 3525481"/>
              <a:gd name="connsiteX6" fmla="*/ 7544797 w 13053199"/>
              <a:gd name="connsiteY6" fmla="*/ 1420115 h 3525481"/>
              <a:gd name="connsiteX7" fmla="*/ 8975709 w 13053199"/>
              <a:gd name="connsiteY7" fmla="*/ 601966 h 3525481"/>
              <a:gd name="connsiteX8" fmla="*/ 9905210 w 13053199"/>
              <a:gd name="connsiteY8" fmla="*/ 1648714 h 3525481"/>
              <a:gd name="connsiteX9" fmla="*/ 7867478 w 13053199"/>
              <a:gd name="connsiteY9" fmla="*/ 2767651 h 3525481"/>
              <a:gd name="connsiteX10" fmla="*/ 9523113 w 13053199"/>
              <a:gd name="connsiteY10" fmla="*/ 3477513 h 3525481"/>
              <a:gd name="connsiteX11" fmla="*/ 13053199 w 13053199"/>
              <a:gd name="connsiteY11" fmla="*/ 2129978 h 3525481"/>
              <a:gd name="connsiteX0" fmla="*/ 0 w 13053199"/>
              <a:gd name="connsiteY0" fmla="*/ 1299799 h 3525481"/>
              <a:gd name="connsiteX1" fmla="*/ 1888959 w 13053199"/>
              <a:gd name="connsiteY1" fmla="*/ 388 h 3525481"/>
              <a:gd name="connsiteX2" fmla="*/ 2947738 w 13053199"/>
              <a:gd name="connsiteY2" fmla="*/ 1203546 h 3525481"/>
              <a:gd name="connsiteX3" fmla="*/ 998622 w 13053199"/>
              <a:gd name="connsiteY3" fmla="*/ 2827809 h 3525481"/>
              <a:gd name="connsiteX4" fmla="*/ 3573380 w 13053199"/>
              <a:gd name="connsiteY4" fmla="*/ 3248914 h 3525481"/>
              <a:gd name="connsiteX5" fmla="*/ 5255729 w 13053199"/>
              <a:gd name="connsiteY5" fmla="*/ 1251672 h 3525481"/>
              <a:gd name="connsiteX6" fmla="*/ 7544797 w 13053199"/>
              <a:gd name="connsiteY6" fmla="*/ 1420115 h 3525481"/>
              <a:gd name="connsiteX7" fmla="*/ 8975709 w 13053199"/>
              <a:gd name="connsiteY7" fmla="*/ 601966 h 3525481"/>
              <a:gd name="connsiteX8" fmla="*/ 9905210 w 13053199"/>
              <a:gd name="connsiteY8" fmla="*/ 1648714 h 3525481"/>
              <a:gd name="connsiteX9" fmla="*/ 7867478 w 13053199"/>
              <a:gd name="connsiteY9" fmla="*/ 2767651 h 3525481"/>
              <a:gd name="connsiteX10" fmla="*/ 9523113 w 13053199"/>
              <a:gd name="connsiteY10" fmla="*/ 3477513 h 3525481"/>
              <a:gd name="connsiteX11" fmla="*/ 13053199 w 13053199"/>
              <a:gd name="connsiteY11" fmla="*/ 2129978 h 3525481"/>
              <a:gd name="connsiteX0" fmla="*/ 0 w 13053199"/>
              <a:gd name="connsiteY0" fmla="*/ 1299799 h 3525481"/>
              <a:gd name="connsiteX1" fmla="*/ 1888959 w 13053199"/>
              <a:gd name="connsiteY1" fmla="*/ 388 h 3525481"/>
              <a:gd name="connsiteX2" fmla="*/ 2947738 w 13053199"/>
              <a:gd name="connsiteY2" fmla="*/ 1203546 h 3525481"/>
              <a:gd name="connsiteX3" fmla="*/ 998622 w 13053199"/>
              <a:gd name="connsiteY3" fmla="*/ 2827809 h 3525481"/>
              <a:gd name="connsiteX4" fmla="*/ 3573380 w 13053199"/>
              <a:gd name="connsiteY4" fmla="*/ 3248914 h 3525481"/>
              <a:gd name="connsiteX5" fmla="*/ 5255729 w 13053199"/>
              <a:gd name="connsiteY5" fmla="*/ 1251672 h 3525481"/>
              <a:gd name="connsiteX6" fmla="*/ 7544797 w 13053199"/>
              <a:gd name="connsiteY6" fmla="*/ 1420115 h 3525481"/>
              <a:gd name="connsiteX7" fmla="*/ 8975709 w 13053199"/>
              <a:gd name="connsiteY7" fmla="*/ 601966 h 3525481"/>
              <a:gd name="connsiteX8" fmla="*/ 9905210 w 13053199"/>
              <a:gd name="connsiteY8" fmla="*/ 1648714 h 3525481"/>
              <a:gd name="connsiteX9" fmla="*/ 7867478 w 13053199"/>
              <a:gd name="connsiteY9" fmla="*/ 2767651 h 3525481"/>
              <a:gd name="connsiteX10" fmla="*/ 9523113 w 13053199"/>
              <a:gd name="connsiteY10" fmla="*/ 3477513 h 3525481"/>
              <a:gd name="connsiteX11" fmla="*/ 13053199 w 13053199"/>
              <a:gd name="connsiteY11" fmla="*/ 2129978 h 3525481"/>
              <a:gd name="connsiteX0" fmla="*/ 0 w 13053199"/>
              <a:gd name="connsiteY0" fmla="*/ 1299799 h 3491446"/>
              <a:gd name="connsiteX1" fmla="*/ 1888959 w 13053199"/>
              <a:gd name="connsiteY1" fmla="*/ 388 h 3491446"/>
              <a:gd name="connsiteX2" fmla="*/ 2947738 w 13053199"/>
              <a:gd name="connsiteY2" fmla="*/ 1203546 h 3491446"/>
              <a:gd name="connsiteX3" fmla="*/ 998622 w 13053199"/>
              <a:gd name="connsiteY3" fmla="*/ 2827809 h 3491446"/>
              <a:gd name="connsiteX4" fmla="*/ 3573380 w 13053199"/>
              <a:gd name="connsiteY4" fmla="*/ 3248914 h 3491446"/>
              <a:gd name="connsiteX5" fmla="*/ 5255729 w 13053199"/>
              <a:gd name="connsiteY5" fmla="*/ 1251672 h 3491446"/>
              <a:gd name="connsiteX6" fmla="*/ 7544797 w 13053199"/>
              <a:gd name="connsiteY6" fmla="*/ 1420115 h 3491446"/>
              <a:gd name="connsiteX7" fmla="*/ 8975709 w 13053199"/>
              <a:gd name="connsiteY7" fmla="*/ 601966 h 3491446"/>
              <a:gd name="connsiteX8" fmla="*/ 9510902 w 13053199"/>
              <a:gd name="connsiteY8" fmla="*/ 1744966 h 3491446"/>
              <a:gd name="connsiteX9" fmla="*/ 7867478 w 13053199"/>
              <a:gd name="connsiteY9" fmla="*/ 2767651 h 3491446"/>
              <a:gd name="connsiteX10" fmla="*/ 9523113 w 13053199"/>
              <a:gd name="connsiteY10" fmla="*/ 3477513 h 3491446"/>
              <a:gd name="connsiteX11" fmla="*/ 13053199 w 13053199"/>
              <a:gd name="connsiteY11" fmla="*/ 2129978 h 3491446"/>
              <a:gd name="connsiteX0" fmla="*/ 0 w 13053199"/>
              <a:gd name="connsiteY0" fmla="*/ 1299799 h 3491446"/>
              <a:gd name="connsiteX1" fmla="*/ 1888959 w 13053199"/>
              <a:gd name="connsiteY1" fmla="*/ 388 h 3491446"/>
              <a:gd name="connsiteX2" fmla="*/ 2947738 w 13053199"/>
              <a:gd name="connsiteY2" fmla="*/ 1203546 h 3491446"/>
              <a:gd name="connsiteX3" fmla="*/ 998622 w 13053199"/>
              <a:gd name="connsiteY3" fmla="*/ 2827809 h 3491446"/>
              <a:gd name="connsiteX4" fmla="*/ 3573380 w 13053199"/>
              <a:gd name="connsiteY4" fmla="*/ 3248914 h 3491446"/>
              <a:gd name="connsiteX5" fmla="*/ 5255729 w 13053199"/>
              <a:gd name="connsiteY5" fmla="*/ 1251672 h 3491446"/>
              <a:gd name="connsiteX6" fmla="*/ 7544797 w 13053199"/>
              <a:gd name="connsiteY6" fmla="*/ 1420115 h 3491446"/>
              <a:gd name="connsiteX7" fmla="*/ 8772581 w 13053199"/>
              <a:gd name="connsiteY7" fmla="*/ 722282 h 3491446"/>
              <a:gd name="connsiteX8" fmla="*/ 9510902 w 13053199"/>
              <a:gd name="connsiteY8" fmla="*/ 1744966 h 3491446"/>
              <a:gd name="connsiteX9" fmla="*/ 7867478 w 13053199"/>
              <a:gd name="connsiteY9" fmla="*/ 2767651 h 3491446"/>
              <a:gd name="connsiteX10" fmla="*/ 9523113 w 13053199"/>
              <a:gd name="connsiteY10" fmla="*/ 3477513 h 3491446"/>
              <a:gd name="connsiteX11" fmla="*/ 13053199 w 13053199"/>
              <a:gd name="connsiteY11" fmla="*/ 2129978 h 3491446"/>
              <a:gd name="connsiteX0" fmla="*/ 0 w 13053199"/>
              <a:gd name="connsiteY0" fmla="*/ 1299799 h 3491446"/>
              <a:gd name="connsiteX1" fmla="*/ 1888959 w 13053199"/>
              <a:gd name="connsiteY1" fmla="*/ 388 h 3491446"/>
              <a:gd name="connsiteX2" fmla="*/ 2947738 w 13053199"/>
              <a:gd name="connsiteY2" fmla="*/ 1203546 h 3491446"/>
              <a:gd name="connsiteX3" fmla="*/ 998622 w 13053199"/>
              <a:gd name="connsiteY3" fmla="*/ 2827809 h 3491446"/>
              <a:gd name="connsiteX4" fmla="*/ 3573380 w 13053199"/>
              <a:gd name="connsiteY4" fmla="*/ 3248914 h 3491446"/>
              <a:gd name="connsiteX5" fmla="*/ 5255729 w 13053199"/>
              <a:gd name="connsiteY5" fmla="*/ 1251672 h 3491446"/>
              <a:gd name="connsiteX6" fmla="*/ 7544797 w 13053199"/>
              <a:gd name="connsiteY6" fmla="*/ 1420115 h 3491446"/>
              <a:gd name="connsiteX7" fmla="*/ 8772581 w 13053199"/>
              <a:gd name="connsiteY7" fmla="*/ 722282 h 3491446"/>
              <a:gd name="connsiteX8" fmla="*/ 9510902 w 13053199"/>
              <a:gd name="connsiteY8" fmla="*/ 1744966 h 3491446"/>
              <a:gd name="connsiteX9" fmla="*/ 7867478 w 13053199"/>
              <a:gd name="connsiteY9" fmla="*/ 2767651 h 3491446"/>
              <a:gd name="connsiteX10" fmla="*/ 9523113 w 13053199"/>
              <a:gd name="connsiteY10" fmla="*/ 3477513 h 3491446"/>
              <a:gd name="connsiteX11" fmla="*/ 13053199 w 13053199"/>
              <a:gd name="connsiteY11" fmla="*/ 2129978 h 3491446"/>
              <a:gd name="connsiteX0" fmla="*/ 0 w 13053199"/>
              <a:gd name="connsiteY0" fmla="*/ 1299799 h 3491446"/>
              <a:gd name="connsiteX1" fmla="*/ 1888959 w 13053199"/>
              <a:gd name="connsiteY1" fmla="*/ 388 h 3491446"/>
              <a:gd name="connsiteX2" fmla="*/ 2947738 w 13053199"/>
              <a:gd name="connsiteY2" fmla="*/ 1203546 h 3491446"/>
              <a:gd name="connsiteX3" fmla="*/ 998622 w 13053199"/>
              <a:gd name="connsiteY3" fmla="*/ 2827809 h 3491446"/>
              <a:gd name="connsiteX4" fmla="*/ 3573380 w 13053199"/>
              <a:gd name="connsiteY4" fmla="*/ 3248914 h 3491446"/>
              <a:gd name="connsiteX5" fmla="*/ 5255729 w 13053199"/>
              <a:gd name="connsiteY5" fmla="*/ 1251672 h 3491446"/>
              <a:gd name="connsiteX6" fmla="*/ 7269978 w 13053199"/>
              <a:gd name="connsiteY6" fmla="*/ 1456210 h 3491446"/>
              <a:gd name="connsiteX7" fmla="*/ 8772581 w 13053199"/>
              <a:gd name="connsiteY7" fmla="*/ 722282 h 3491446"/>
              <a:gd name="connsiteX8" fmla="*/ 9510902 w 13053199"/>
              <a:gd name="connsiteY8" fmla="*/ 1744966 h 3491446"/>
              <a:gd name="connsiteX9" fmla="*/ 7867478 w 13053199"/>
              <a:gd name="connsiteY9" fmla="*/ 2767651 h 3491446"/>
              <a:gd name="connsiteX10" fmla="*/ 9523113 w 13053199"/>
              <a:gd name="connsiteY10" fmla="*/ 3477513 h 3491446"/>
              <a:gd name="connsiteX11" fmla="*/ 13053199 w 13053199"/>
              <a:gd name="connsiteY11" fmla="*/ 2129978 h 3491446"/>
              <a:gd name="connsiteX0" fmla="*/ 0 w 13053199"/>
              <a:gd name="connsiteY0" fmla="*/ 1299799 h 3491446"/>
              <a:gd name="connsiteX1" fmla="*/ 1888959 w 13053199"/>
              <a:gd name="connsiteY1" fmla="*/ 388 h 3491446"/>
              <a:gd name="connsiteX2" fmla="*/ 2947738 w 13053199"/>
              <a:gd name="connsiteY2" fmla="*/ 1203546 h 3491446"/>
              <a:gd name="connsiteX3" fmla="*/ 998622 w 13053199"/>
              <a:gd name="connsiteY3" fmla="*/ 2827809 h 3491446"/>
              <a:gd name="connsiteX4" fmla="*/ 3573380 w 13053199"/>
              <a:gd name="connsiteY4" fmla="*/ 3248914 h 3491446"/>
              <a:gd name="connsiteX5" fmla="*/ 5255729 w 13053199"/>
              <a:gd name="connsiteY5" fmla="*/ 1251672 h 3491446"/>
              <a:gd name="connsiteX6" fmla="*/ 7269978 w 13053199"/>
              <a:gd name="connsiteY6" fmla="*/ 1456210 h 3491446"/>
              <a:gd name="connsiteX7" fmla="*/ 8772581 w 13053199"/>
              <a:gd name="connsiteY7" fmla="*/ 722282 h 3491446"/>
              <a:gd name="connsiteX8" fmla="*/ 9510902 w 13053199"/>
              <a:gd name="connsiteY8" fmla="*/ 1744966 h 3491446"/>
              <a:gd name="connsiteX9" fmla="*/ 7867478 w 13053199"/>
              <a:gd name="connsiteY9" fmla="*/ 2767651 h 3491446"/>
              <a:gd name="connsiteX10" fmla="*/ 9523113 w 13053199"/>
              <a:gd name="connsiteY10" fmla="*/ 3477513 h 3491446"/>
              <a:gd name="connsiteX11" fmla="*/ 13053199 w 13053199"/>
              <a:gd name="connsiteY11" fmla="*/ 2129978 h 3491446"/>
              <a:gd name="connsiteX0" fmla="*/ 0 w 13053199"/>
              <a:gd name="connsiteY0" fmla="*/ 1299799 h 3491446"/>
              <a:gd name="connsiteX1" fmla="*/ 1888959 w 13053199"/>
              <a:gd name="connsiteY1" fmla="*/ 388 h 3491446"/>
              <a:gd name="connsiteX2" fmla="*/ 2947738 w 13053199"/>
              <a:gd name="connsiteY2" fmla="*/ 1203546 h 3491446"/>
              <a:gd name="connsiteX3" fmla="*/ 998622 w 13053199"/>
              <a:gd name="connsiteY3" fmla="*/ 2827809 h 3491446"/>
              <a:gd name="connsiteX4" fmla="*/ 3573380 w 13053199"/>
              <a:gd name="connsiteY4" fmla="*/ 3248914 h 3491446"/>
              <a:gd name="connsiteX5" fmla="*/ 5255729 w 13053199"/>
              <a:gd name="connsiteY5" fmla="*/ 1251672 h 3491446"/>
              <a:gd name="connsiteX6" fmla="*/ 7269978 w 13053199"/>
              <a:gd name="connsiteY6" fmla="*/ 1456210 h 3491446"/>
              <a:gd name="connsiteX7" fmla="*/ 9095196 w 13053199"/>
              <a:gd name="connsiteY7" fmla="*/ 734314 h 3491446"/>
              <a:gd name="connsiteX8" fmla="*/ 9510902 w 13053199"/>
              <a:gd name="connsiteY8" fmla="*/ 1744966 h 3491446"/>
              <a:gd name="connsiteX9" fmla="*/ 7867478 w 13053199"/>
              <a:gd name="connsiteY9" fmla="*/ 2767651 h 3491446"/>
              <a:gd name="connsiteX10" fmla="*/ 9523113 w 13053199"/>
              <a:gd name="connsiteY10" fmla="*/ 3477513 h 3491446"/>
              <a:gd name="connsiteX11" fmla="*/ 13053199 w 13053199"/>
              <a:gd name="connsiteY11" fmla="*/ 2129978 h 3491446"/>
              <a:gd name="connsiteX0" fmla="*/ 0 w 13053199"/>
              <a:gd name="connsiteY0" fmla="*/ 1299799 h 3491446"/>
              <a:gd name="connsiteX1" fmla="*/ 1888959 w 13053199"/>
              <a:gd name="connsiteY1" fmla="*/ 388 h 3491446"/>
              <a:gd name="connsiteX2" fmla="*/ 2947738 w 13053199"/>
              <a:gd name="connsiteY2" fmla="*/ 1203546 h 3491446"/>
              <a:gd name="connsiteX3" fmla="*/ 998622 w 13053199"/>
              <a:gd name="connsiteY3" fmla="*/ 2827809 h 3491446"/>
              <a:gd name="connsiteX4" fmla="*/ 3573380 w 13053199"/>
              <a:gd name="connsiteY4" fmla="*/ 3248914 h 3491446"/>
              <a:gd name="connsiteX5" fmla="*/ 5255729 w 13053199"/>
              <a:gd name="connsiteY5" fmla="*/ 1251672 h 3491446"/>
              <a:gd name="connsiteX6" fmla="*/ 7269978 w 13053199"/>
              <a:gd name="connsiteY6" fmla="*/ 1456210 h 3491446"/>
              <a:gd name="connsiteX7" fmla="*/ 9095196 w 13053199"/>
              <a:gd name="connsiteY7" fmla="*/ 734314 h 3491446"/>
              <a:gd name="connsiteX8" fmla="*/ 9510902 w 13053199"/>
              <a:gd name="connsiteY8" fmla="*/ 1744966 h 3491446"/>
              <a:gd name="connsiteX9" fmla="*/ 7867478 w 13053199"/>
              <a:gd name="connsiteY9" fmla="*/ 2767651 h 3491446"/>
              <a:gd name="connsiteX10" fmla="*/ 9523113 w 13053199"/>
              <a:gd name="connsiteY10" fmla="*/ 3477513 h 3491446"/>
              <a:gd name="connsiteX11" fmla="*/ 13053199 w 13053199"/>
              <a:gd name="connsiteY11" fmla="*/ 2129978 h 3491446"/>
              <a:gd name="connsiteX0" fmla="*/ 0 w 13053199"/>
              <a:gd name="connsiteY0" fmla="*/ 1299799 h 3507171"/>
              <a:gd name="connsiteX1" fmla="*/ 1888959 w 13053199"/>
              <a:gd name="connsiteY1" fmla="*/ 388 h 3507171"/>
              <a:gd name="connsiteX2" fmla="*/ 2947738 w 13053199"/>
              <a:gd name="connsiteY2" fmla="*/ 1203546 h 3507171"/>
              <a:gd name="connsiteX3" fmla="*/ 998622 w 13053199"/>
              <a:gd name="connsiteY3" fmla="*/ 2827809 h 3507171"/>
              <a:gd name="connsiteX4" fmla="*/ 3573380 w 13053199"/>
              <a:gd name="connsiteY4" fmla="*/ 3248914 h 3507171"/>
              <a:gd name="connsiteX5" fmla="*/ 5255729 w 13053199"/>
              <a:gd name="connsiteY5" fmla="*/ 1251672 h 3507171"/>
              <a:gd name="connsiteX6" fmla="*/ 7269978 w 13053199"/>
              <a:gd name="connsiteY6" fmla="*/ 1456210 h 3507171"/>
              <a:gd name="connsiteX7" fmla="*/ 9095196 w 13053199"/>
              <a:gd name="connsiteY7" fmla="*/ 734314 h 3507171"/>
              <a:gd name="connsiteX8" fmla="*/ 9510902 w 13053199"/>
              <a:gd name="connsiteY8" fmla="*/ 1744966 h 3507171"/>
              <a:gd name="connsiteX9" fmla="*/ 7867478 w 13053199"/>
              <a:gd name="connsiteY9" fmla="*/ 2767651 h 3507171"/>
              <a:gd name="connsiteX10" fmla="*/ 9523113 w 13053199"/>
              <a:gd name="connsiteY10" fmla="*/ 3477513 h 3507171"/>
              <a:gd name="connsiteX11" fmla="*/ 13053199 w 13053199"/>
              <a:gd name="connsiteY11" fmla="*/ 2129978 h 3507171"/>
              <a:gd name="connsiteX0" fmla="*/ 0 w 13053199"/>
              <a:gd name="connsiteY0" fmla="*/ 1299799 h 3507171"/>
              <a:gd name="connsiteX1" fmla="*/ 1888959 w 13053199"/>
              <a:gd name="connsiteY1" fmla="*/ 388 h 3507171"/>
              <a:gd name="connsiteX2" fmla="*/ 2947738 w 13053199"/>
              <a:gd name="connsiteY2" fmla="*/ 1203546 h 3507171"/>
              <a:gd name="connsiteX3" fmla="*/ 998622 w 13053199"/>
              <a:gd name="connsiteY3" fmla="*/ 2827809 h 3507171"/>
              <a:gd name="connsiteX4" fmla="*/ 3573380 w 13053199"/>
              <a:gd name="connsiteY4" fmla="*/ 3248914 h 3507171"/>
              <a:gd name="connsiteX5" fmla="*/ 5255729 w 13053199"/>
              <a:gd name="connsiteY5" fmla="*/ 1251672 h 3507171"/>
              <a:gd name="connsiteX6" fmla="*/ 7269978 w 13053199"/>
              <a:gd name="connsiteY6" fmla="*/ 1456210 h 3507171"/>
              <a:gd name="connsiteX7" fmla="*/ 9095196 w 13053199"/>
              <a:gd name="connsiteY7" fmla="*/ 734314 h 3507171"/>
              <a:gd name="connsiteX8" fmla="*/ 9510902 w 13053199"/>
              <a:gd name="connsiteY8" fmla="*/ 1744966 h 3507171"/>
              <a:gd name="connsiteX9" fmla="*/ 7867478 w 13053199"/>
              <a:gd name="connsiteY9" fmla="*/ 2767651 h 3507171"/>
              <a:gd name="connsiteX10" fmla="*/ 9523113 w 13053199"/>
              <a:gd name="connsiteY10" fmla="*/ 3477513 h 3507171"/>
              <a:gd name="connsiteX11" fmla="*/ 13053199 w 13053199"/>
              <a:gd name="connsiteY11" fmla="*/ 2129978 h 3507171"/>
              <a:gd name="connsiteX0" fmla="*/ 0 w 13053199"/>
              <a:gd name="connsiteY0" fmla="*/ 1299799 h 3507171"/>
              <a:gd name="connsiteX1" fmla="*/ 1888959 w 13053199"/>
              <a:gd name="connsiteY1" fmla="*/ 388 h 3507171"/>
              <a:gd name="connsiteX2" fmla="*/ 2947738 w 13053199"/>
              <a:gd name="connsiteY2" fmla="*/ 1203546 h 3507171"/>
              <a:gd name="connsiteX3" fmla="*/ 998622 w 13053199"/>
              <a:gd name="connsiteY3" fmla="*/ 2827809 h 3507171"/>
              <a:gd name="connsiteX4" fmla="*/ 4063276 w 13053199"/>
              <a:gd name="connsiteY4" fmla="*/ 3188756 h 3507171"/>
              <a:gd name="connsiteX5" fmla="*/ 5255729 w 13053199"/>
              <a:gd name="connsiteY5" fmla="*/ 1251672 h 3507171"/>
              <a:gd name="connsiteX6" fmla="*/ 7269978 w 13053199"/>
              <a:gd name="connsiteY6" fmla="*/ 1456210 h 3507171"/>
              <a:gd name="connsiteX7" fmla="*/ 9095196 w 13053199"/>
              <a:gd name="connsiteY7" fmla="*/ 734314 h 3507171"/>
              <a:gd name="connsiteX8" fmla="*/ 9510902 w 13053199"/>
              <a:gd name="connsiteY8" fmla="*/ 1744966 h 3507171"/>
              <a:gd name="connsiteX9" fmla="*/ 7867478 w 13053199"/>
              <a:gd name="connsiteY9" fmla="*/ 2767651 h 3507171"/>
              <a:gd name="connsiteX10" fmla="*/ 9523113 w 13053199"/>
              <a:gd name="connsiteY10" fmla="*/ 3477513 h 3507171"/>
              <a:gd name="connsiteX11" fmla="*/ 13053199 w 13053199"/>
              <a:gd name="connsiteY11" fmla="*/ 2129978 h 3507171"/>
              <a:gd name="connsiteX0" fmla="*/ 0 w 13053199"/>
              <a:gd name="connsiteY0" fmla="*/ 1299676 h 3507048"/>
              <a:gd name="connsiteX1" fmla="*/ 1888959 w 13053199"/>
              <a:gd name="connsiteY1" fmla="*/ 265 h 3507048"/>
              <a:gd name="connsiteX2" fmla="*/ 2947738 w 13053199"/>
              <a:gd name="connsiteY2" fmla="*/ 1203423 h 3507048"/>
              <a:gd name="connsiteX3" fmla="*/ 1679698 w 13053199"/>
              <a:gd name="connsiteY3" fmla="*/ 3020191 h 3507048"/>
              <a:gd name="connsiteX4" fmla="*/ 4063276 w 13053199"/>
              <a:gd name="connsiteY4" fmla="*/ 3188633 h 3507048"/>
              <a:gd name="connsiteX5" fmla="*/ 5255729 w 13053199"/>
              <a:gd name="connsiteY5" fmla="*/ 1251549 h 3507048"/>
              <a:gd name="connsiteX6" fmla="*/ 7269978 w 13053199"/>
              <a:gd name="connsiteY6" fmla="*/ 1456087 h 3507048"/>
              <a:gd name="connsiteX7" fmla="*/ 9095196 w 13053199"/>
              <a:gd name="connsiteY7" fmla="*/ 734191 h 3507048"/>
              <a:gd name="connsiteX8" fmla="*/ 9510902 w 13053199"/>
              <a:gd name="connsiteY8" fmla="*/ 1744843 h 3507048"/>
              <a:gd name="connsiteX9" fmla="*/ 7867478 w 13053199"/>
              <a:gd name="connsiteY9" fmla="*/ 2767528 h 3507048"/>
              <a:gd name="connsiteX10" fmla="*/ 9523113 w 13053199"/>
              <a:gd name="connsiteY10" fmla="*/ 3477390 h 3507048"/>
              <a:gd name="connsiteX11" fmla="*/ 13053199 w 13053199"/>
              <a:gd name="connsiteY11" fmla="*/ 2129855 h 3507048"/>
              <a:gd name="connsiteX0" fmla="*/ 0 w 13053199"/>
              <a:gd name="connsiteY0" fmla="*/ 1299676 h 3556370"/>
              <a:gd name="connsiteX1" fmla="*/ 1888959 w 13053199"/>
              <a:gd name="connsiteY1" fmla="*/ 265 h 3556370"/>
              <a:gd name="connsiteX2" fmla="*/ 2947738 w 13053199"/>
              <a:gd name="connsiteY2" fmla="*/ 1203423 h 3556370"/>
              <a:gd name="connsiteX3" fmla="*/ 1679698 w 13053199"/>
              <a:gd name="connsiteY3" fmla="*/ 3020191 h 3556370"/>
              <a:gd name="connsiteX4" fmla="*/ 4063276 w 13053199"/>
              <a:gd name="connsiteY4" fmla="*/ 3188633 h 3556370"/>
              <a:gd name="connsiteX5" fmla="*/ 5255729 w 13053199"/>
              <a:gd name="connsiteY5" fmla="*/ 1251549 h 3556370"/>
              <a:gd name="connsiteX6" fmla="*/ 7269978 w 13053199"/>
              <a:gd name="connsiteY6" fmla="*/ 1456087 h 3556370"/>
              <a:gd name="connsiteX7" fmla="*/ 9095196 w 13053199"/>
              <a:gd name="connsiteY7" fmla="*/ 734191 h 3556370"/>
              <a:gd name="connsiteX8" fmla="*/ 9510902 w 13053199"/>
              <a:gd name="connsiteY8" fmla="*/ 1744843 h 3556370"/>
              <a:gd name="connsiteX9" fmla="*/ 7867478 w 13053199"/>
              <a:gd name="connsiteY9" fmla="*/ 2767528 h 3556370"/>
              <a:gd name="connsiteX10" fmla="*/ 9523113 w 13053199"/>
              <a:gd name="connsiteY10" fmla="*/ 3477390 h 3556370"/>
              <a:gd name="connsiteX11" fmla="*/ 13053199 w 13053199"/>
              <a:gd name="connsiteY11" fmla="*/ 2129855 h 3556370"/>
              <a:gd name="connsiteX0" fmla="*/ 0 w 13782069"/>
              <a:gd name="connsiteY0" fmla="*/ 1653292 h 3561070"/>
              <a:gd name="connsiteX1" fmla="*/ 2617829 w 13782069"/>
              <a:gd name="connsiteY1" fmla="*/ 4965 h 3561070"/>
              <a:gd name="connsiteX2" fmla="*/ 3676608 w 13782069"/>
              <a:gd name="connsiteY2" fmla="*/ 1208123 h 3561070"/>
              <a:gd name="connsiteX3" fmla="*/ 2408568 w 13782069"/>
              <a:gd name="connsiteY3" fmla="*/ 3024891 h 3561070"/>
              <a:gd name="connsiteX4" fmla="*/ 4792146 w 13782069"/>
              <a:gd name="connsiteY4" fmla="*/ 3193333 h 3561070"/>
              <a:gd name="connsiteX5" fmla="*/ 5984599 w 13782069"/>
              <a:gd name="connsiteY5" fmla="*/ 1256249 h 3561070"/>
              <a:gd name="connsiteX6" fmla="*/ 7998848 w 13782069"/>
              <a:gd name="connsiteY6" fmla="*/ 1460787 h 3561070"/>
              <a:gd name="connsiteX7" fmla="*/ 9824066 w 13782069"/>
              <a:gd name="connsiteY7" fmla="*/ 738891 h 3561070"/>
              <a:gd name="connsiteX8" fmla="*/ 10239772 w 13782069"/>
              <a:gd name="connsiteY8" fmla="*/ 1749543 h 3561070"/>
              <a:gd name="connsiteX9" fmla="*/ 8596348 w 13782069"/>
              <a:gd name="connsiteY9" fmla="*/ 2772228 h 3561070"/>
              <a:gd name="connsiteX10" fmla="*/ 10251983 w 13782069"/>
              <a:gd name="connsiteY10" fmla="*/ 3482090 h 3561070"/>
              <a:gd name="connsiteX11" fmla="*/ 13782069 w 13782069"/>
              <a:gd name="connsiteY11" fmla="*/ 2134555 h 3561070"/>
              <a:gd name="connsiteX0" fmla="*/ 0 w 13782069"/>
              <a:gd name="connsiteY0" fmla="*/ 1651904 h 3559682"/>
              <a:gd name="connsiteX1" fmla="*/ 2617829 w 13782069"/>
              <a:gd name="connsiteY1" fmla="*/ 3577 h 3559682"/>
              <a:gd name="connsiteX2" fmla="*/ 3676608 w 13782069"/>
              <a:gd name="connsiteY2" fmla="*/ 1206735 h 3559682"/>
              <a:gd name="connsiteX3" fmla="*/ 2408568 w 13782069"/>
              <a:gd name="connsiteY3" fmla="*/ 3023503 h 3559682"/>
              <a:gd name="connsiteX4" fmla="*/ 4792146 w 13782069"/>
              <a:gd name="connsiteY4" fmla="*/ 3191945 h 3559682"/>
              <a:gd name="connsiteX5" fmla="*/ 5984599 w 13782069"/>
              <a:gd name="connsiteY5" fmla="*/ 1254861 h 3559682"/>
              <a:gd name="connsiteX6" fmla="*/ 7998848 w 13782069"/>
              <a:gd name="connsiteY6" fmla="*/ 1459399 h 3559682"/>
              <a:gd name="connsiteX7" fmla="*/ 9824066 w 13782069"/>
              <a:gd name="connsiteY7" fmla="*/ 737503 h 3559682"/>
              <a:gd name="connsiteX8" fmla="*/ 10239772 w 13782069"/>
              <a:gd name="connsiteY8" fmla="*/ 1748155 h 3559682"/>
              <a:gd name="connsiteX9" fmla="*/ 8596348 w 13782069"/>
              <a:gd name="connsiteY9" fmla="*/ 2770840 h 3559682"/>
              <a:gd name="connsiteX10" fmla="*/ 10251983 w 13782069"/>
              <a:gd name="connsiteY10" fmla="*/ 3480702 h 3559682"/>
              <a:gd name="connsiteX11" fmla="*/ 13782069 w 13782069"/>
              <a:gd name="connsiteY11" fmla="*/ 2133167 h 3559682"/>
              <a:gd name="connsiteX0" fmla="*/ 0 w 13782069"/>
              <a:gd name="connsiteY0" fmla="*/ 1652509 h 3560287"/>
              <a:gd name="connsiteX1" fmla="*/ 2617829 w 13782069"/>
              <a:gd name="connsiteY1" fmla="*/ 4182 h 3560287"/>
              <a:gd name="connsiteX2" fmla="*/ 3676608 w 13782069"/>
              <a:gd name="connsiteY2" fmla="*/ 1207340 h 3560287"/>
              <a:gd name="connsiteX3" fmla="*/ 2408568 w 13782069"/>
              <a:gd name="connsiteY3" fmla="*/ 3024108 h 3560287"/>
              <a:gd name="connsiteX4" fmla="*/ 4792146 w 13782069"/>
              <a:gd name="connsiteY4" fmla="*/ 3192550 h 3560287"/>
              <a:gd name="connsiteX5" fmla="*/ 5984599 w 13782069"/>
              <a:gd name="connsiteY5" fmla="*/ 1255466 h 3560287"/>
              <a:gd name="connsiteX6" fmla="*/ 7998848 w 13782069"/>
              <a:gd name="connsiteY6" fmla="*/ 1460004 h 3560287"/>
              <a:gd name="connsiteX7" fmla="*/ 9824066 w 13782069"/>
              <a:gd name="connsiteY7" fmla="*/ 738108 h 3560287"/>
              <a:gd name="connsiteX8" fmla="*/ 10239772 w 13782069"/>
              <a:gd name="connsiteY8" fmla="*/ 1748760 h 3560287"/>
              <a:gd name="connsiteX9" fmla="*/ 8596348 w 13782069"/>
              <a:gd name="connsiteY9" fmla="*/ 2771445 h 3560287"/>
              <a:gd name="connsiteX10" fmla="*/ 10251983 w 13782069"/>
              <a:gd name="connsiteY10" fmla="*/ 3481307 h 3560287"/>
              <a:gd name="connsiteX11" fmla="*/ 13782069 w 13782069"/>
              <a:gd name="connsiteY11" fmla="*/ 2133772 h 3560287"/>
              <a:gd name="connsiteX0" fmla="*/ 0 w 13782069"/>
              <a:gd name="connsiteY0" fmla="*/ 1652509 h 3560287"/>
              <a:gd name="connsiteX1" fmla="*/ 2617829 w 13782069"/>
              <a:gd name="connsiteY1" fmla="*/ 4182 h 3560287"/>
              <a:gd name="connsiteX2" fmla="*/ 3676608 w 13782069"/>
              <a:gd name="connsiteY2" fmla="*/ 1207340 h 3560287"/>
              <a:gd name="connsiteX3" fmla="*/ 2408568 w 13782069"/>
              <a:gd name="connsiteY3" fmla="*/ 3024108 h 3560287"/>
              <a:gd name="connsiteX4" fmla="*/ 4792146 w 13782069"/>
              <a:gd name="connsiteY4" fmla="*/ 3192550 h 3560287"/>
              <a:gd name="connsiteX5" fmla="*/ 5984599 w 13782069"/>
              <a:gd name="connsiteY5" fmla="*/ 1255466 h 3560287"/>
              <a:gd name="connsiteX6" fmla="*/ 7998848 w 13782069"/>
              <a:gd name="connsiteY6" fmla="*/ 1460004 h 3560287"/>
              <a:gd name="connsiteX7" fmla="*/ 9824066 w 13782069"/>
              <a:gd name="connsiteY7" fmla="*/ 738108 h 3560287"/>
              <a:gd name="connsiteX8" fmla="*/ 10239772 w 13782069"/>
              <a:gd name="connsiteY8" fmla="*/ 1748760 h 3560287"/>
              <a:gd name="connsiteX9" fmla="*/ 8596348 w 13782069"/>
              <a:gd name="connsiteY9" fmla="*/ 2771445 h 3560287"/>
              <a:gd name="connsiteX10" fmla="*/ 10251983 w 13782069"/>
              <a:gd name="connsiteY10" fmla="*/ 3481307 h 3560287"/>
              <a:gd name="connsiteX11" fmla="*/ 13782069 w 13782069"/>
              <a:gd name="connsiteY11" fmla="*/ 2133772 h 3560287"/>
              <a:gd name="connsiteX0" fmla="*/ 0 w 13782069"/>
              <a:gd name="connsiteY0" fmla="*/ 1652509 h 3636368"/>
              <a:gd name="connsiteX1" fmla="*/ 2617829 w 13782069"/>
              <a:gd name="connsiteY1" fmla="*/ 4182 h 3636368"/>
              <a:gd name="connsiteX2" fmla="*/ 3676608 w 13782069"/>
              <a:gd name="connsiteY2" fmla="*/ 1207340 h 3636368"/>
              <a:gd name="connsiteX3" fmla="*/ 2408568 w 13782069"/>
              <a:gd name="connsiteY3" fmla="*/ 3024108 h 3636368"/>
              <a:gd name="connsiteX4" fmla="*/ 4792146 w 13782069"/>
              <a:gd name="connsiteY4" fmla="*/ 3192550 h 3636368"/>
              <a:gd name="connsiteX5" fmla="*/ 5984599 w 13782069"/>
              <a:gd name="connsiteY5" fmla="*/ 1255466 h 3636368"/>
              <a:gd name="connsiteX6" fmla="*/ 7998848 w 13782069"/>
              <a:gd name="connsiteY6" fmla="*/ 1460004 h 3636368"/>
              <a:gd name="connsiteX7" fmla="*/ 9824066 w 13782069"/>
              <a:gd name="connsiteY7" fmla="*/ 738108 h 3636368"/>
              <a:gd name="connsiteX8" fmla="*/ 10239772 w 13782069"/>
              <a:gd name="connsiteY8" fmla="*/ 1748760 h 3636368"/>
              <a:gd name="connsiteX9" fmla="*/ 8596348 w 13782069"/>
              <a:gd name="connsiteY9" fmla="*/ 2771445 h 3636368"/>
              <a:gd name="connsiteX10" fmla="*/ 10251983 w 13782069"/>
              <a:gd name="connsiteY10" fmla="*/ 3481307 h 3636368"/>
              <a:gd name="connsiteX11" fmla="*/ 13782069 w 13782069"/>
              <a:gd name="connsiteY11" fmla="*/ 2133772 h 3636368"/>
              <a:gd name="connsiteX0" fmla="*/ 0 w 13782069"/>
              <a:gd name="connsiteY0" fmla="*/ 1652509 h 3636368"/>
              <a:gd name="connsiteX1" fmla="*/ 2617829 w 13782069"/>
              <a:gd name="connsiteY1" fmla="*/ 4182 h 3636368"/>
              <a:gd name="connsiteX2" fmla="*/ 3676608 w 13782069"/>
              <a:gd name="connsiteY2" fmla="*/ 1207340 h 3636368"/>
              <a:gd name="connsiteX3" fmla="*/ 2408568 w 13782069"/>
              <a:gd name="connsiteY3" fmla="*/ 3024108 h 3636368"/>
              <a:gd name="connsiteX4" fmla="*/ 4792146 w 13782069"/>
              <a:gd name="connsiteY4" fmla="*/ 3192550 h 3636368"/>
              <a:gd name="connsiteX5" fmla="*/ 5984599 w 13782069"/>
              <a:gd name="connsiteY5" fmla="*/ 1255466 h 3636368"/>
              <a:gd name="connsiteX6" fmla="*/ 7927156 w 13782069"/>
              <a:gd name="connsiteY6" fmla="*/ 978741 h 3636368"/>
              <a:gd name="connsiteX7" fmla="*/ 9824066 w 13782069"/>
              <a:gd name="connsiteY7" fmla="*/ 738108 h 3636368"/>
              <a:gd name="connsiteX8" fmla="*/ 10239772 w 13782069"/>
              <a:gd name="connsiteY8" fmla="*/ 1748760 h 3636368"/>
              <a:gd name="connsiteX9" fmla="*/ 8596348 w 13782069"/>
              <a:gd name="connsiteY9" fmla="*/ 2771445 h 3636368"/>
              <a:gd name="connsiteX10" fmla="*/ 10251983 w 13782069"/>
              <a:gd name="connsiteY10" fmla="*/ 3481307 h 3636368"/>
              <a:gd name="connsiteX11" fmla="*/ 13782069 w 13782069"/>
              <a:gd name="connsiteY11" fmla="*/ 2133772 h 3636368"/>
              <a:gd name="connsiteX0" fmla="*/ 0 w 13782069"/>
              <a:gd name="connsiteY0" fmla="*/ 1652509 h 3636368"/>
              <a:gd name="connsiteX1" fmla="*/ 2617829 w 13782069"/>
              <a:gd name="connsiteY1" fmla="*/ 4182 h 3636368"/>
              <a:gd name="connsiteX2" fmla="*/ 3676608 w 13782069"/>
              <a:gd name="connsiteY2" fmla="*/ 1207340 h 3636368"/>
              <a:gd name="connsiteX3" fmla="*/ 2408568 w 13782069"/>
              <a:gd name="connsiteY3" fmla="*/ 3024108 h 3636368"/>
              <a:gd name="connsiteX4" fmla="*/ 4792146 w 13782069"/>
              <a:gd name="connsiteY4" fmla="*/ 3192550 h 3636368"/>
              <a:gd name="connsiteX5" fmla="*/ 5984599 w 13782069"/>
              <a:gd name="connsiteY5" fmla="*/ 1255466 h 3636368"/>
              <a:gd name="connsiteX6" fmla="*/ 8344883 w 13782069"/>
              <a:gd name="connsiteY6" fmla="*/ 1179909 h 3636368"/>
              <a:gd name="connsiteX7" fmla="*/ 9824066 w 13782069"/>
              <a:gd name="connsiteY7" fmla="*/ 738108 h 3636368"/>
              <a:gd name="connsiteX8" fmla="*/ 10239772 w 13782069"/>
              <a:gd name="connsiteY8" fmla="*/ 1748760 h 3636368"/>
              <a:gd name="connsiteX9" fmla="*/ 8596348 w 13782069"/>
              <a:gd name="connsiteY9" fmla="*/ 2771445 h 3636368"/>
              <a:gd name="connsiteX10" fmla="*/ 10251983 w 13782069"/>
              <a:gd name="connsiteY10" fmla="*/ 3481307 h 3636368"/>
              <a:gd name="connsiteX11" fmla="*/ 13782069 w 13782069"/>
              <a:gd name="connsiteY11" fmla="*/ 2133772 h 3636368"/>
              <a:gd name="connsiteX0" fmla="*/ 0 w 13782069"/>
              <a:gd name="connsiteY0" fmla="*/ 1652509 h 3636368"/>
              <a:gd name="connsiteX1" fmla="*/ 2617829 w 13782069"/>
              <a:gd name="connsiteY1" fmla="*/ 4182 h 3636368"/>
              <a:gd name="connsiteX2" fmla="*/ 3676608 w 13782069"/>
              <a:gd name="connsiteY2" fmla="*/ 1207340 h 3636368"/>
              <a:gd name="connsiteX3" fmla="*/ 2408568 w 13782069"/>
              <a:gd name="connsiteY3" fmla="*/ 3024108 h 3636368"/>
              <a:gd name="connsiteX4" fmla="*/ 4792146 w 13782069"/>
              <a:gd name="connsiteY4" fmla="*/ 3192550 h 3636368"/>
              <a:gd name="connsiteX5" fmla="*/ 5984599 w 13782069"/>
              <a:gd name="connsiteY5" fmla="*/ 1255466 h 3636368"/>
              <a:gd name="connsiteX6" fmla="*/ 8344883 w 13782069"/>
              <a:gd name="connsiteY6" fmla="*/ 1179909 h 3636368"/>
              <a:gd name="connsiteX7" fmla="*/ 9824066 w 13782069"/>
              <a:gd name="connsiteY7" fmla="*/ 738108 h 3636368"/>
              <a:gd name="connsiteX8" fmla="*/ 10239772 w 13782069"/>
              <a:gd name="connsiteY8" fmla="*/ 1748760 h 3636368"/>
              <a:gd name="connsiteX9" fmla="*/ 8596348 w 13782069"/>
              <a:gd name="connsiteY9" fmla="*/ 2771445 h 3636368"/>
              <a:gd name="connsiteX10" fmla="*/ 10251983 w 13782069"/>
              <a:gd name="connsiteY10" fmla="*/ 3481307 h 3636368"/>
              <a:gd name="connsiteX11" fmla="*/ 13782069 w 13782069"/>
              <a:gd name="connsiteY11" fmla="*/ 2133772 h 3636368"/>
              <a:gd name="connsiteX0" fmla="*/ 0 w 13782069"/>
              <a:gd name="connsiteY0" fmla="*/ 1652509 h 3636368"/>
              <a:gd name="connsiteX1" fmla="*/ 2617829 w 13782069"/>
              <a:gd name="connsiteY1" fmla="*/ 4182 h 3636368"/>
              <a:gd name="connsiteX2" fmla="*/ 3676608 w 13782069"/>
              <a:gd name="connsiteY2" fmla="*/ 1207340 h 3636368"/>
              <a:gd name="connsiteX3" fmla="*/ 2408568 w 13782069"/>
              <a:gd name="connsiteY3" fmla="*/ 3024108 h 3636368"/>
              <a:gd name="connsiteX4" fmla="*/ 4792146 w 13782069"/>
              <a:gd name="connsiteY4" fmla="*/ 3192550 h 3636368"/>
              <a:gd name="connsiteX5" fmla="*/ 5984599 w 13782069"/>
              <a:gd name="connsiteY5" fmla="*/ 1255466 h 3636368"/>
              <a:gd name="connsiteX6" fmla="*/ 8344883 w 13782069"/>
              <a:gd name="connsiteY6" fmla="*/ 1179909 h 3636368"/>
              <a:gd name="connsiteX7" fmla="*/ 9451893 w 13782069"/>
              <a:gd name="connsiteY7" fmla="*/ 813059 h 3636368"/>
              <a:gd name="connsiteX8" fmla="*/ 10239772 w 13782069"/>
              <a:gd name="connsiteY8" fmla="*/ 1748760 h 3636368"/>
              <a:gd name="connsiteX9" fmla="*/ 8596348 w 13782069"/>
              <a:gd name="connsiteY9" fmla="*/ 2771445 h 3636368"/>
              <a:gd name="connsiteX10" fmla="*/ 10251983 w 13782069"/>
              <a:gd name="connsiteY10" fmla="*/ 3481307 h 3636368"/>
              <a:gd name="connsiteX11" fmla="*/ 13782069 w 13782069"/>
              <a:gd name="connsiteY11" fmla="*/ 2133772 h 3636368"/>
              <a:gd name="connsiteX0" fmla="*/ 0 w 13782069"/>
              <a:gd name="connsiteY0" fmla="*/ 1652509 h 3636368"/>
              <a:gd name="connsiteX1" fmla="*/ 2617829 w 13782069"/>
              <a:gd name="connsiteY1" fmla="*/ 4182 h 3636368"/>
              <a:gd name="connsiteX2" fmla="*/ 3676608 w 13782069"/>
              <a:gd name="connsiteY2" fmla="*/ 1207340 h 3636368"/>
              <a:gd name="connsiteX3" fmla="*/ 2408568 w 13782069"/>
              <a:gd name="connsiteY3" fmla="*/ 3024108 h 3636368"/>
              <a:gd name="connsiteX4" fmla="*/ 4792146 w 13782069"/>
              <a:gd name="connsiteY4" fmla="*/ 3192550 h 3636368"/>
              <a:gd name="connsiteX5" fmla="*/ 5984599 w 13782069"/>
              <a:gd name="connsiteY5" fmla="*/ 1255466 h 3636368"/>
              <a:gd name="connsiteX6" fmla="*/ 8344883 w 13782069"/>
              <a:gd name="connsiteY6" fmla="*/ 1179909 h 3636368"/>
              <a:gd name="connsiteX7" fmla="*/ 9451893 w 13782069"/>
              <a:gd name="connsiteY7" fmla="*/ 813059 h 3636368"/>
              <a:gd name="connsiteX8" fmla="*/ 10239772 w 13782069"/>
              <a:gd name="connsiteY8" fmla="*/ 1748760 h 3636368"/>
              <a:gd name="connsiteX9" fmla="*/ 8596348 w 13782069"/>
              <a:gd name="connsiteY9" fmla="*/ 2771445 h 3636368"/>
              <a:gd name="connsiteX10" fmla="*/ 10251983 w 13782069"/>
              <a:gd name="connsiteY10" fmla="*/ 3481307 h 3636368"/>
              <a:gd name="connsiteX11" fmla="*/ 13782069 w 13782069"/>
              <a:gd name="connsiteY11" fmla="*/ 2133772 h 3636368"/>
              <a:gd name="connsiteX0" fmla="*/ 0 w 13782069"/>
              <a:gd name="connsiteY0" fmla="*/ 1652509 h 3636368"/>
              <a:gd name="connsiteX1" fmla="*/ 2617829 w 13782069"/>
              <a:gd name="connsiteY1" fmla="*/ 4182 h 3636368"/>
              <a:gd name="connsiteX2" fmla="*/ 3676608 w 13782069"/>
              <a:gd name="connsiteY2" fmla="*/ 1207340 h 3636368"/>
              <a:gd name="connsiteX3" fmla="*/ 2408568 w 13782069"/>
              <a:gd name="connsiteY3" fmla="*/ 3024108 h 3636368"/>
              <a:gd name="connsiteX4" fmla="*/ 4792146 w 13782069"/>
              <a:gd name="connsiteY4" fmla="*/ 3192550 h 3636368"/>
              <a:gd name="connsiteX5" fmla="*/ 5984599 w 13782069"/>
              <a:gd name="connsiteY5" fmla="*/ 1255466 h 3636368"/>
              <a:gd name="connsiteX6" fmla="*/ 8151353 w 13782069"/>
              <a:gd name="connsiteY6" fmla="*/ 1089968 h 3636368"/>
              <a:gd name="connsiteX7" fmla="*/ 9451893 w 13782069"/>
              <a:gd name="connsiteY7" fmla="*/ 813059 h 3636368"/>
              <a:gd name="connsiteX8" fmla="*/ 10239772 w 13782069"/>
              <a:gd name="connsiteY8" fmla="*/ 1748760 h 3636368"/>
              <a:gd name="connsiteX9" fmla="*/ 8596348 w 13782069"/>
              <a:gd name="connsiteY9" fmla="*/ 2771445 h 3636368"/>
              <a:gd name="connsiteX10" fmla="*/ 10251983 w 13782069"/>
              <a:gd name="connsiteY10" fmla="*/ 3481307 h 3636368"/>
              <a:gd name="connsiteX11" fmla="*/ 13782069 w 13782069"/>
              <a:gd name="connsiteY11" fmla="*/ 2133772 h 3636368"/>
              <a:gd name="connsiteX0" fmla="*/ 0 w 13782069"/>
              <a:gd name="connsiteY0" fmla="*/ 1652509 h 3636368"/>
              <a:gd name="connsiteX1" fmla="*/ 2617829 w 13782069"/>
              <a:gd name="connsiteY1" fmla="*/ 4182 h 3636368"/>
              <a:gd name="connsiteX2" fmla="*/ 3676608 w 13782069"/>
              <a:gd name="connsiteY2" fmla="*/ 1207340 h 3636368"/>
              <a:gd name="connsiteX3" fmla="*/ 2408568 w 13782069"/>
              <a:gd name="connsiteY3" fmla="*/ 3024108 h 3636368"/>
              <a:gd name="connsiteX4" fmla="*/ 4792146 w 13782069"/>
              <a:gd name="connsiteY4" fmla="*/ 3192550 h 3636368"/>
              <a:gd name="connsiteX5" fmla="*/ 5984599 w 13782069"/>
              <a:gd name="connsiteY5" fmla="*/ 1255466 h 3636368"/>
              <a:gd name="connsiteX6" fmla="*/ 8151353 w 13782069"/>
              <a:gd name="connsiteY6" fmla="*/ 1089968 h 3636368"/>
              <a:gd name="connsiteX7" fmla="*/ 9719857 w 13782069"/>
              <a:gd name="connsiteY7" fmla="*/ 903000 h 3636368"/>
              <a:gd name="connsiteX8" fmla="*/ 10239772 w 13782069"/>
              <a:gd name="connsiteY8" fmla="*/ 1748760 h 3636368"/>
              <a:gd name="connsiteX9" fmla="*/ 8596348 w 13782069"/>
              <a:gd name="connsiteY9" fmla="*/ 2771445 h 3636368"/>
              <a:gd name="connsiteX10" fmla="*/ 10251983 w 13782069"/>
              <a:gd name="connsiteY10" fmla="*/ 3481307 h 3636368"/>
              <a:gd name="connsiteX11" fmla="*/ 13782069 w 13782069"/>
              <a:gd name="connsiteY11" fmla="*/ 2133772 h 3636368"/>
              <a:gd name="connsiteX0" fmla="*/ 0 w 13782069"/>
              <a:gd name="connsiteY0" fmla="*/ 1652509 h 3636368"/>
              <a:gd name="connsiteX1" fmla="*/ 2617829 w 13782069"/>
              <a:gd name="connsiteY1" fmla="*/ 4182 h 3636368"/>
              <a:gd name="connsiteX2" fmla="*/ 3676608 w 13782069"/>
              <a:gd name="connsiteY2" fmla="*/ 1207340 h 3636368"/>
              <a:gd name="connsiteX3" fmla="*/ 2408568 w 13782069"/>
              <a:gd name="connsiteY3" fmla="*/ 3024108 h 3636368"/>
              <a:gd name="connsiteX4" fmla="*/ 4792146 w 13782069"/>
              <a:gd name="connsiteY4" fmla="*/ 3192550 h 3636368"/>
              <a:gd name="connsiteX5" fmla="*/ 5984599 w 13782069"/>
              <a:gd name="connsiteY5" fmla="*/ 1255466 h 3636368"/>
              <a:gd name="connsiteX6" fmla="*/ 8151353 w 13782069"/>
              <a:gd name="connsiteY6" fmla="*/ 1089968 h 3636368"/>
              <a:gd name="connsiteX7" fmla="*/ 10239772 w 13782069"/>
              <a:gd name="connsiteY7" fmla="*/ 1748760 h 3636368"/>
              <a:gd name="connsiteX8" fmla="*/ 8596348 w 13782069"/>
              <a:gd name="connsiteY8" fmla="*/ 2771445 h 3636368"/>
              <a:gd name="connsiteX9" fmla="*/ 10251983 w 13782069"/>
              <a:gd name="connsiteY9" fmla="*/ 3481307 h 3636368"/>
              <a:gd name="connsiteX10" fmla="*/ 13782069 w 13782069"/>
              <a:gd name="connsiteY10" fmla="*/ 2133772 h 3636368"/>
              <a:gd name="connsiteX0" fmla="*/ 0 w 13782069"/>
              <a:gd name="connsiteY0" fmla="*/ 1652509 h 3636368"/>
              <a:gd name="connsiteX1" fmla="*/ 2617829 w 13782069"/>
              <a:gd name="connsiteY1" fmla="*/ 4182 h 3636368"/>
              <a:gd name="connsiteX2" fmla="*/ 3676608 w 13782069"/>
              <a:gd name="connsiteY2" fmla="*/ 1207340 h 3636368"/>
              <a:gd name="connsiteX3" fmla="*/ 2408568 w 13782069"/>
              <a:gd name="connsiteY3" fmla="*/ 3024108 h 3636368"/>
              <a:gd name="connsiteX4" fmla="*/ 4792146 w 13782069"/>
              <a:gd name="connsiteY4" fmla="*/ 3192550 h 3636368"/>
              <a:gd name="connsiteX5" fmla="*/ 5984599 w 13782069"/>
              <a:gd name="connsiteY5" fmla="*/ 1255466 h 3636368"/>
              <a:gd name="connsiteX6" fmla="*/ 8151353 w 13782069"/>
              <a:gd name="connsiteY6" fmla="*/ 1089968 h 3636368"/>
              <a:gd name="connsiteX7" fmla="*/ 10165337 w 13782069"/>
              <a:gd name="connsiteY7" fmla="*/ 1359016 h 3636368"/>
              <a:gd name="connsiteX8" fmla="*/ 8596348 w 13782069"/>
              <a:gd name="connsiteY8" fmla="*/ 2771445 h 3636368"/>
              <a:gd name="connsiteX9" fmla="*/ 10251983 w 13782069"/>
              <a:gd name="connsiteY9" fmla="*/ 3481307 h 3636368"/>
              <a:gd name="connsiteX10" fmla="*/ 13782069 w 13782069"/>
              <a:gd name="connsiteY10" fmla="*/ 2133772 h 3636368"/>
              <a:gd name="connsiteX0" fmla="*/ 0 w 13782069"/>
              <a:gd name="connsiteY0" fmla="*/ 1652509 h 3636368"/>
              <a:gd name="connsiteX1" fmla="*/ 2617829 w 13782069"/>
              <a:gd name="connsiteY1" fmla="*/ 4182 h 3636368"/>
              <a:gd name="connsiteX2" fmla="*/ 3676608 w 13782069"/>
              <a:gd name="connsiteY2" fmla="*/ 1207340 h 3636368"/>
              <a:gd name="connsiteX3" fmla="*/ 2408568 w 13782069"/>
              <a:gd name="connsiteY3" fmla="*/ 3024108 h 3636368"/>
              <a:gd name="connsiteX4" fmla="*/ 4792146 w 13782069"/>
              <a:gd name="connsiteY4" fmla="*/ 3192550 h 3636368"/>
              <a:gd name="connsiteX5" fmla="*/ 5984599 w 13782069"/>
              <a:gd name="connsiteY5" fmla="*/ 1255466 h 3636368"/>
              <a:gd name="connsiteX6" fmla="*/ 8151353 w 13782069"/>
              <a:gd name="connsiteY6" fmla="*/ 1089968 h 3636368"/>
              <a:gd name="connsiteX7" fmla="*/ 10165337 w 13782069"/>
              <a:gd name="connsiteY7" fmla="*/ 1359016 h 3636368"/>
              <a:gd name="connsiteX8" fmla="*/ 8596348 w 13782069"/>
              <a:gd name="connsiteY8" fmla="*/ 2771445 h 3636368"/>
              <a:gd name="connsiteX9" fmla="*/ 10251983 w 13782069"/>
              <a:gd name="connsiteY9" fmla="*/ 3481307 h 3636368"/>
              <a:gd name="connsiteX10" fmla="*/ 13782069 w 13782069"/>
              <a:gd name="connsiteY10" fmla="*/ 2133772 h 3636368"/>
              <a:gd name="connsiteX0" fmla="*/ 0 w 13782069"/>
              <a:gd name="connsiteY0" fmla="*/ 1652509 h 3636368"/>
              <a:gd name="connsiteX1" fmla="*/ 2617829 w 13782069"/>
              <a:gd name="connsiteY1" fmla="*/ 4182 h 3636368"/>
              <a:gd name="connsiteX2" fmla="*/ 3676608 w 13782069"/>
              <a:gd name="connsiteY2" fmla="*/ 1207340 h 3636368"/>
              <a:gd name="connsiteX3" fmla="*/ 2408568 w 13782069"/>
              <a:gd name="connsiteY3" fmla="*/ 3024108 h 3636368"/>
              <a:gd name="connsiteX4" fmla="*/ 4792146 w 13782069"/>
              <a:gd name="connsiteY4" fmla="*/ 3192550 h 3636368"/>
              <a:gd name="connsiteX5" fmla="*/ 5984599 w 13782069"/>
              <a:gd name="connsiteY5" fmla="*/ 1255466 h 3636368"/>
              <a:gd name="connsiteX6" fmla="*/ 8151353 w 13782069"/>
              <a:gd name="connsiteY6" fmla="*/ 1089968 h 3636368"/>
              <a:gd name="connsiteX7" fmla="*/ 10165337 w 13782069"/>
              <a:gd name="connsiteY7" fmla="*/ 1359016 h 3636368"/>
              <a:gd name="connsiteX8" fmla="*/ 8596348 w 13782069"/>
              <a:gd name="connsiteY8" fmla="*/ 2771445 h 3636368"/>
              <a:gd name="connsiteX9" fmla="*/ 10251983 w 13782069"/>
              <a:gd name="connsiteY9" fmla="*/ 3481307 h 3636368"/>
              <a:gd name="connsiteX10" fmla="*/ 13782069 w 13782069"/>
              <a:gd name="connsiteY10" fmla="*/ 2133772 h 3636368"/>
              <a:gd name="connsiteX0" fmla="*/ 0 w 13782069"/>
              <a:gd name="connsiteY0" fmla="*/ 1652509 h 3636368"/>
              <a:gd name="connsiteX1" fmla="*/ 2617829 w 13782069"/>
              <a:gd name="connsiteY1" fmla="*/ 4182 h 3636368"/>
              <a:gd name="connsiteX2" fmla="*/ 3676608 w 13782069"/>
              <a:gd name="connsiteY2" fmla="*/ 1207340 h 3636368"/>
              <a:gd name="connsiteX3" fmla="*/ 2408568 w 13782069"/>
              <a:gd name="connsiteY3" fmla="*/ 3024108 h 3636368"/>
              <a:gd name="connsiteX4" fmla="*/ 4792146 w 13782069"/>
              <a:gd name="connsiteY4" fmla="*/ 3192550 h 3636368"/>
              <a:gd name="connsiteX5" fmla="*/ 5984599 w 13782069"/>
              <a:gd name="connsiteY5" fmla="*/ 1255466 h 3636368"/>
              <a:gd name="connsiteX6" fmla="*/ 8449091 w 13782069"/>
              <a:gd name="connsiteY6" fmla="*/ 670244 h 3636368"/>
              <a:gd name="connsiteX7" fmla="*/ 10165337 w 13782069"/>
              <a:gd name="connsiteY7" fmla="*/ 1359016 h 3636368"/>
              <a:gd name="connsiteX8" fmla="*/ 8596348 w 13782069"/>
              <a:gd name="connsiteY8" fmla="*/ 2771445 h 3636368"/>
              <a:gd name="connsiteX9" fmla="*/ 10251983 w 13782069"/>
              <a:gd name="connsiteY9" fmla="*/ 3481307 h 3636368"/>
              <a:gd name="connsiteX10" fmla="*/ 13782069 w 13782069"/>
              <a:gd name="connsiteY10" fmla="*/ 2133772 h 3636368"/>
              <a:gd name="connsiteX0" fmla="*/ 0 w 13782069"/>
              <a:gd name="connsiteY0" fmla="*/ 1652509 h 3636368"/>
              <a:gd name="connsiteX1" fmla="*/ 2617829 w 13782069"/>
              <a:gd name="connsiteY1" fmla="*/ 4182 h 3636368"/>
              <a:gd name="connsiteX2" fmla="*/ 3676608 w 13782069"/>
              <a:gd name="connsiteY2" fmla="*/ 1207340 h 3636368"/>
              <a:gd name="connsiteX3" fmla="*/ 2408568 w 13782069"/>
              <a:gd name="connsiteY3" fmla="*/ 3024108 h 3636368"/>
              <a:gd name="connsiteX4" fmla="*/ 4792146 w 13782069"/>
              <a:gd name="connsiteY4" fmla="*/ 3192550 h 3636368"/>
              <a:gd name="connsiteX5" fmla="*/ 5984599 w 13782069"/>
              <a:gd name="connsiteY5" fmla="*/ 1255466 h 3636368"/>
              <a:gd name="connsiteX6" fmla="*/ 8449091 w 13782069"/>
              <a:gd name="connsiteY6" fmla="*/ 670244 h 3636368"/>
              <a:gd name="connsiteX7" fmla="*/ 10165337 w 13782069"/>
              <a:gd name="connsiteY7" fmla="*/ 1359016 h 3636368"/>
              <a:gd name="connsiteX8" fmla="*/ 8596348 w 13782069"/>
              <a:gd name="connsiteY8" fmla="*/ 2771445 h 3636368"/>
              <a:gd name="connsiteX9" fmla="*/ 10251983 w 13782069"/>
              <a:gd name="connsiteY9" fmla="*/ 3481307 h 3636368"/>
              <a:gd name="connsiteX10" fmla="*/ 13782069 w 13782069"/>
              <a:gd name="connsiteY10" fmla="*/ 2133772 h 3636368"/>
              <a:gd name="connsiteX0" fmla="*/ 0 w 13782069"/>
              <a:gd name="connsiteY0" fmla="*/ 1652509 h 3636368"/>
              <a:gd name="connsiteX1" fmla="*/ 2617829 w 13782069"/>
              <a:gd name="connsiteY1" fmla="*/ 4182 h 3636368"/>
              <a:gd name="connsiteX2" fmla="*/ 3676608 w 13782069"/>
              <a:gd name="connsiteY2" fmla="*/ 1207340 h 3636368"/>
              <a:gd name="connsiteX3" fmla="*/ 2408568 w 13782069"/>
              <a:gd name="connsiteY3" fmla="*/ 3024108 h 3636368"/>
              <a:gd name="connsiteX4" fmla="*/ 4792146 w 13782069"/>
              <a:gd name="connsiteY4" fmla="*/ 3192550 h 3636368"/>
              <a:gd name="connsiteX5" fmla="*/ 5984599 w 13782069"/>
              <a:gd name="connsiteY5" fmla="*/ 1255466 h 3636368"/>
              <a:gd name="connsiteX6" fmla="*/ 8449091 w 13782069"/>
              <a:gd name="connsiteY6" fmla="*/ 670244 h 3636368"/>
              <a:gd name="connsiteX7" fmla="*/ 9822938 w 13782069"/>
              <a:gd name="connsiteY7" fmla="*/ 1508918 h 3636368"/>
              <a:gd name="connsiteX8" fmla="*/ 8596348 w 13782069"/>
              <a:gd name="connsiteY8" fmla="*/ 2771445 h 3636368"/>
              <a:gd name="connsiteX9" fmla="*/ 10251983 w 13782069"/>
              <a:gd name="connsiteY9" fmla="*/ 3481307 h 3636368"/>
              <a:gd name="connsiteX10" fmla="*/ 13782069 w 13782069"/>
              <a:gd name="connsiteY10" fmla="*/ 2133772 h 3636368"/>
              <a:gd name="connsiteX0" fmla="*/ 0 w 13782069"/>
              <a:gd name="connsiteY0" fmla="*/ 1652509 h 3636368"/>
              <a:gd name="connsiteX1" fmla="*/ 2617829 w 13782069"/>
              <a:gd name="connsiteY1" fmla="*/ 4182 h 3636368"/>
              <a:gd name="connsiteX2" fmla="*/ 3676608 w 13782069"/>
              <a:gd name="connsiteY2" fmla="*/ 1207340 h 3636368"/>
              <a:gd name="connsiteX3" fmla="*/ 2408568 w 13782069"/>
              <a:gd name="connsiteY3" fmla="*/ 3024108 h 3636368"/>
              <a:gd name="connsiteX4" fmla="*/ 4792146 w 13782069"/>
              <a:gd name="connsiteY4" fmla="*/ 3192550 h 3636368"/>
              <a:gd name="connsiteX5" fmla="*/ 5984599 w 13782069"/>
              <a:gd name="connsiteY5" fmla="*/ 1255466 h 3636368"/>
              <a:gd name="connsiteX6" fmla="*/ 8449091 w 13782069"/>
              <a:gd name="connsiteY6" fmla="*/ 670244 h 3636368"/>
              <a:gd name="connsiteX7" fmla="*/ 9822938 w 13782069"/>
              <a:gd name="connsiteY7" fmla="*/ 1508918 h 3636368"/>
              <a:gd name="connsiteX8" fmla="*/ 8596348 w 13782069"/>
              <a:gd name="connsiteY8" fmla="*/ 2771445 h 3636368"/>
              <a:gd name="connsiteX9" fmla="*/ 10251983 w 13782069"/>
              <a:gd name="connsiteY9" fmla="*/ 3481307 h 3636368"/>
              <a:gd name="connsiteX10" fmla="*/ 13782069 w 13782069"/>
              <a:gd name="connsiteY10" fmla="*/ 2133772 h 3636368"/>
              <a:gd name="connsiteX0" fmla="*/ 0 w 13782069"/>
              <a:gd name="connsiteY0" fmla="*/ 1652509 h 3549600"/>
              <a:gd name="connsiteX1" fmla="*/ 2617829 w 13782069"/>
              <a:gd name="connsiteY1" fmla="*/ 4182 h 3549600"/>
              <a:gd name="connsiteX2" fmla="*/ 3676608 w 13782069"/>
              <a:gd name="connsiteY2" fmla="*/ 1207340 h 3549600"/>
              <a:gd name="connsiteX3" fmla="*/ 2408568 w 13782069"/>
              <a:gd name="connsiteY3" fmla="*/ 3024108 h 3549600"/>
              <a:gd name="connsiteX4" fmla="*/ 4792146 w 13782069"/>
              <a:gd name="connsiteY4" fmla="*/ 3192550 h 3549600"/>
              <a:gd name="connsiteX5" fmla="*/ 5865504 w 13782069"/>
              <a:gd name="connsiteY5" fmla="*/ 1450338 h 3549600"/>
              <a:gd name="connsiteX6" fmla="*/ 8449091 w 13782069"/>
              <a:gd name="connsiteY6" fmla="*/ 670244 h 3549600"/>
              <a:gd name="connsiteX7" fmla="*/ 9822938 w 13782069"/>
              <a:gd name="connsiteY7" fmla="*/ 1508918 h 3549600"/>
              <a:gd name="connsiteX8" fmla="*/ 8596348 w 13782069"/>
              <a:gd name="connsiteY8" fmla="*/ 2771445 h 3549600"/>
              <a:gd name="connsiteX9" fmla="*/ 10251983 w 13782069"/>
              <a:gd name="connsiteY9" fmla="*/ 3481307 h 3549600"/>
              <a:gd name="connsiteX10" fmla="*/ 13782069 w 13782069"/>
              <a:gd name="connsiteY10" fmla="*/ 2133772 h 3549600"/>
              <a:gd name="connsiteX0" fmla="*/ 0 w 13782069"/>
              <a:gd name="connsiteY0" fmla="*/ 1652509 h 3758856"/>
              <a:gd name="connsiteX1" fmla="*/ 2617829 w 13782069"/>
              <a:gd name="connsiteY1" fmla="*/ 4182 h 3758856"/>
              <a:gd name="connsiteX2" fmla="*/ 3676608 w 13782069"/>
              <a:gd name="connsiteY2" fmla="*/ 1207340 h 3758856"/>
              <a:gd name="connsiteX3" fmla="*/ 2408568 w 13782069"/>
              <a:gd name="connsiteY3" fmla="*/ 3024108 h 3758856"/>
              <a:gd name="connsiteX4" fmla="*/ 3898932 w 13782069"/>
              <a:gd name="connsiteY4" fmla="*/ 3687226 h 3758856"/>
              <a:gd name="connsiteX5" fmla="*/ 5865504 w 13782069"/>
              <a:gd name="connsiteY5" fmla="*/ 1450338 h 3758856"/>
              <a:gd name="connsiteX6" fmla="*/ 8449091 w 13782069"/>
              <a:gd name="connsiteY6" fmla="*/ 670244 h 3758856"/>
              <a:gd name="connsiteX7" fmla="*/ 9822938 w 13782069"/>
              <a:gd name="connsiteY7" fmla="*/ 1508918 h 3758856"/>
              <a:gd name="connsiteX8" fmla="*/ 8596348 w 13782069"/>
              <a:gd name="connsiteY8" fmla="*/ 2771445 h 3758856"/>
              <a:gd name="connsiteX9" fmla="*/ 10251983 w 13782069"/>
              <a:gd name="connsiteY9" fmla="*/ 3481307 h 3758856"/>
              <a:gd name="connsiteX10" fmla="*/ 13782069 w 13782069"/>
              <a:gd name="connsiteY10" fmla="*/ 2133772 h 3758856"/>
              <a:gd name="connsiteX0" fmla="*/ 0 w 13782069"/>
              <a:gd name="connsiteY0" fmla="*/ 1652509 h 3770183"/>
              <a:gd name="connsiteX1" fmla="*/ 2617829 w 13782069"/>
              <a:gd name="connsiteY1" fmla="*/ 4182 h 3770183"/>
              <a:gd name="connsiteX2" fmla="*/ 3676608 w 13782069"/>
              <a:gd name="connsiteY2" fmla="*/ 1207340 h 3770183"/>
              <a:gd name="connsiteX3" fmla="*/ 2408568 w 13782069"/>
              <a:gd name="connsiteY3" fmla="*/ 3024108 h 3770183"/>
              <a:gd name="connsiteX4" fmla="*/ 3898932 w 13782069"/>
              <a:gd name="connsiteY4" fmla="*/ 3687226 h 3770183"/>
              <a:gd name="connsiteX5" fmla="*/ 5865504 w 13782069"/>
              <a:gd name="connsiteY5" fmla="*/ 1450338 h 3770183"/>
              <a:gd name="connsiteX6" fmla="*/ 8449091 w 13782069"/>
              <a:gd name="connsiteY6" fmla="*/ 670244 h 3770183"/>
              <a:gd name="connsiteX7" fmla="*/ 9822938 w 13782069"/>
              <a:gd name="connsiteY7" fmla="*/ 1508918 h 3770183"/>
              <a:gd name="connsiteX8" fmla="*/ 8596348 w 13782069"/>
              <a:gd name="connsiteY8" fmla="*/ 2771445 h 3770183"/>
              <a:gd name="connsiteX9" fmla="*/ 10251983 w 13782069"/>
              <a:gd name="connsiteY9" fmla="*/ 3481307 h 3770183"/>
              <a:gd name="connsiteX10" fmla="*/ 13782069 w 13782069"/>
              <a:gd name="connsiteY10" fmla="*/ 2133772 h 3770183"/>
              <a:gd name="connsiteX0" fmla="*/ 0 w 13782069"/>
              <a:gd name="connsiteY0" fmla="*/ 1652509 h 3794117"/>
              <a:gd name="connsiteX1" fmla="*/ 2617829 w 13782069"/>
              <a:gd name="connsiteY1" fmla="*/ 4182 h 3794117"/>
              <a:gd name="connsiteX2" fmla="*/ 3676608 w 13782069"/>
              <a:gd name="connsiteY2" fmla="*/ 1207340 h 3794117"/>
              <a:gd name="connsiteX3" fmla="*/ 2408568 w 13782069"/>
              <a:gd name="connsiteY3" fmla="*/ 3024108 h 3794117"/>
              <a:gd name="connsiteX4" fmla="*/ 3898932 w 13782069"/>
              <a:gd name="connsiteY4" fmla="*/ 3687226 h 3794117"/>
              <a:gd name="connsiteX5" fmla="*/ 3770942 w 13782069"/>
              <a:gd name="connsiteY5" fmla="*/ 3554894 h 3794117"/>
              <a:gd name="connsiteX6" fmla="*/ 5865504 w 13782069"/>
              <a:gd name="connsiteY6" fmla="*/ 1450338 h 3794117"/>
              <a:gd name="connsiteX7" fmla="*/ 8449091 w 13782069"/>
              <a:gd name="connsiteY7" fmla="*/ 670244 h 3794117"/>
              <a:gd name="connsiteX8" fmla="*/ 9822938 w 13782069"/>
              <a:gd name="connsiteY8" fmla="*/ 1508918 h 3794117"/>
              <a:gd name="connsiteX9" fmla="*/ 8596348 w 13782069"/>
              <a:gd name="connsiteY9" fmla="*/ 2771445 h 3794117"/>
              <a:gd name="connsiteX10" fmla="*/ 10251983 w 13782069"/>
              <a:gd name="connsiteY10" fmla="*/ 3481307 h 3794117"/>
              <a:gd name="connsiteX11" fmla="*/ 13782069 w 13782069"/>
              <a:gd name="connsiteY11" fmla="*/ 2133772 h 3794117"/>
              <a:gd name="connsiteX0" fmla="*/ 0 w 13782069"/>
              <a:gd name="connsiteY0" fmla="*/ 1652509 h 3758856"/>
              <a:gd name="connsiteX1" fmla="*/ 2617829 w 13782069"/>
              <a:gd name="connsiteY1" fmla="*/ 4182 h 3758856"/>
              <a:gd name="connsiteX2" fmla="*/ 3676608 w 13782069"/>
              <a:gd name="connsiteY2" fmla="*/ 1207340 h 3758856"/>
              <a:gd name="connsiteX3" fmla="*/ 2408568 w 13782069"/>
              <a:gd name="connsiteY3" fmla="*/ 3024108 h 3758856"/>
              <a:gd name="connsiteX4" fmla="*/ 3898932 w 13782069"/>
              <a:gd name="connsiteY4" fmla="*/ 3687226 h 3758856"/>
              <a:gd name="connsiteX5" fmla="*/ 5865504 w 13782069"/>
              <a:gd name="connsiteY5" fmla="*/ 1450338 h 3758856"/>
              <a:gd name="connsiteX6" fmla="*/ 8449091 w 13782069"/>
              <a:gd name="connsiteY6" fmla="*/ 670244 h 3758856"/>
              <a:gd name="connsiteX7" fmla="*/ 9822938 w 13782069"/>
              <a:gd name="connsiteY7" fmla="*/ 1508918 h 3758856"/>
              <a:gd name="connsiteX8" fmla="*/ 8596348 w 13782069"/>
              <a:gd name="connsiteY8" fmla="*/ 2771445 h 3758856"/>
              <a:gd name="connsiteX9" fmla="*/ 10251983 w 13782069"/>
              <a:gd name="connsiteY9" fmla="*/ 3481307 h 3758856"/>
              <a:gd name="connsiteX10" fmla="*/ 13782069 w 13782069"/>
              <a:gd name="connsiteY10" fmla="*/ 2133772 h 3758856"/>
              <a:gd name="connsiteX0" fmla="*/ 0 w 13782069"/>
              <a:gd name="connsiteY0" fmla="*/ 1652509 h 3717648"/>
              <a:gd name="connsiteX1" fmla="*/ 2617829 w 13782069"/>
              <a:gd name="connsiteY1" fmla="*/ 4182 h 3717648"/>
              <a:gd name="connsiteX2" fmla="*/ 3676608 w 13782069"/>
              <a:gd name="connsiteY2" fmla="*/ 1207340 h 3717648"/>
              <a:gd name="connsiteX3" fmla="*/ 2408568 w 13782069"/>
              <a:gd name="connsiteY3" fmla="*/ 3024108 h 3717648"/>
              <a:gd name="connsiteX4" fmla="*/ 3794724 w 13782069"/>
              <a:gd name="connsiteY4" fmla="*/ 3642256 h 3717648"/>
              <a:gd name="connsiteX5" fmla="*/ 5865504 w 13782069"/>
              <a:gd name="connsiteY5" fmla="*/ 1450338 h 3717648"/>
              <a:gd name="connsiteX6" fmla="*/ 8449091 w 13782069"/>
              <a:gd name="connsiteY6" fmla="*/ 670244 h 3717648"/>
              <a:gd name="connsiteX7" fmla="*/ 9822938 w 13782069"/>
              <a:gd name="connsiteY7" fmla="*/ 1508918 h 3717648"/>
              <a:gd name="connsiteX8" fmla="*/ 8596348 w 13782069"/>
              <a:gd name="connsiteY8" fmla="*/ 2771445 h 3717648"/>
              <a:gd name="connsiteX9" fmla="*/ 10251983 w 13782069"/>
              <a:gd name="connsiteY9" fmla="*/ 3481307 h 3717648"/>
              <a:gd name="connsiteX10" fmla="*/ 13782069 w 13782069"/>
              <a:gd name="connsiteY10" fmla="*/ 2133772 h 3717648"/>
              <a:gd name="connsiteX0" fmla="*/ 0 w 13782069"/>
              <a:gd name="connsiteY0" fmla="*/ 1652509 h 3674295"/>
              <a:gd name="connsiteX1" fmla="*/ 2617829 w 13782069"/>
              <a:gd name="connsiteY1" fmla="*/ 4182 h 3674295"/>
              <a:gd name="connsiteX2" fmla="*/ 3676608 w 13782069"/>
              <a:gd name="connsiteY2" fmla="*/ 1207340 h 3674295"/>
              <a:gd name="connsiteX3" fmla="*/ 2408568 w 13782069"/>
              <a:gd name="connsiteY3" fmla="*/ 3024108 h 3674295"/>
              <a:gd name="connsiteX4" fmla="*/ 3794724 w 13782069"/>
              <a:gd name="connsiteY4" fmla="*/ 3642256 h 3674295"/>
              <a:gd name="connsiteX5" fmla="*/ 5865504 w 13782069"/>
              <a:gd name="connsiteY5" fmla="*/ 1450338 h 3674295"/>
              <a:gd name="connsiteX6" fmla="*/ 8449091 w 13782069"/>
              <a:gd name="connsiteY6" fmla="*/ 670244 h 3674295"/>
              <a:gd name="connsiteX7" fmla="*/ 9822938 w 13782069"/>
              <a:gd name="connsiteY7" fmla="*/ 1508918 h 3674295"/>
              <a:gd name="connsiteX8" fmla="*/ 8596348 w 13782069"/>
              <a:gd name="connsiteY8" fmla="*/ 2771445 h 3674295"/>
              <a:gd name="connsiteX9" fmla="*/ 10251983 w 13782069"/>
              <a:gd name="connsiteY9" fmla="*/ 3481307 h 3674295"/>
              <a:gd name="connsiteX10" fmla="*/ 13782069 w 13782069"/>
              <a:gd name="connsiteY10" fmla="*/ 2133772 h 3674295"/>
              <a:gd name="connsiteX0" fmla="*/ 0 w 13782069"/>
              <a:gd name="connsiteY0" fmla="*/ 1649325 h 3668858"/>
              <a:gd name="connsiteX1" fmla="*/ 2617829 w 13782069"/>
              <a:gd name="connsiteY1" fmla="*/ 998 h 3668858"/>
              <a:gd name="connsiteX2" fmla="*/ 3512852 w 13782069"/>
              <a:gd name="connsiteY2" fmla="*/ 1443998 h 3668858"/>
              <a:gd name="connsiteX3" fmla="*/ 2408568 w 13782069"/>
              <a:gd name="connsiteY3" fmla="*/ 3020924 h 3668858"/>
              <a:gd name="connsiteX4" fmla="*/ 3794724 w 13782069"/>
              <a:gd name="connsiteY4" fmla="*/ 3639072 h 3668858"/>
              <a:gd name="connsiteX5" fmla="*/ 5865504 w 13782069"/>
              <a:gd name="connsiteY5" fmla="*/ 1447154 h 3668858"/>
              <a:gd name="connsiteX6" fmla="*/ 8449091 w 13782069"/>
              <a:gd name="connsiteY6" fmla="*/ 667060 h 3668858"/>
              <a:gd name="connsiteX7" fmla="*/ 9822938 w 13782069"/>
              <a:gd name="connsiteY7" fmla="*/ 1505734 h 3668858"/>
              <a:gd name="connsiteX8" fmla="*/ 8596348 w 13782069"/>
              <a:gd name="connsiteY8" fmla="*/ 2768261 h 3668858"/>
              <a:gd name="connsiteX9" fmla="*/ 10251983 w 13782069"/>
              <a:gd name="connsiteY9" fmla="*/ 3478123 h 3668858"/>
              <a:gd name="connsiteX10" fmla="*/ 13782069 w 13782069"/>
              <a:gd name="connsiteY10" fmla="*/ 2130588 h 3668858"/>
              <a:gd name="connsiteX0" fmla="*/ 0 w 13782069"/>
              <a:gd name="connsiteY0" fmla="*/ 1649754 h 3669287"/>
              <a:gd name="connsiteX1" fmla="*/ 2617829 w 13782069"/>
              <a:gd name="connsiteY1" fmla="*/ 1427 h 3669287"/>
              <a:gd name="connsiteX2" fmla="*/ 3512852 w 13782069"/>
              <a:gd name="connsiteY2" fmla="*/ 1444427 h 3669287"/>
              <a:gd name="connsiteX3" fmla="*/ 2408568 w 13782069"/>
              <a:gd name="connsiteY3" fmla="*/ 3021353 h 3669287"/>
              <a:gd name="connsiteX4" fmla="*/ 3794724 w 13782069"/>
              <a:gd name="connsiteY4" fmla="*/ 3639501 h 3669287"/>
              <a:gd name="connsiteX5" fmla="*/ 5865504 w 13782069"/>
              <a:gd name="connsiteY5" fmla="*/ 1447583 h 3669287"/>
              <a:gd name="connsiteX6" fmla="*/ 8449091 w 13782069"/>
              <a:gd name="connsiteY6" fmla="*/ 667489 h 3669287"/>
              <a:gd name="connsiteX7" fmla="*/ 9822938 w 13782069"/>
              <a:gd name="connsiteY7" fmla="*/ 1506163 h 3669287"/>
              <a:gd name="connsiteX8" fmla="*/ 8596348 w 13782069"/>
              <a:gd name="connsiteY8" fmla="*/ 2768690 h 3669287"/>
              <a:gd name="connsiteX9" fmla="*/ 10251983 w 13782069"/>
              <a:gd name="connsiteY9" fmla="*/ 3478552 h 3669287"/>
              <a:gd name="connsiteX10" fmla="*/ 13782069 w 13782069"/>
              <a:gd name="connsiteY10" fmla="*/ 2131017 h 3669287"/>
              <a:gd name="connsiteX0" fmla="*/ 0 w 13782069"/>
              <a:gd name="connsiteY0" fmla="*/ 1652002 h 3672485"/>
              <a:gd name="connsiteX1" fmla="*/ 2617829 w 13782069"/>
              <a:gd name="connsiteY1" fmla="*/ 3675 h 3672485"/>
              <a:gd name="connsiteX2" fmla="*/ 3483079 w 13782069"/>
              <a:gd name="connsiteY2" fmla="*/ 1341744 h 3672485"/>
              <a:gd name="connsiteX3" fmla="*/ 2408568 w 13782069"/>
              <a:gd name="connsiteY3" fmla="*/ 3023601 h 3672485"/>
              <a:gd name="connsiteX4" fmla="*/ 3794724 w 13782069"/>
              <a:gd name="connsiteY4" fmla="*/ 3641749 h 3672485"/>
              <a:gd name="connsiteX5" fmla="*/ 5865504 w 13782069"/>
              <a:gd name="connsiteY5" fmla="*/ 1449831 h 3672485"/>
              <a:gd name="connsiteX6" fmla="*/ 8449091 w 13782069"/>
              <a:gd name="connsiteY6" fmla="*/ 669737 h 3672485"/>
              <a:gd name="connsiteX7" fmla="*/ 9822938 w 13782069"/>
              <a:gd name="connsiteY7" fmla="*/ 1508411 h 3672485"/>
              <a:gd name="connsiteX8" fmla="*/ 8596348 w 13782069"/>
              <a:gd name="connsiteY8" fmla="*/ 2770938 h 3672485"/>
              <a:gd name="connsiteX9" fmla="*/ 10251983 w 13782069"/>
              <a:gd name="connsiteY9" fmla="*/ 3480800 h 3672485"/>
              <a:gd name="connsiteX10" fmla="*/ 13782069 w 13782069"/>
              <a:gd name="connsiteY10" fmla="*/ 2133265 h 3672485"/>
              <a:gd name="connsiteX0" fmla="*/ 0 w 13782069"/>
              <a:gd name="connsiteY0" fmla="*/ 1654795 h 3675278"/>
              <a:gd name="connsiteX1" fmla="*/ 2617829 w 13782069"/>
              <a:gd name="connsiteY1" fmla="*/ 6468 h 3675278"/>
              <a:gd name="connsiteX2" fmla="*/ 3483079 w 13782069"/>
              <a:gd name="connsiteY2" fmla="*/ 1344537 h 3675278"/>
              <a:gd name="connsiteX3" fmla="*/ 2408568 w 13782069"/>
              <a:gd name="connsiteY3" fmla="*/ 3026394 h 3675278"/>
              <a:gd name="connsiteX4" fmla="*/ 3794724 w 13782069"/>
              <a:gd name="connsiteY4" fmla="*/ 3644542 h 3675278"/>
              <a:gd name="connsiteX5" fmla="*/ 5865504 w 13782069"/>
              <a:gd name="connsiteY5" fmla="*/ 1452624 h 3675278"/>
              <a:gd name="connsiteX6" fmla="*/ 8449091 w 13782069"/>
              <a:gd name="connsiteY6" fmla="*/ 672530 h 3675278"/>
              <a:gd name="connsiteX7" fmla="*/ 9822938 w 13782069"/>
              <a:gd name="connsiteY7" fmla="*/ 1511204 h 3675278"/>
              <a:gd name="connsiteX8" fmla="*/ 8596348 w 13782069"/>
              <a:gd name="connsiteY8" fmla="*/ 2773731 h 3675278"/>
              <a:gd name="connsiteX9" fmla="*/ 10251983 w 13782069"/>
              <a:gd name="connsiteY9" fmla="*/ 3483593 h 3675278"/>
              <a:gd name="connsiteX10" fmla="*/ 13782069 w 13782069"/>
              <a:gd name="connsiteY10" fmla="*/ 2136058 h 3675278"/>
              <a:gd name="connsiteX0" fmla="*/ 0 w 13782069"/>
              <a:gd name="connsiteY0" fmla="*/ 1650571 h 3752861"/>
              <a:gd name="connsiteX1" fmla="*/ 2617829 w 13782069"/>
              <a:gd name="connsiteY1" fmla="*/ 2244 h 3752861"/>
              <a:gd name="connsiteX2" fmla="*/ 3483079 w 13782069"/>
              <a:gd name="connsiteY2" fmla="*/ 1340313 h 3752861"/>
              <a:gd name="connsiteX3" fmla="*/ 2244812 w 13782069"/>
              <a:gd name="connsiteY3" fmla="*/ 3217043 h 3752861"/>
              <a:gd name="connsiteX4" fmla="*/ 3794724 w 13782069"/>
              <a:gd name="connsiteY4" fmla="*/ 3640318 h 3752861"/>
              <a:gd name="connsiteX5" fmla="*/ 5865504 w 13782069"/>
              <a:gd name="connsiteY5" fmla="*/ 1448400 h 3752861"/>
              <a:gd name="connsiteX6" fmla="*/ 8449091 w 13782069"/>
              <a:gd name="connsiteY6" fmla="*/ 668306 h 3752861"/>
              <a:gd name="connsiteX7" fmla="*/ 9822938 w 13782069"/>
              <a:gd name="connsiteY7" fmla="*/ 1506980 h 3752861"/>
              <a:gd name="connsiteX8" fmla="*/ 8596348 w 13782069"/>
              <a:gd name="connsiteY8" fmla="*/ 2769507 h 3752861"/>
              <a:gd name="connsiteX9" fmla="*/ 10251983 w 13782069"/>
              <a:gd name="connsiteY9" fmla="*/ 3479369 h 3752861"/>
              <a:gd name="connsiteX10" fmla="*/ 13782069 w 13782069"/>
              <a:gd name="connsiteY10" fmla="*/ 2131834 h 3752861"/>
              <a:gd name="connsiteX0" fmla="*/ 0 w 13782069"/>
              <a:gd name="connsiteY0" fmla="*/ 1650571 h 3855092"/>
              <a:gd name="connsiteX1" fmla="*/ 2617829 w 13782069"/>
              <a:gd name="connsiteY1" fmla="*/ 2244 h 3855092"/>
              <a:gd name="connsiteX2" fmla="*/ 3483079 w 13782069"/>
              <a:gd name="connsiteY2" fmla="*/ 1340313 h 3855092"/>
              <a:gd name="connsiteX3" fmla="*/ 2244812 w 13782069"/>
              <a:gd name="connsiteY3" fmla="*/ 3217043 h 3855092"/>
              <a:gd name="connsiteX4" fmla="*/ 3794724 w 13782069"/>
              <a:gd name="connsiteY4" fmla="*/ 3640318 h 3855092"/>
              <a:gd name="connsiteX5" fmla="*/ 5865504 w 13782069"/>
              <a:gd name="connsiteY5" fmla="*/ 1448400 h 3855092"/>
              <a:gd name="connsiteX6" fmla="*/ 8449091 w 13782069"/>
              <a:gd name="connsiteY6" fmla="*/ 668306 h 3855092"/>
              <a:gd name="connsiteX7" fmla="*/ 9822938 w 13782069"/>
              <a:gd name="connsiteY7" fmla="*/ 1506980 h 3855092"/>
              <a:gd name="connsiteX8" fmla="*/ 8596348 w 13782069"/>
              <a:gd name="connsiteY8" fmla="*/ 2769507 h 3855092"/>
              <a:gd name="connsiteX9" fmla="*/ 10251983 w 13782069"/>
              <a:gd name="connsiteY9" fmla="*/ 3479369 h 3855092"/>
              <a:gd name="connsiteX10" fmla="*/ 13782069 w 13782069"/>
              <a:gd name="connsiteY10" fmla="*/ 2131834 h 3855092"/>
              <a:gd name="connsiteX0" fmla="*/ 0 w 13782069"/>
              <a:gd name="connsiteY0" fmla="*/ 1652015 h 3856536"/>
              <a:gd name="connsiteX1" fmla="*/ 2617829 w 13782069"/>
              <a:gd name="connsiteY1" fmla="*/ 3688 h 3856536"/>
              <a:gd name="connsiteX2" fmla="*/ 3483079 w 13782069"/>
              <a:gd name="connsiteY2" fmla="*/ 1341757 h 3856536"/>
              <a:gd name="connsiteX3" fmla="*/ 2244812 w 13782069"/>
              <a:gd name="connsiteY3" fmla="*/ 3218487 h 3856536"/>
              <a:gd name="connsiteX4" fmla="*/ 3794724 w 13782069"/>
              <a:gd name="connsiteY4" fmla="*/ 3641762 h 3856536"/>
              <a:gd name="connsiteX5" fmla="*/ 5865504 w 13782069"/>
              <a:gd name="connsiteY5" fmla="*/ 1449844 h 3856536"/>
              <a:gd name="connsiteX6" fmla="*/ 8449091 w 13782069"/>
              <a:gd name="connsiteY6" fmla="*/ 669750 h 3856536"/>
              <a:gd name="connsiteX7" fmla="*/ 9822938 w 13782069"/>
              <a:gd name="connsiteY7" fmla="*/ 1508424 h 3856536"/>
              <a:gd name="connsiteX8" fmla="*/ 8596348 w 13782069"/>
              <a:gd name="connsiteY8" fmla="*/ 2770951 h 3856536"/>
              <a:gd name="connsiteX9" fmla="*/ 10251983 w 13782069"/>
              <a:gd name="connsiteY9" fmla="*/ 3480813 h 3856536"/>
              <a:gd name="connsiteX10" fmla="*/ 13782069 w 13782069"/>
              <a:gd name="connsiteY10" fmla="*/ 2133278 h 3856536"/>
              <a:gd name="connsiteX0" fmla="*/ 0 w 13782069"/>
              <a:gd name="connsiteY0" fmla="*/ 1652015 h 3856536"/>
              <a:gd name="connsiteX1" fmla="*/ 2617829 w 13782069"/>
              <a:gd name="connsiteY1" fmla="*/ 3688 h 3856536"/>
              <a:gd name="connsiteX2" fmla="*/ 3483079 w 13782069"/>
              <a:gd name="connsiteY2" fmla="*/ 1341757 h 3856536"/>
              <a:gd name="connsiteX3" fmla="*/ 2244812 w 13782069"/>
              <a:gd name="connsiteY3" fmla="*/ 3218487 h 3856536"/>
              <a:gd name="connsiteX4" fmla="*/ 3794724 w 13782069"/>
              <a:gd name="connsiteY4" fmla="*/ 3641762 h 3856536"/>
              <a:gd name="connsiteX5" fmla="*/ 5865504 w 13782069"/>
              <a:gd name="connsiteY5" fmla="*/ 1449844 h 3856536"/>
              <a:gd name="connsiteX6" fmla="*/ 8449091 w 13782069"/>
              <a:gd name="connsiteY6" fmla="*/ 669750 h 3856536"/>
              <a:gd name="connsiteX7" fmla="*/ 9822938 w 13782069"/>
              <a:gd name="connsiteY7" fmla="*/ 1508424 h 3856536"/>
              <a:gd name="connsiteX8" fmla="*/ 8596348 w 13782069"/>
              <a:gd name="connsiteY8" fmla="*/ 2770951 h 3856536"/>
              <a:gd name="connsiteX9" fmla="*/ 10251983 w 13782069"/>
              <a:gd name="connsiteY9" fmla="*/ 3480813 h 3856536"/>
              <a:gd name="connsiteX10" fmla="*/ 13782069 w 13782069"/>
              <a:gd name="connsiteY10" fmla="*/ 2133278 h 3856536"/>
              <a:gd name="connsiteX0" fmla="*/ 0 w 13782069"/>
              <a:gd name="connsiteY0" fmla="*/ 1652015 h 3856536"/>
              <a:gd name="connsiteX1" fmla="*/ 2617829 w 13782069"/>
              <a:gd name="connsiteY1" fmla="*/ 3688 h 3856536"/>
              <a:gd name="connsiteX2" fmla="*/ 3483079 w 13782069"/>
              <a:gd name="connsiteY2" fmla="*/ 1341757 h 3856536"/>
              <a:gd name="connsiteX3" fmla="*/ 2244812 w 13782069"/>
              <a:gd name="connsiteY3" fmla="*/ 3218487 h 3856536"/>
              <a:gd name="connsiteX4" fmla="*/ 3794724 w 13782069"/>
              <a:gd name="connsiteY4" fmla="*/ 3641762 h 3856536"/>
              <a:gd name="connsiteX5" fmla="*/ 5865504 w 13782069"/>
              <a:gd name="connsiteY5" fmla="*/ 1449844 h 3856536"/>
              <a:gd name="connsiteX6" fmla="*/ 8449091 w 13782069"/>
              <a:gd name="connsiteY6" fmla="*/ 669750 h 3856536"/>
              <a:gd name="connsiteX7" fmla="*/ 9822938 w 13782069"/>
              <a:gd name="connsiteY7" fmla="*/ 1508424 h 3856536"/>
              <a:gd name="connsiteX8" fmla="*/ 8596348 w 13782069"/>
              <a:gd name="connsiteY8" fmla="*/ 2770951 h 3856536"/>
              <a:gd name="connsiteX9" fmla="*/ 10251983 w 13782069"/>
              <a:gd name="connsiteY9" fmla="*/ 3480813 h 3856536"/>
              <a:gd name="connsiteX10" fmla="*/ 13782069 w 13782069"/>
              <a:gd name="connsiteY10" fmla="*/ 2133278 h 3856536"/>
              <a:gd name="connsiteX0" fmla="*/ 0 w 13782069"/>
              <a:gd name="connsiteY0" fmla="*/ 1652015 h 3856536"/>
              <a:gd name="connsiteX1" fmla="*/ 2617829 w 13782069"/>
              <a:gd name="connsiteY1" fmla="*/ 3688 h 3856536"/>
              <a:gd name="connsiteX2" fmla="*/ 3483079 w 13782069"/>
              <a:gd name="connsiteY2" fmla="*/ 1341757 h 3856536"/>
              <a:gd name="connsiteX3" fmla="*/ 2244812 w 13782069"/>
              <a:gd name="connsiteY3" fmla="*/ 3218487 h 3856536"/>
              <a:gd name="connsiteX4" fmla="*/ 3794724 w 13782069"/>
              <a:gd name="connsiteY4" fmla="*/ 3641762 h 3856536"/>
              <a:gd name="connsiteX5" fmla="*/ 5865504 w 13782069"/>
              <a:gd name="connsiteY5" fmla="*/ 1449844 h 3856536"/>
              <a:gd name="connsiteX6" fmla="*/ 8449091 w 13782069"/>
              <a:gd name="connsiteY6" fmla="*/ 669750 h 3856536"/>
              <a:gd name="connsiteX7" fmla="*/ 9822938 w 13782069"/>
              <a:gd name="connsiteY7" fmla="*/ 1508424 h 3856536"/>
              <a:gd name="connsiteX8" fmla="*/ 8596348 w 13782069"/>
              <a:gd name="connsiteY8" fmla="*/ 2770951 h 3856536"/>
              <a:gd name="connsiteX9" fmla="*/ 10251983 w 13782069"/>
              <a:gd name="connsiteY9" fmla="*/ 3480813 h 3856536"/>
              <a:gd name="connsiteX10" fmla="*/ 13782069 w 13782069"/>
              <a:gd name="connsiteY10" fmla="*/ 2133278 h 3856536"/>
              <a:gd name="connsiteX0" fmla="*/ 0 w 13782069"/>
              <a:gd name="connsiteY0" fmla="*/ 1652015 h 3856536"/>
              <a:gd name="connsiteX1" fmla="*/ 2617829 w 13782069"/>
              <a:gd name="connsiteY1" fmla="*/ 3688 h 3856536"/>
              <a:gd name="connsiteX2" fmla="*/ 3483079 w 13782069"/>
              <a:gd name="connsiteY2" fmla="*/ 1341757 h 3856536"/>
              <a:gd name="connsiteX3" fmla="*/ 2244812 w 13782069"/>
              <a:gd name="connsiteY3" fmla="*/ 3218487 h 3856536"/>
              <a:gd name="connsiteX4" fmla="*/ 3794724 w 13782069"/>
              <a:gd name="connsiteY4" fmla="*/ 3641762 h 3856536"/>
              <a:gd name="connsiteX5" fmla="*/ 5865504 w 13782069"/>
              <a:gd name="connsiteY5" fmla="*/ 1449844 h 3856536"/>
              <a:gd name="connsiteX6" fmla="*/ 8449091 w 13782069"/>
              <a:gd name="connsiteY6" fmla="*/ 669750 h 3856536"/>
              <a:gd name="connsiteX7" fmla="*/ 9822938 w 13782069"/>
              <a:gd name="connsiteY7" fmla="*/ 1508424 h 3856536"/>
              <a:gd name="connsiteX8" fmla="*/ 8596348 w 13782069"/>
              <a:gd name="connsiteY8" fmla="*/ 2770951 h 3856536"/>
              <a:gd name="connsiteX9" fmla="*/ 10251983 w 13782069"/>
              <a:gd name="connsiteY9" fmla="*/ 3480813 h 3856536"/>
              <a:gd name="connsiteX10" fmla="*/ 13782069 w 13782069"/>
              <a:gd name="connsiteY10" fmla="*/ 2133278 h 3856536"/>
              <a:gd name="connsiteX0" fmla="*/ 0 w 13782069"/>
              <a:gd name="connsiteY0" fmla="*/ 1652015 h 3856536"/>
              <a:gd name="connsiteX1" fmla="*/ 2617829 w 13782069"/>
              <a:gd name="connsiteY1" fmla="*/ 3688 h 3856536"/>
              <a:gd name="connsiteX2" fmla="*/ 3483079 w 13782069"/>
              <a:gd name="connsiteY2" fmla="*/ 1341757 h 3856536"/>
              <a:gd name="connsiteX3" fmla="*/ 2244812 w 13782069"/>
              <a:gd name="connsiteY3" fmla="*/ 3218487 h 3856536"/>
              <a:gd name="connsiteX4" fmla="*/ 3794724 w 13782069"/>
              <a:gd name="connsiteY4" fmla="*/ 3641762 h 3856536"/>
              <a:gd name="connsiteX5" fmla="*/ 5865504 w 13782069"/>
              <a:gd name="connsiteY5" fmla="*/ 1449844 h 3856536"/>
              <a:gd name="connsiteX6" fmla="*/ 8449091 w 13782069"/>
              <a:gd name="connsiteY6" fmla="*/ 669750 h 3856536"/>
              <a:gd name="connsiteX7" fmla="*/ 9822938 w 13782069"/>
              <a:gd name="connsiteY7" fmla="*/ 1508424 h 3856536"/>
              <a:gd name="connsiteX8" fmla="*/ 8075306 w 13782069"/>
              <a:gd name="connsiteY8" fmla="*/ 3010794 h 3856536"/>
              <a:gd name="connsiteX9" fmla="*/ 10251983 w 13782069"/>
              <a:gd name="connsiteY9" fmla="*/ 3480813 h 3856536"/>
              <a:gd name="connsiteX10" fmla="*/ 13782069 w 13782069"/>
              <a:gd name="connsiteY10" fmla="*/ 2133278 h 3856536"/>
              <a:gd name="connsiteX0" fmla="*/ 0 w 13782069"/>
              <a:gd name="connsiteY0" fmla="*/ 1652015 h 3856536"/>
              <a:gd name="connsiteX1" fmla="*/ 2617829 w 13782069"/>
              <a:gd name="connsiteY1" fmla="*/ 3688 h 3856536"/>
              <a:gd name="connsiteX2" fmla="*/ 3483079 w 13782069"/>
              <a:gd name="connsiteY2" fmla="*/ 1341757 h 3856536"/>
              <a:gd name="connsiteX3" fmla="*/ 2244812 w 13782069"/>
              <a:gd name="connsiteY3" fmla="*/ 3218487 h 3856536"/>
              <a:gd name="connsiteX4" fmla="*/ 3794724 w 13782069"/>
              <a:gd name="connsiteY4" fmla="*/ 3641762 h 3856536"/>
              <a:gd name="connsiteX5" fmla="*/ 5865504 w 13782069"/>
              <a:gd name="connsiteY5" fmla="*/ 1449844 h 3856536"/>
              <a:gd name="connsiteX6" fmla="*/ 8449091 w 13782069"/>
              <a:gd name="connsiteY6" fmla="*/ 669750 h 3856536"/>
              <a:gd name="connsiteX7" fmla="*/ 9822938 w 13782069"/>
              <a:gd name="connsiteY7" fmla="*/ 1508424 h 3856536"/>
              <a:gd name="connsiteX8" fmla="*/ 8075306 w 13782069"/>
              <a:gd name="connsiteY8" fmla="*/ 3010794 h 3856536"/>
              <a:gd name="connsiteX9" fmla="*/ 10251983 w 13782069"/>
              <a:gd name="connsiteY9" fmla="*/ 3480813 h 3856536"/>
              <a:gd name="connsiteX10" fmla="*/ 13782069 w 13782069"/>
              <a:gd name="connsiteY10" fmla="*/ 2133278 h 3856536"/>
              <a:gd name="connsiteX0" fmla="*/ 0 w 13782069"/>
              <a:gd name="connsiteY0" fmla="*/ 1652015 h 3856536"/>
              <a:gd name="connsiteX1" fmla="*/ 2617829 w 13782069"/>
              <a:gd name="connsiteY1" fmla="*/ 3688 h 3856536"/>
              <a:gd name="connsiteX2" fmla="*/ 3483079 w 13782069"/>
              <a:gd name="connsiteY2" fmla="*/ 1341757 h 3856536"/>
              <a:gd name="connsiteX3" fmla="*/ 2244812 w 13782069"/>
              <a:gd name="connsiteY3" fmla="*/ 3218487 h 3856536"/>
              <a:gd name="connsiteX4" fmla="*/ 3794724 w 13782069"/>
              <a:gd name="connsiteY4" fmla="*/ 3641762 h 3856536"/>
              <a:gd name="connsiteX5" fmla="*/ 5865504 w 13782069"/>
              <a:gd name="connsiteY5" fmla="*/ 1449844 h 3856536"/>
              <a:gd name="connsiteX6" fmla="*/ 8449091 w 13782069"/>
              <a:gd name="connsiteY6" fmla="*/ 669750 h 3856536"/>
              <a:gd name="connsiteX7" fmla="*/ 9748503 w 13782069"/>
              <a:gd name="connsiteY7" fmla="*/ 1508424 h 3856536"/>
              <a:gd name="connsiteX8" fmla="*/ 8075306 w 13782069"/>
              <a:gd name="connsiteY8" fmla="*/ 3010794 h 3856536"/>
              <a:gd name="connsiteX9" fmla="*/ 10251983 w 13782069"/>
              <a:gd name="connsiteY9" fmla="*/ 3480813 h 3856536"/>
              <a:gd name="connsiteX10" fmla="*/ 13782069 w 13782069"/>
              <a:gd name="connsiteY10" fmla="*/ 2133278 h 3856536"/>
              <a:gd name="connsiteX0" fmla="*/ 0 w 13782069"/>
              <a:gd name="connsiteY0" fmla="*/ 1652015 h 3856536"/>
              <a:gd name="connsiteX1" fmla="*/ 2617829 w 13782069"/>
              <a:gd name="connsiteY1" fmla="*/ 3688 h 3856536"/>
              <a:gd name="connsiteX2" fmla="*/ 3483079 w 13782069"/>
              <a:gd name="connsiteY2" fmla="*/ 1341757 h 3856536"/>
              <a:gd name="connsiteX3" fmla="*/ 2244812 w 13782069"/>
              <a:gd name="connsiteY3" fmla="*/ 3218487 h 3856536"/>
              <a:gd name="connsiteX4" fmla="*/ 3794724 w 13782069"/>
              <a:gd name="connsiteY4" fmla="*/ 3641762 h 3856536"/>
              <a:gd name="connsiteX5" fmla="*/ 5865504 w 13782069"/>
              <a:gd name="connsiteY5" fmla="*/ 1449844 h 3856536"/>
              <a:gd name="connsiteX6" fmla="*/ 8449091 w 13782069"/>
              <a:gd name="connsiteY6" fmla="*/ 669750 h 3856536"/>
              <a:gd name="connsiteX7" fmla="*/ 9927146 w 13782069"/>
              <a:gd name="connsiteY7" fmla="*/ 1463454 h 3856536"/>
              <a:gd name="connsiteX8" fmla="*/ 8075306 w 13782069"/>
              <a:gd name="connsiteY8" fmla="*/ 3010794 h 3856536"/>
              <a:gd name="connsiteX9" fmla="*/ 10251983 w 13782069"/>
              <a:gd name="connsiteY9" fmla="*/ 3480813 h 3856536"/>
              <a:gd name="connsiteX10" fmla="*/ 13782069 w 13782069"/>
              <a:gd name="connsiteY10" fmla="*/ 2133278 h 3856536"/>
              <a:gd name="connsiteX0" fmla="*/ 0 w 13782069"/>
              <a:gd name="connsiteY0" fmla="*/ 1652015 h 3856536"/>
              <a:gd name="connsiteX1" fmla="*/ 2617829 w 13782069"/>
              <a:gd name="connsiteY1" fmla="*/ 3688 h 3856536"/>
              <a:gd name="connsiteX2" fmla="*/ 3483079 w 13782069"/>
              <a:gd name="connsiteY2" fmla="*/ 1341757 h 3856536"/>
              <a:gd name="connsiteX3" fmla="*/ 2244812 w 13782069"/>
              <a:gd name="connsiteY3" fmla="*/ 3218487 h 3856536"/>
              <a:gd name="connsiteX4" fmla="*/ 3794724 w 13782069"/>
              <a:gd name="connsiteY4" fmla="*/ 3641762 h 3856536"/>
              <a:gd name="connsiteX5" fmla="*/ 5865504 w 13782069"/>
              <a:gd name="connsiteY5" fmla="*/ 1449844 h 3856536"/>
              <a:gd name="connsiteX6" fmla="*/ 8449091 w 13782069"/>
              <a:gd name="connsiteY6" fmla="*/ 669750 h 3856536"/>
              <a:gd name="connsiteX7" fmla="*/ 9927146 w 13782069"/>
              <a:gd name="connsiteY7" fmla="*/ 1463454 h 3856536"/>
              <a:gd name="connsiteX8" fmla="*/ 8075306 w 13782069"/>
              <a:gd name="connsiteY8" fmla="*/ 3010794 h 3856536"/>
              <a:gd name="connsiteX9" fmla="*/ 10251983 w 13782069"/>
              <a:gd name="connsiteY9" fmla="*/ 3480813 h 3856536"/>
              <a:gd name="connsiteX10" fmla="*/ 13782069 w 13782069"/>
              <a:gd name="connsiteY10" fmla="*/ 2133278 h 3856536"/>
              <a:gd name="connsiteX0" fmla="*/ 0 w 13782069"/>
              <a:gd name="connsiteY0" fmla="*/ 1652015 h 3856536"/>
              <a:gd name="connsiteX1" fmla="*/ 2617829 w 13782069"/>
              <a:gd name="connsiteY1" fmla="*/ 3688 h 3856536"/>
              <a:gd name="connsiteX2" fmla="*/ 3483079 w 13782069"/>
              <a:gd name="connsiteY2" fmla="*/ 1341757 h 3856536"/>
              <a:gd name="connsiteX3" fmla="*/ 2244812 w 13782069"/>
              <a:gd name="connsiteY3" fmla="*/ 3218487 h 3856536"/>
              <a:gd name="connsiteX4" fmla="*/ 3794724 w 13782069"/>
              <a:gd name="connsiteY4" fmla="*/ 3641762 h 3856536"/>
              <a:gd name="connsiteX5" fmla="*/ 5865504 w 13782069"/>
              <a:gd name="connsiteY5" fmla="*/ 1449844 h 3856536"/>
              <a:gd name="connsiteX6" fmla="*/ 8449091 w 13782069"/>
              <a:gd name="connsiteY6" fmla="*/ 669750 h 3856536"/>
              <a:gd name="connsiteX7" fmla="*/ 9927146 w 13782069"/>
              <a:gd name="connsiteY7" fmla="*/ 1463454 h 3856536"/>
              <a:gd name="connsiteX8" fmla="*/ 8075306 w 13782069"/>
              <a:gd name="connsiteY8" fmla="*/ 3295607 h 3856536"/>
              <a:gd name="connsiteX9" fmla="*/ 10251983 w 13782069"/>
              <a:gd name="connsiteY9" fmla="*/ 3480813 h 3856536"/>
              <a:gd name="connsiteX10" fmla="*/ 13782069 w 13782069"/>
              <a:gd name="connsiteY10" fmla="*/ 2133278 h 3856536"/>
              <a:gd name="connsiteX0" fmla="*/ 0 w 13782069"/>
              <a:gd name="connsiteY0" fmla="*/ 1652015 h 3856536"/>
              <a:gd name="connsiteX1" fmla="*/ 2617829 w 13782069"/>
              <a:gd name="connsiteY1" fmla="*/ 3688 h 3856536"/>
              <a:gd name="connsiteX2" fmla="*/ 3483079 w 13782069"/>
              <a:gd name="connsiteY2" fmla="*/ 1341757 h 3856536"/>
              <a:gd name="connsiteX3" fmla="*/ 2244812 w 13782069"/>
              <a:gd name="connsiteY3" fmla="*/ 3218487 h 3856536"/>
              <a:gd name="connsiteX4" fmla="*/ 3794724 w 13782069"/>
              <a:gd name="connsiteY4" fmla="*/ 3641762 h 3856536"/>
              <a:gd name="connsiteX5" fmla="*/ 5865504 w 13782069"/>
              <a:gd name="connsiteY5" fmla="*/ 1449844 h 3856536"/>
              <a:gd name="connsiteX6" fmla="*/ 8449091 w 13782069"/>
              <a:gd name="connsiteY6" fmla="*/ 669750 h 3856536"/>
              <a:gd name="connsiteX7" fmla="*/ 9927146 w 13782069"/>
              <a:gd name="connsiteY7" fmla="*/ 1463454 h 3856536"/>
              <a:gd name="connsiteX8" fmla="*/ 8075306 w 13782069"/>
              <a:gd name="connsiteY8" fmla="*/ 3295607 h 3856536"/>
              <a:gd name="connsiteX9" fmla="*/ 10251983 w 13782069"/>
              <a:gd name="connsiteY9" fmla="*/ 3480813 h 3856536"/>
              <a:gd name="connsiteX10" fmla="*/ 13782069 w 13782069"/>
              <a:gd name="connsiteY10" fmla="*/ 2133278 h 3856536"/>
              <a:gd name="connsiteX0" fmla="*/ 0 w 13782069"/>
              <a:gd name="connsiteY0" fmla="*/ 1652015 h 3856536"/>
              <a:gd name="connsiteX1" fmla="*/ 2617829 w 13782069"/>
              <a:gd name="connsiteY1" fmla="*/ 3688 h 3856536"/>
              <a:gd name="connsiteX2" fmla="*/ 3483079 w 13782069"/>
              <a:gd name="connsiteY2" fmla="*/ 1341757 h 3856536"/>
              <a:gd name="connsiteX3" fmla="*/ 2244812 w 13782069"/>
              <a:gd name="connsiteY3" fmla="*/ 3218487 h 3856536"/>
              <a:gd name="connsiteX4" fmla="*/ 3794724 w 13782069"/>
              <a:gd name="connsiteY4" fmla="*/ 3641762 h 3856536"/>
              <a:gd name="connsiteX5" fmla="*/ 5865504 w 13782069"/>
              <a:gd name="connsiteY5" fmla="*/ 1449844 h 3856536"/>
              <a:gd name="connsiteX6" fmla="*/ 8449091 w 13782069"/>
              <a:gd name="connsiteY6" fmla="*/ 669750 h 3856536"/>
              <a:gd name="connsiteX7" fmla="*/ 9927146 w 13782069"/>
              <a:gd name="connsiteY7" fmla="*/ 1463454 h 3856536"/>
              <a:gd name="connsiteX8" fmla="*/ 8075306 w 13782069"/>
              <a:gd name="connsiteY8" fmla="*/ 3295607 h 3856536"/>
              <a:gd name="connsiteX9" fmla="*/ 11055876 w 13782069"/>
              <a:gd name="connsiteY9" fmla="*/ 3315922 h 3856536"/>
              <a:gd name="connsiteX10" fmla="*/ 13782069 w 13782069"/>
              <a:gd name="connsiteY10" fmla="*/ 2133278 h 3856536"/>
              <a:gd name="connsiteX0" fmla="*/ 0 w 13782069"/>
              <a:gd name="connsiteY0" fmla="*/ 1652015 h 3856536"/>
              <a:gd name="connsiteX1" fmla="*/ 2617829 w 13782069"/>
              <a:gd name="connsiteY1" fmla="*/ 3688 h 3856536"/>
              <a:gd name="connsiteX2" fmla="*/ 3483079 w 13782069"/>
              <a:gd name="connsiteY2" fmla="*/ 1341757 h 3856536"/>
              <a:gd name="connsiteX3" fmla="*/ 2244812 w 13782069"/>
              <a:gd name="connsiteY3" fmla="*/ 3218487 h 3856536"/>
              <a:gd name="connsiteX4" fmla="*/ 3794724 w 13782069"/>
              <a:gd name="connsiteY4" fmla="*/ 3641762 h 3856536"/>
              <a:gd name="connsiteX5" fmla="*/ 5865504 w 13782069"/>
              <a:gd name="connsiteY5" fmla="*/ 1449844 h 3856536"/>
              <a:gd name="connsiteX6" fmla="*/ 8449091 w 13782069"/>
              <a:gd name="connsiteY6" fmla="*/ 669750 h 3856536"/>
              <a:gd name="connsiteX7" fmla="*/ 9927146 w 13782069"/>
              <a:gd name="connsiteY7" fmla="*/ 1463454 h 3856536"/>
              <a:gd name="connsiteX8" fmla="*/ 8075306 w 13782069"/>
              <a:gd name="connsiteY8" fmla="*/ 3295607 h 3856536"/>
              <a:gd name="connsiteX9" fmla="*/ 11055876 w 13782069"/>
              <a:gd name="connsiteY9" fmla="*/ 3315922 h 3856536"/>
              <a:gd name="connsiteX10" fmla="*/ 13782069 w 13782069"/>
              <a:gd name="connsiteY10" fmla="*/ 2133278 h 3856536"/>
              <a:gd name="connsiteX0" fmla="*/ 0 w 13782069"/>
              <a:gd name="connsiteY0" fmla="*/ 1652015 h 3856536"/>
              <a:gd name="connsiteX1" fmla="*/ 2617829 w 13782069"/>
              <a:gd name="connsiteY1" fmla="*/ 3688 h 3856536"/>
              <a:gd name="connsiteX2" fmla="*/ 3483079 w 13782069"/>
              <a:gd name="connsiteY2" fmla="*/ 1341757 h 3856536"/>
              <a:gd name="connsiteX3" fmla="*/ 2244812 w 13782069"/>
              <a:gd name="connsiteY3" fmla="*/ 3218487 h 3856536"/>
              <a:gd name="connsiteX4" fmla="*/ 3794724 w 13782069"/>
              <a:gd name="connsiteY4" fmla="*/ 3641762 h 3856536"/>
              <a:gd name="connsiteX5" fmla="*/ 5865504 w 13782069"/>
              <a:gd name="connsiteY5" fmla="*/ 1449844 h 3856536"/>
              <a:gd name="connsiteX6" fmla="*/ 8449091 w 13782069"/>
              <a:gd name="connsiteY6" fmla="*/ 669750 h 3856536"/>
              <a:gd name="connsiteX7" fmla="*/ 9927146 w 13782069"/>
              <a:gd name="connsiteY7" fmla="*/ 1463454 h 3856536"/>
              <a:gd name="connsiteX8" fmla="*/ 8075306 w 13782069"/>
              <a:gd name="connsiteY8" fmla="*/ 3295607 h 3856536"/>
              <a:gd name="connsiteX9" fmla="*/ 11055876 w 13782069"/>
              <a:gd name="connsiteY9" fmla="*/ 3315922 h 3856536"/>
              <a:gd name="connsiteX10" fmla="*/ 13782069 w 13782069"/>
              <a:gd name="connsiteY10" fmla="*/ 2133278 h 3856536"/>
              <a:gd name="connsiteX0" fmla="*/ 0 w 13782069"/>
              <a:gd name="connsiteY0" fmla="*/ 1652015 h 3856536"/>
              <a:gd name="connsiteX1" fmla="*/ 2617829 w 13782069"/>
              <a:gd name="connsiteY1" fmla="*/ 3688 h 3856536"/>
              <a:gd name="connsiteX2" fmla="*/ 3483079 w 13782069"/>
              <a:gd name="connsiteY2" fmla="*/ 1341757 h 3856536"/>
              <a:gd name="connsiteX3" fmla="*/ 2244812 w 13782069"/>
              <a:gd name="connsiteY3" fmla="*/ 3218487 h 3856536"/>
              <a:gd name="connsiteX4" fmla="*/ 3794724 w 13782069"/>
              <a:gd name="connsiteY4" fmla="*/ 3641762 h 3856536"/>
              <a:gd name="connsiteX5" fmla="*/ 5865504 w 13782069"/>
              <a:gd name="connsiteY5" fmla="*/ 1449844 h 3856536"/>
              <a:gd name="connsiteX6" fmla="*/ 8449091 w 13782069"/>
              <a:gd name="connsiteY6" fmla="*/ 669750 h 3856536"/>
              <a:gd name="connsiteX7" fmla="*/ 9927146 w 13782069"/>
              <a:gd name="connsiteY7" fmla="*/ 1463454 h 3856536"/>
              <a:gd name="connsiteX8" fmla="*/ 8075306 w 13782069"/>
              <a:gd name="connsiteY8" fmla="*/ 3295607 h 3856536"/>
              <a:gd name="connsiteX9" fmla="*/ 11055876 w 13782069"/>
              <a:gd name="connsiteY9" fmla="*/ 3315922 h 3856536"/>
              <a:gd name="connsiteX10" fmla="*/ 13782069 w 13782069"/>
              <a:gd name="connsiteY10" fmla="*/ 2133278 h 3856536"/>
              <a:gd name="connsiteX0" fmla="*/ 0 w 13782069"/>
              <a:gd name="connsiteY0" fmla="*/ 1652015 h 3856536"/>
              <a:gd name="connsiteX1" fmla="*/ 2617829 w 13782069"/>
              <a:gd name="connsiteY1" fmla="*/ 3688 h 3856536"/>
              <a:gd name="connsiteX2" fmla="*/ 3483079 w 13782069"/>
              <a:gd name="connsiteY2" fmla="*/ 1341757 h 3856536"/>
              <a:gd name="connsiteX3" fmla="*/ 2244812 w 13782069"/>
              <a:gd name="connsiteY3" fmla="*/ 3218487 h 3856536"/>
              <a:gd name="connsiteX4" fmla="*/ 3794724 w 13782069"/>
              <a:gd name="connsiteY4" fmla="*/ 3641762 h 3856536"/>
              <a:gd name="connsiteX5" fmla="*/ 5865504 w 13782069"/>
              <a:gd name="connsiteY5" fmla="*/ 1449844 h 3856536"/>
              <a:gd name="connsiteX6" fmla="*/ 8449091 w 13782069"/>
              <a:gd name="connsiteY6" fmla="*/ 669750 h 3856536"/>
              <a:gd name="connsiteX7" fmla="*/ 9197688 w 13782069"/>
              <a:gd name="connsiteY7" fmla="*/ 1808227 h 3856536"/>
              <a:gd name="connsiteX8" fmla="*/ 8075306 w 13782069"/>
              <a:gd name="connsiteY8" fmla="*/ 3295607 h 3856536"/>
              <a:gd name="connsiteX9" fmla="*/ 11055876 w 13782069"/>
              <a:gd name="connsiteY9" fmla="*/ 3315922 h 3856536"/>
              <a:gd name="connsiteX10" fmla="*/ 13782069 w 13782069"/>
              <a:gd name="connsiteY10" fmla="*/ 2133278 h 3856536"/>
              <a:gd name="connsiteX0" fmla="*/ 0 w 13782069"/>
              <a:gd name="connsiteY0" fmla="*/ 1652015 h 3856536"/>
              <a:gd name="connsiteX1" fmla="*/ 2617829 w 13782069"/>
              <a:gd name="connsiteY1" fmla="*/ 3688 h 3856536"/>
              <a:gd name="connsiteX2" fmla="*/ 3483079 w 13782069"/>
              <a:gd name="connsiteY2" fmla="*/ 1341757 h 3856536"/>
              <a:gd name="connsiteX3" fmla="*/ 2244812 w 13782069"/>
              <a:gd name="connsiteY3" fmla="*/ 3218487 h 3856536"/>
              <a:gd name="connsiteX4" fmla="*/ 3794724 w 13782069"/>
              <a:gd name="connsiteY4" fmla="*/ 3641762 h 3856536"/>
              <a:gd name="connsiteX5" fmla="*/ 5865504 w 13782069"/>
              <a:gd name="connsiteY5" fmla="*/ 1449844 h 3856536"/>
              <a:gd name="connsiteX6" fmla="*/ 8449091 w 13782069"/>
              <a:gd name="connsiteY6" fmla="*/ 669750 h 3856536"/>
              <a:gd name="connsiteX7" fmla="*/ 9197688 w 13782069"/>
              <a:gd name="connsiteY7" fmla="*/ 1808227 h 3856536"/>
              <a:gd name="connsiteX8" fmla="*/ 8075306 w 13782069"/>
              <a:gd name="connsiteY8" fmla="*/ 3295607 h 3856536"/>
              <a:gd name="connsiteX9" fmla="*/ 11055876 w 13782069"/>
              <a:gd name="connsiteY9" fmla="*/ 3315922 h 3856536"/>
              <a:gd name="connsiteX10" fmla="*/ 13782069 w 13782069"/>
              <a:gd name="connsiteY10" fmla="*/ 2133278 h 3856536"/>
              <a:gd name="connsiteX0" fmla="*/ 0 w 13782069"/>
              <a:gd name="connsiteY0" fmla="*/ 1652015 h 3856536"/>
              <a:gd name="connsiteX1" fmla="*/ 2617829 w 13782069"/>
              <a:gd name="connsiteY1" fmla="*/ 3688 h 3856536"/>
              <a:gd name="connsiteX2" fmla="*/ 3483079 w 13782069"/>
              <a:gd name="connsiteY2" fmla="*/ 1341757 h 3856536"/>
              <a:gd name="connsiteX3" fmla="*/ 2244812 w 13782069"/>
              <a:gd name="connsiteY3" fmla="*/ 3218487 h 3856536"/>
              <a:gd name="connsiteX4" fmla="*/ 3794724 w 13782069"/>
              <a:gd name="connsiteY4" fmla="*/ 3641762 h 3856536"/>
              <a:gd name="connsiteX5" fmla="*/ 5865504 w 13782069"/>
              <a:gd name="connsiteY5" fmla="*/ 1449844 h 3856536"/>
              <a:gd name="connsiteX6" fmla="*/ 8449091 w 13782069"/>
              <a:gd name="connsiteY6" fmla="*/ 669750 h 3856536"/>
              <a:gd name="connsiteX7" fmla="*/ 8840402 w 13782069"/>
              <a:gd name="connsiteY7" fmla="*/ 2257932 h 3856536"/>
              <a:gd name="connsiteX8" fmla="*/ 8075306 w 13782069"/>
              <a:gd name="connsiteY8" fmla="*/ 3295607 h 3856536"/>
              <a:gd name="connsiteX9" fmla="*/ 11055876 w 13782069"/>
              <a:gd name="connsiteY9" fmla="*/ 3315922 h 3856536"/>
              <a:gd name="connsiteX10" fmla="*/ 13782069 w 13782069"/>
              <a:gd name="connsiteY10" fmla="*/ 2133278 h 3856536"/>
              <a:gd name="connsiteX0" fmla="*/ 0 w 13782069"/>
              <a:gd name="connsiteY0" fmla="*/ 1652015 h 3856536"/>
              <a:gd name="connsiteX1" fmla="*/ 2617829 w 13782069"/>
              <a:gd name="connsiteY1" fmla="*/ 3688 h 3856536"/>
              <a:gd name="connsiteX2" fmla="*/ 3483079 w 13782069"/>
              <a:gd name="connsiteY2" fmla="*/ 1341757 h 3856536"/>
              <a:gd name="connsiteX3" fmla="*/ 2244812 w 13782069"/>
              <a:gd name="connsiteY3" fmla="*/ 3218487 h 3856536"/>
              <a:gd name="connsiteX4" fmla="*/ 3794724 w 13782069"/>
              <a:gd name="connsiteY4" fmla="*/ 3641762 h 3856536"/>
              <a:gd name="connsiteX5" fmla="*/ 5865504 w 13782069"/>
              <a:gd name="connsiteY5" fmla="*/ 1449844 h 3856536"/>
              <a:gd name="connsiteX6" fmla="*/ 8449091 w 13782069"/>
              <a:gd name="connsiteY6" fmla="*/ 669750 h 3856536"/>
              <a:gd name="connsiteX7" fmla="*/ 8840402 w 13782069"/>
              <a:gd name="connsiteY7" fmla="*/ 2257932 h 3856536"/>
              <a:gd name="connsiteX8" fmla="*/ 7316075 w 13782069"/>
              <a:gd name="connsiteY8" fmla="*/ 3520460 h 3856536"/>
              <a:gd name="connsiteX9" fmla="*/ 11055876 w 13782069"/>
              <a:gd name="connsiteY9" fmla="*/ 3315922 h 3856536"/>
              <a:gd name="connsiteX10" fmla="*/ 13782069 w 13782069"/>
              <a:gd name="connsiteY10" fmla="*/ 2133278 h 3856536"/>
              <a:gd name="connsiteX0" fmla="*/ 0 w 13782069"/>
              <a:gd name="connsiteY0" fmla="*/ 1652015 h 3983361"/>
              <a:gd name="connsiteX1" fmla="*/ 2617829 w 13782069"/>
              <a:gd name="connsiteY1" fmla="*/ 3688 h 3983361"/>
              <a:gd name="connsiteX2" fmla="*/ 3483079 w 13782069"/>
              <a:gd name="connsiteY2" fmla="*/ 1341757 h 3983361"/>
              <a:gd name="connsiteX3" fmla="*/ 2244812 w 13782069"/>
              <a:gd name="connsiteY3" fmla="*/ 3218487 h 3983361"/>
              <a:gd name="connsiteX4" fmla="*/ 3794724 w 13782069"/>
              <a:gd name="connsiteY4" fmla="*/ 3641762 h 3983361"/>
              <a:gd name="connsiteX5" fmla="*/ 5865504 w 13782069"/>
              <a:gd name="connsiteY5" fmla="*/ 1449844 h 3983361"/>
              <a:gd name="connsiteX6" fmla="*/ 8449091 w 13782069"/>
              <a:gd name="connsiteY6" fmla="*/ 669750 h 3983361"/>
              <a:gd name="connsiteX7" fmla="*/ 8840402 w 13782069"/>
              <a:gd name="connsiteY7" fmla="*/ 2257932 h 3983361"/>
              <a:gd name="connsiteX8" fmla="*/ 7316075 w 13782069"/>
              <a:gd name="connsiteY8" fmla="*/ 3520460 h 3983361"/>
              <a:gd name="connsiteX9" fmla="*/ 11055876 w 13782069"/>
              <a:gd name="connsiteY9" fmla="*/ 3315922 h 3983361"/>
              <a:gd name="connsiteX10" fmla="*/ 13782069 w 13782069"/>
              <a:gd name="connsiteY10" fmla="*/ 2133278 h 3983361"/>
              <a:gd name="connsiteX0" fmla="*/ 0 w 13782069"/>
              <a:gd name="connsiteY0" fmla="*/ 1652015 h 3948460"/>
              <a:gd name="connsiteX1" fmla="*/ 2617829 w 13782069"/>
              <a:gd name="connsiteY1" fmla="*/ 3688 h 3948460"/>
              <a:gd name="connsiteX2" fmla="*/ 3483079 w 13782069"/>
              <a:gd name="connsiteY2" fmla="*/ 1341757 h 3948460"/>
              <a:gd name="connsiteX3" fmla="*/ 2244812 w 13782069"/>
              <a:gd name="connsiteY3" fmla="*/ 3218487 h 3948460"/>
              <a:gd name="connsiteX4" fmla="*/ 3794724 w 13782069"/>
              <a:gd name="connsiteY4" fmla="*/ 3641762 h 3948460"/>
              <a:gd name="connsiteX5" fmla="*/ 5865504 w 13782069"/>
              <a:gd name="connsiteY5" fmla="*/ 1449844 h 3948460"/>
              <a:gd name="connsiteX6" fmla="*/ 8449091 w 13782069"/>
              <a:gd name="connsiteY6" fmla="*/ 669750 h 3948460"/>
              <a:gd name="connsiteX7" fmla="*/ 8840402 w 13782069"/>
              <a:gd name="connsiteY7" fmla="*/ 2257932 h 3948460"/>
              <a:gd name="connsiteX8" fmla="*/ 7524492 w 13782069"/>
              <a:gd name="connsiteY8" fmla="*/ 3460499 h 3948460"/>
              <a:gd name="connsiteX9" fmla="*/ 11055876 w 13782069"/>
              <a:gd name="connsiteY9" fmla="*/ 3315922 h 3948460"/>
              <a:gd name="connsiteX10" fmla="*/ 13782069 w 13782069"/>
              <a:gd name="connsiteY10" fmla="*/ 2133278 h 3948460"/>
              <a:gd name="connsiteX0" fmla="*/ 0 w 13782069"/>
              <a:gd name="connsiteY0" fmla="*/ 1652015 h 3856536"/>
              <a:gd name="connsiteX1" fmla="*/ 2617829 w 13782069"/>
              <a:gd name="connsiteY1" fmla="*/ 3688 h 3856536"/>
              <a:gd name="connsiteX2" fmla="*/ 3483079 w 13782069"/>
              <a:gd name="connsiteY2" fmla="*/ 1341757 h 3856536"/>
              <a:gd name="connsiteX3" fmla="*/ 2244812 w 13782069"/>
              <a:gd name="connsiteY3" fmla="*/ 3218487 h 3856536"/>
              <a:gd name="connsiteX4" fmla="*/ 3794724 w 13782069"/>
              <a:gd name="connsiteY4" fmla="*/ 3641762 h 3856536"/>
              <a:gd name="connsiteX5" fmla="*/ 5865504 w 13782069"/>
              <a:gd name="connsiteY5" fmla="*/ 1449844 h 3856536"/>
              <a:gd name="connsiteX6" fmla="*/ 8449091 w 13782069"/>
              <a:gd name="connsiteY6" fmla="*/ 669750 h 3856536"/>
              <a:gd name="connsiteX7" fmla="*/ 8974385 w 13782069"/>
              <a:gd name="connsiteY7" fmla="*/ 1928149 h 3856536"/>
              <a:gd name="connsiteX8" fmla="*/ 7524492 w 13782069"/>
              <a:gd name="connsiteY8" fmla="*/ 3460499 h 3856536"/>
              <a:gd name="connsiteX9" fmla="*/ 11055876 w 13782069"/>
              <a:gd name="connsiteY9" fmla="*/ 3315922 h 3856536"/>
              <a:gd name="connsiteX10" fmla="*/ 13782069 w 13782069"/>
              <a:gd name="connsiteY10" fmla="*/ 2133278 h 3856536"/>
              <a:gd name="connsiteX0" fmla="*/ 0 w 13782069"/>
              <a:gd name="connsiteY0" fmla="*/ 1652015 h 3856536"/>
              <a:gd name="connsiteX1" fmla="*/ 2617829 w 13782069"/>
              <a:gd name="connsiteY1" fmla="*/ 3688 h 3856536"/>
              <a:gd name="connsiteX2" fmla="*/ 3483079 w 13782069"/>
              <a:gd name="connsiteY2" fmla="*/ 1341757 h 3856536"/>
              <a:gd name="connsiteX3" fmla="*/ 2244812 w 13782069"/>
              <a:gd name="connsiteY3" fmla="*/ 3218487 h 3856536"/>
              <a:gd name="connsiteX4" fmla="*/ 3794724 w 13782069"/>
              <a:gd name="connsiteY4" fmla="*/ 3641762 h 3856536"/>
              <a:gd name="connsiteX5" fmla="*/ 5865504 w 13782069"/>
              <a:gd name="connsiteY5" fmla="*/ 1449844 h 3856536"/>
              <a:gd name="connsiteX6" fmla="*/ 8225787 w 13782069"/>
              <a:gd name="connsiteY6" fmla="*/ 699730 h 3856536"/>
              <a:gd name="connsiteX7" fmla="*/ 8974385 w 13782069"/>
              <a:gd name="connsiteY7" fmla="*/ 1928149 h 3856536"/>
              <a:gd name="connsiteX8" fmla="*/ 7524492 w 13782069"/>
              <a:gd name="connsiteY8" fmla="*/ 3460499 h 3856536"/>
              <a:gd name="connsiteX9" fmla="*/ 11055876 w 13782069"/>
              <a:gd name="connsiteY9" fmla="*/ 3315922 h 3856536"/>
              <a:gd name="connsiteX10" fmla="*/ 13782069 w 13782069"/>
              <a:gd name="connsiteY10" fmla="*/ 2133278 h 3856536"/>
              <a:gd name="connsiteX0" fmla="*/ 0 w 13782069"/>
              <a:gd name="connsiteY0" fmla="*/ 1652015 h 3856536"/>
              <a:gd name="connsiteX1" fmla="*/ 2617829 w 13782069"/>
              <a:gd name="connsiteY1" fmla="*/ 3688 h 3856536"/>
              <a:gd name="connsiteX2" fmla="*/ 3483079 w 13782069"/>
              <a:gd name="connsiteY2" fmla="*/ 1341757 h 3856536"/>
              <a:gd name="connsiteX3" fmla="*/ 2244812 w 13782069"/>
              <a:gd name="connsiteY3" fmla="*/ 3218487 h 3856536"/>
              <a:gd name="connsiteX4" fmla="*/ 3794724 w 13782069"/>
              <a:gd name="connsiteY4" fmla="*/ 3641762 h 3856536"/>
              <a:gd name="connsiteX5" fmla="*/ 5865504 w 13782069"/>
              <a:gd name="connsiteY5" fmla="*/ 1449844 h 3856536"/>
              <a:gd name="connsiteX6" fmla="*/ 8225787 w 13782069"/>
              <a:gd name="connsiteY6" fmla="*/ 699730 h 3856536"/>
              <a:gd name="connsiteX7" fmla="*/ 8974385 w 13782069"/>
              <a:gd name="connsiteY7" fmla="*/ 1928149 h 3856536"/>
              <a:gd name="connsiteX8" fmla="*/ 7524492 w 13782069"/>
              <a:gd name="connsiteY8" fmla="*/ 3460499 h 3856536"/>
              <a:gd name="connsiteX9" fmla="*/ 11055876 w 13782069"/>
              <a:gd name="connsiteY9" fmla="*/ 3315922 h 3856536"/>
              <a:gd name="connsiteX10" fmla="*/ 13782069 w 13782069"/>
              <a:gd name="connsiteY10" fmla="*/ 2133278 h 3856536"/>
              <a:gd name="connsiteX0" fmla="*/ 0 w 13782069"/>
              <a:gd name="connsiteY0" fmla="*/ 1652015 h 3995536"/>
              <a:gd name="connsiteX1" fmla="*/ 2617829 w 13782069"/>
              <a:gd name="connsiteY1" fmla="*/ 3688 h 3995536"/>
              <a:gd name="connsiteX2" fmla="*/ 3483079 w 13782069"/>
              <a:gd name="connsiteY2" fmla="*/ 1341757 h 3995536"/>
              <a:gd name="connsiteX3" fmla="*/ 2244812 w 13782069"/>
              <a:gd name="connsiteY3" fmla="*/ 3218487 h 3995536"/>
              <a:gd name="connsiteX4" fmla="*/ 3794724 w 13782069"/>
              <a:gd name="connsiteY4" fmla="*/ 3641762 h 3995536"/>
              <a:gd name="connsiteX5" fmla="*/ 5865504 w 13782069"/>
              <a:gd name="connsiteY5" fmla="*/ 1449844 h 3995536"/>
              <a:gd name="connsiteX6" fmla="*/ 8225787 w 13782069"/>
              <a:gd name="connsiteY6" fmla="*/ 699730 h 3995536"/>
              <a:gd name="connsiteX7" fmla="*/ 8974385 w 13782069"/>
              <a:gd name="connsiteY7" fmla="*/ 1928149 h 3995536"/>
              <a:gd name="connsiteX8" fmla="*/ 7524492 w 13782069"/>
              <a:gd name="connsiteY8" fmla="*/ 3460499 h 3995536"/>
              <a:gd name="connsiteX9" fmla="*/ 11055876 w 13782069"/>
              <a:gd name="connsiteY9" fmla="*/ 3315922 h 3995536"/>
              <a:gd name="connsiteX10" fmla="*/ 13782069 w 13782069"/>
              <a:gd name="connsiteY10" fmla="*/ 2133278 h 3995536"/>
              <a:gd name="connsiteX0" fmla="*/ 0 w 13782069"/>
              <a:gd name="connsiteY0" fmla="*/ 1652015 h 3856536"/>
              <a:gd name="connsiteX1" fmla="*/ 2617829 w 13782069"/>
              <a:gd name="connsiteY1" fmla="*/ 3688 h 3856536"/>
              <a:gd name="connsiteX2" fmla="*/ 3483079 w 13782069"/>
              <a:gd name="connsiteY2" fmla="*/ 1341757 h 3856536"/>
              <a:gd name="connsiteX3" fmla="*/ 2244812 w 13782069"/>
              <a:gd name="connsiteY3" fmla="*/ 3218487 h 3856536"/>
              <a:gd name="connsiteX4" fmla="*/ 3794724 w 13782069"/>
              <a:gd name="connsiteY4" fmla="*/ 3641762 h 3856536"/>
              <a:gd name="connsiteX5" fmla="*/ 5865504 w 13782069"/>
              <a:gd name="connsiteY5" fmla="*/ 1449844 h 3856536"/>
              <a:gd name="connsiteX6" fmla="*/ 8225787 w 13782069"/>
              <a:gd name="connsiteY6" fmla="*/ 699730 h 3856536"/>
              <a:gd name="connsiteX7" fmla="*/ 8974385 w 13782069"/>
              <a:gd name="connsiteY7" fmla="*/ 1928149 h 3856536"/>
              <a:gd name="connsiteX8" fmla="*/ 7643587 w 13782069"/>
              <a:gd name="connsiteY8" fmla="*/ 3010794 h 3856536"/>
              <a:gd name="connsiteX9" fmla="*/ 11055876 w 13782069"/>
              <a:gd name="connsiteY9" fmla="*/ 3315922 h 3856536"/>
              <a:gd name="connsiteX10" fmla="*/ 13782069 w 13782069"/>
              <a:gd name="connsiteY10" fmla="*/ 2133278 h 3856536"/>
              <a:gd name="connsiteX0" fmla="*/ 0 w 13782069"/>
              <a:gd name="connsiteY0" fmla="*/ 1652015 h 3856536"/>
              <a:gd name="connsiteX1" fmla="*/ 2617829 w 13782069"/>
              <a:gd name="connsiteY1" fmla="*/ 3688 h 3856536"/>
              <a:gd name="connsiteX2" fmla="*/ 3483079 w 13782069"/>
              <a:gd name="connsiteY2" fmla="*/ 1341757 h 3856536"/>
              <a:gd name="connsiteX3" fmla="*/ 2244812 w 13782069"/>
              <a:gd name="connsiteY3" fmla="*/ 3218487 h 3856536"/>
              <a:gd name="connsiteX4" fmla="*/ 3794724 w 13782069"/>
              <a:gd name="connsiteY4" fmla="*/ 3641762 h 3856536"/>
              <a:gd name="connsiteX5" fmla="*/ 5865504 w 13782069"/>
              <a:gd name="connsiteY5" fmla="*/ 1449844 h 3856536"/>
              <a:gd name="connsiteX6" fmla="*/ 8225787 w 13782069"/>
              <a:gd name="connsiteY6" fmla="*/ 699730 h 3856536"/>
              <a:gd name="connsiteX7" fmla="*/ 9123254 w 13782069"/>
              <a:gd name="connsiteY7" fmla="*/ 1673316 h 3856536"/>
              <a:gd name="connsiteX8" fmla="*/ 7643587 w 13782069"/>
              <a:gd name="connsiteY8" fmla="*/ 3010794 h 3856536"/>
              <a:gd name="connsiteX9" fmla="*/ 11055876 w 13782069"/>
              <a:gd name="connsiteY9" fmla="*/ 3315922 h 3856536"/>
              <a:gd name="connsiteX10" fmla="*/ 13782069 w 13782069"/>
              <a:gd name="connsiteY10" fmla="*/ 2133278 h 3856536"/>
              <a:gd name="connsiteX0" fmla="*/ 0 w 13782069"/>
              <a:gd name="connsiteY0" fmla="*/ 1652015 h 3856536"/>
              <a:gd name="connsiteX1" fmla="*/ 2617829 w 13782069"/>
              <a:gd name="connsiteY1" fmla="*/ 3688 h 3856536"/>
              <a:gd name="connsiteX2" fmla="*/ 3483079 w 13782069"/>
              <a:gd name="connsiteY2" fmla="*/ 1341757 h 3856536"/>
              <a:gd name="connsiteX3" fmla="*/ 2244812 w 13782069"/>
              <a:gd name="connsiteY3" fmla="*/ 3218487 h 3856536"/>
              <a:gd name="connsiteX4" fmla="*/ 3794724 w 13782069"/>
              <a:gd name="connsiteY4" fmla="*/ 3641762 h 3856536"/>
              <a:gd name="connsiteX5" fmla="*/ 5865504 w 13782069"/>
              <a:gd name="connsiteY5" fmla="*/ 1449844 h 3856536"/>
              <a:gd name="connsiteX6" fmla="*/ 8225787 w 13782069"/>
              <a:gd name="connsiteY6" fmla="*/ 699730 h 3856536"/>
              <a:gd name="connsiteX7" fmla="*/ 7643587 w 13782069"/>
              <a:gd name="connsiteY7" fmla="*/ 3010794 h 3856536"/>
              <a:gd name="connsiteX8" fmla="*/ 11055876 w 13782069"/>
              <a:gd name="connsiteY8" fmla="*/ 3315922 h 3856536"/>
              <a:gd name="connsiteX9" fmla="*/ 13782069 w 13782069"/>
              <a:gd name="connsiteY9" fmla="*/ 2133278 h 3856536"/>
              <a:gd name="connsiteX0" fmla="*/ 0 w 13782069"/>
              <a:gd name="connsiteY0" fmla="*/ 1652015 h 3856536"/>
              <a:gd name="connsiteX1" fmla="*/ 2617829 w 13782069"/>
              <a:gd name="connsiteY1" fmla="*/ 3688 h 3856536"/>
              <a:gd name="connsiteX2" fmla="*/ 3483079 w 13782069"/>
              <a:gd name="connsiteY2" fmla="*/ 1341757 h 3856536"/>
              <a:gd name="connsiteX3" fmla="*/ 2244812 w 13782069"/>
              <a:gd name="connsiteY3" fmla="*/ 3218487 h 3856536"/>
              <a:gd name="connsiteX4" fmla="*/ 3794724 w 13782069"/>
              <a:gd name="connsiteY4" fmla="*/ 3641762 h 3856536"/>
              <a:gd name="connsiteX5" fmla="*/ 5865504 w 13782069"/>
              <a:gd name="connsiteY5" fmla="*/ 1449844 h 3856536"/>
              <a:gd name="connsiteX6" fmla="*/ 8225787 w 13782069"/>
              <a:gd name="connsiteY6" fmla="*/ 699730 h 3856536"/>
              <a:gd name="connsiteX7" fmla="*/ 7643587 w 13782069"/>
              <a:gd name="connsiteY7" fmla="*/ 3010794 h 3856536"/>
              <a:gd name="connsiteX8" fmla="*/ 11055876 w 13782069"/>
              <a:gd name="connsiteY8" fmla="*/ 3315922 h 3856536"/>
              <a:gd name="connsiteX9" fmla="*/ 13782069 w 13782069"/>
              <a:gd name="connsiteY9" fmla="*/ 2133278 h 3856536"/>
              <a:gd name="connsiteX0" fmla="*/ 0 w 13782069"/>
              <a:gd name="connsiteY0" fmla="*/ 1652015 h 3856536"/>
              <a:gd name="connsiteX1" fmla="*/ 2617829 w 13782069"/>
              <a:gd name="connsiteY1" fmla="*/ 3688 h 3856536"/>
              <a:gd name="connsiteX2" fmla="*/ 3483079 w 13782069"/>
              <a:gd name="connsiteY2" fmla="*/ 1341757 h 3856536"/>
              <a:gd name="connsiteX3" fmla="*/ 2244812 w 13782069"/>
              <a:gd name="connsiteY3" fmla="*/ 3218487 h 3856536"/>
              <a:gd name="connsiteX4" fmla="*/ 3794724 w 13782069"/>
              <a:gd name="connsiteY4" fmla="*/ 3641762 h 3856536"/>
              <a:gd name="connsiteX5" fmla="*/ 5865504 w 13782069"/>
              <a:gd name="connsiteY5" fmla="*/ 1449844 h 3856536"/>
              <a:gd name="connsiteX6" fmla="*/ 8821264 w 13782069"/>
              <a:gd name="connsiteY6" fmla="*/ 864621 h 3856536"/>
              <a:gd name="connsiteX7" fmla="*/ 7643587 w 13782069"/>
              <a:gd name="connsiteY7" fmla="*/ 3010794 h 3856536"/>
              <a:gd name="connsiteX8" fmla="*/ 11055876 w 13782069"/>
              <a:gd name="connsiteY8" fmla="*/ 3315922 h 3856536"/>
              <a:gd name="connsiteX9" fmla="*/ 13782069 w 13782069"/>
              <a:gd name="connsiteY9" fmla="*/ 2133278 h 3856536"/>
              <a:gd name="connsiteX0" fmla="*/ 0 w 13782069"/>
              <a:gd name="connsiteY0" fmla="*/ 1652015 h 3856536"/>
              <a:gd name="connsiteX1" fmla="*/ 2617829 w 13782069"/>
              <a:gd name="connsiteY1" fmla="*/ 3688 h 3856536"/>
              <a:gd name="connsiteX2" fmla="*/ 3483079 w 13782069"/>
              <a:gd name="connsiteY2" fmla="*/ 1341757 h 3856536"/>
              <a:gd name="connsiteX3" fmla="*/ 2244812 w 13782069"/>
              <a:gd name="connsiteY3" fmla="*/ 3218487 h 3856536"/>
              <a:gd name="connsiteX4" fmla="*/ 3794724 w 13782069"/>
              <a:gd name="connsiteY4" fmla="*/ 3641762 h 3856536"/>
              <a:gd name="connsiteX5" fmla="*/ 5865504 w 13782069"/>
              <a:gd name="connsiteY5" fmla="*/ 1449844 h 3856536"/>
              <a:gd name="connsiteX6" fmla="*/ 8821264 w 13782069"/>
              <a:gd name="connsiteY6" fmla="*/ 864621 h 3856536"/>
              <a:gd name="connsiteX7" fmla="*/ 7643587 w 13782069"/>
              <a:gd name="connsiteY7" fmla="*/ 3010794 h 3856536"/>
              <a:gd name="connsiteX8" fmla="*/ 11055876 w 13782069"/>
              <a:gd name="connsiteY8" fmla="*/ 3315922 h 3856536"/>
              <a:gd name="connsiteX9" fmla="*/ 13782069 w 13782069"/>
              <a:gd name="connsiteY9" fmla="*/ 2133278 h 3856536"/>
              <a:gd name="connsiteX0" fmla="*/ 0 w 13782069"/>
              <a:gd name="connsiteY0" fmla="*/ 1652015 h 3875946"/>
              <a:gd name="connsiteX1" fmla="*/ 2617829 w 13782069"/>
              <a:gd name="connsiteY1" fmla="*/ 3688 h 3875946"/>
              <a:gd name="connsiteX2" fmla="*/ 3483079 w 13782069"/>
              <a:gd name="connsiteY2" fmla="*/ 1341757 h 3875946"/>
              <a:gd name="connsiteX3" fmla="*/ 2244812 w 13782069"/>
              <a:gd name="connsiteY3" fmla="*/ 3218487 h 3875946"/>
              <a:gd name="connsiteX4" fmla="*/ 3794724 w 13782069"/>
              <a:gd name="connsiteY4" fmla="*/ 3641762 h 3875946"/>
              <a:gd name="connsiteX5" fmla="*/ 5865504 w 13782069"/>
              <a:gd name="connsiteY5" fmla="*/ 1449844 h 3875946"/>
              <a:gd name="connsiteX6" fmla="*/ 8821264 w 13782069"/>
              <a:gd name="connsiteY6" fmla="*/ 864621 h 3875946"/>
              <a:gd name="connsiteX7" fmla="*/ 7643587 w 13782069"/>
              <a:gd name="connsiteY7" fmla="*/ 3010794 h 3875946"/>
              <a:gd name="connsiteX8" fmla="*/ 11055876 w 13782069"/>
              <a:gd name="connsiteY8" fmla="*/ 3315922 h 3875946"/>
              <a:gd name="connsiteX9" fmla="*/ 13782069 w 13782069"/>
              <a:gd name="connsiteY9" fmla="*/ 2133278 h 3875946"/>
              <a:gd name="connsiteX0" fmla="*/ 0 w 13782069"/>
              <a:gd name="connsiteY0" fmla="*/ 1652015 h 3856536"/>
              <a:gd name="connsiteX1" fmla="*/ 2617829 w 13782069"/>
              <a:gd name="connsiteY1" fmla="*/ 3688 h 3856536"/>
              <a:gd name="connsiteX2" fmla="*/ 3483079 w 13782069"/>
              <a:gd name="connsiteY2" fmla="*/ 1341757 h 3856536"/>
              <a:gd name="connsiteX3" fmla="*/ 2244812 w 13782069"/>
              <a:gd name="connsiteY3" fmla="*/ 3218487 h 3856536"/>
              <a:gd name="connsiteX4" fmla="*/ 3794724 w 13782069"/>
              <a:gd name="connsiteY4" fmla="*/ 3641762 h 3856536"/>
              <a:gd name="connsiteX5" fmla="*/ 5865504 w 13782069"/>
              <a:gd name="connsiteY5" fmla="*/ 1449844 h 3856536"/>
              <a:gd name="connsiteX6" fmla="*/ 7347461 w 13782069"/>
              <a:gd name="connsiteY6" fmla="*/ 1036251 h 3856536"/>
              <a:gd name="connsiteX7" fmla="*/ 7643587 w 13782069"/>
              <a:gd name="connsiteY7" fmla="*/ 3010794 h 3856536"/>
              <a:gd name="connsiteX8" fmla="*/ 11055876 w 13782069"/>
              <a:gd name="connsiteY8" fmla="*/ 3315922 h 3856536"/>
              <a:gd name="connsiteX9" fmla="*/ 13782069 w 13782069"/>
              <a:gd name="connsiteY9" fmla="*/ 2133278 h 3856536"/>
              <a:gd name="connsiteX0" fmla="*/ 0 w 13782069"/>
              <a:gd name="connsiteY0" fmla="*/ 1652015 h 3856536"/>
              <a:gd name="connsiteX1" fmla="*/ 2617829 w 13782069"/>
              <a:gd name="connsiteY1" fmla="*/ 3688 h 3856536"/>
              <a:gd name="connsiteX2" fmla="*/ 3483079 w 13782069"/>
              <a:gd name="connsiteY2" fmla="*/ 1341757 h 3856536"/>
              <a:gd name="connsiteX3" fmla="*/ 2244812 w 13782069"/>
              <a:gd name="connsiteY3" fmla="*/ 3218487 h 3856536"/>
              <a:gd name="connsiteX4" fmla="*/ 3794724 w 13782069"/>
              <a:gd name="connsiteY4" fmla="*/ 3641762 h 3856536"/>
              <a:gd name="connsiteX5" fmla="*/ 5865504 w 13782069"/>
              <a:gd name="connsiteY5" fmla="*/ 1449844 h 3856536"/>
              <a:gd name="connsiteX6" fmla="*/ 7347461 w 13782069"/>
              <a:gd name="connsiteY6" fmla="*/ 1036251 h 3856536"/>
              <a:gd name="connsiteX7" fmla="*/ 7643587 w 13782069"/>
              <a:gd name="connsiteY7" fmla="*/ 3010794 h 3856536"/>
              <a:gd name="connsiteX8" fmla="*/ 11055876 w 13782069"/>
              <a:gd name="connsiteY8" fmla="*/ 3315922 h 3856536"/>
              <a:gd name="connsiteX9" fmla="*/ 13782069 w 13782069"/>
              <a:gd name="connsiteY9" fmla="*/ 2133278 h 3856536"/>
              <a:gd name="connsiteX0" fmla="*/ 0 w 13782069"/>
              <a:gd name="connsiteY0" fmla="*/ 1652015 h 3811734"/>
              <a:gd name="connsiteX1" fmla="*/ 2617829 w 13782069"/>
              <a:gd name="connsiteY1" fmla="*/ 3688 h 3811734"/>
              <a:gd name="connsiteX2" fmla="*/ 3483079 w 13782069"/>
              <a:gd name="connsiteY2" fmla="*/ 1341757 h 3811734"/>
              <a:gd name="connsiteX3" fmla="*/ 2244812 w 13782069"/>
              <a:gd name="connsiteY3" fmla="*/ 3218487 h 3811734"/>
              <a:gd name="connsiteX4" fmla="*/ 3794724 w 13782069"/>
              <a:gd name="connsiteY4" fmla="*/ 3641762 h 3811734"/>
              <a:gd name="connsiteX5" fmla="*/ 5344464 w 13782069"/>
              <a:gd name="connsiteY5" fmla="*/ 2093455 h 3811734"/>
              <a:gd name="connsiteX6" fmla="*/ 7347461 w 13782069"/>
              <a:gd name="connsiteY6" fmla="*/ 1036251 h 3811734"/>
              <a:gd name="connsiteX7" fmla="*/ 7643587 w 13782069"/>
              <a:gd name="connsiteY7" fmla="*/ 3010794 h 3811734"/>
              <a:gd name="connsiteX8" fmla="*/ 11055876 w 13782069"/>
              <a:gd name="connsiteY8" fmla="*/ 3315922 h 3811734"/>
              <a:gd name="connsiteX9" fmla="*/ 13782069 w 13782069"/>
              <a:gd name="connsiteY9" fmla="*/ 2133278 h 3811734"/>
              <a:gd name="connsiteX0" fmla="*/ 0 w 13782069"/>
              <a:gd name="connsiteY0" fmla="*/ 1652015 h 3885798"/>
              <a:gd name="connsiteX1" fmla="*/ 2617829 w 13782069"/>
              <a:gd name="connsiteY1" fmla="*/ 3688 h 3885798"/>
              <a:gd name="connsiteX2" fmla="*/ 3483079 w 13782069"/>
              <a:gd name="connsiteY2" fmla="*/ 1341757 h 3885798"/>
              <a:gd name="connsiteX3" fmla="*/ 2244812 w 13782069"/>
              <a:gd name="connsiteY3" fmla="*/ 3218487 h 3885798"/>
              <a:gd name="connsiteX4" fmla="*/ 3794724 w 13782069"/>
              <a:gd name="connsiteY4" fmla="*/ 3641762 h 3885798"/>
              <a:gd name="connsiteX5" fmla="*/ 7347461 w 13782069"/>
              <a:gd name="connsiteY5" fmla="*/ 1036251 h 3885798"/>
              <a:gd name="connsiteX6" fmla="*/ 7643587 w 13782069"/>
              <a:gd name="connsiteY6" fmla="*/ 3010794 h 3885798"/>
              <a:gd name="connsiteX7" fmla="*/ 11055876 w 13782069"/>
              <a:gd name="connsiteY7" fmla="*/ 3315922 h 3885798"/>
              <a:gd name="connsiteX8" fmla="*/ 13782069 w 13782069"/>
              <a:gd name="connsiteY8" fmla="*/ 2133278 h 3885798"/>
              <a:gd name="connsiteX0" fmla="*/ 0 w 13782069"/>
              <a:gd name="connsiteY0" fmla="*/ 1652015 h 3903128"/>
              <a:gd name="connsiteX1" fmla="*/ 2617829 w 13782069"/>
              <a:gd name="connsiteY1" fmla="*/ 3688 h 3903128"/>
              <a:gd name="connsiteX2" fmla="*/ 3483079 w 13782069"/>
              <a:gd name="connsiteY2" fmla="*/ 1341757 h 3903128"/>
              <a:gd name="connsiteX3" fmla="*/ 2244812 w 13782069"/>
              <a:gd name="connsiteY3" fmla="*/ 3218487 h 3903128"/>
              <a:gd name="connsiteX4" fmla="*/ 3794724 w 13782069"/>
              <a:gd name="connsiteY4" fmla="*/ 3641762 h 3903128"/>
              <a:gd name="connsiteX5" fmla="*/ 6409587 w 13782069"/>
              <a:gd name="connsiteY5" fmla="*/ 793109 h 3903128"/>
              <a:gd name="connsiteX6" fmla="*/ 7643587 w 13782069"/>
              <a:gd name="connsiteY6" fmla="*/ 3010794 h 3903128"/>
              <a:gd name="connsiteX7" fmla="*/ 11055876 w 13782069"/>
              <a:gd name="connsiteY7" fmla="*/ 3315922 h 3903128"/>
              <a:gd name="connsiteX8" fmla="*/ 13782069 w 13782069"/>
              <a:gd name="connsiteY8" fmla="*/ 2133278 h 3903128"/>
              <a:gd name="connsiteX0" fmla="*/ 0 w 13782069"/>
              <a:gd name="connsiteY0" fmla="*/ 1652015 h 3903128"/>
              <a:gd name="connsiteX1" fmla="*/ 2617829 w 13782069"/>
              <a:gd name="connsiteY1" fmla="*/ 3688 h 3903128"/>
              <a:gd name="connsiteX2" fmla="*/ 3483079 w 13782069"/>
              <a:gd name="connsiteY2" fmla="*/ 1341757 h 3903128"/>
              <a:gd name="connsiteX3" fmla="*/ 2244812 w 13782069"/>
              <a:gd name="connsiteY3" fmla="*/ 3218487 h 3903128"/>
              <a:gd name="connsiteX4" fmla="*/ 3794724 w 13782069"/>
              <a:gd name="connsiteY4" fmla="*/ 3641762 h 3903128"/>
              <a:gd name="connsiteX5" fmla="*/ 6409587 w 13782069"/>
              <a:gd name="connsiteY5" fmla="*/ 793109 h 3903128"/>
              <a:gd name="connsiteX6" fmla="*/ 7643587 w 13782069"/>
              <a:gd name="connsiteY6" fmla="*/ 3010794 h 3903128"/>
              <a:gd name="connsiteX7" fmla="*/ 11055876 w 13782069"/>
              <a:gd name="connsiteY7" fmla="*/ 3315922 h 3903128"/>
              <a:gd name="connsiteX8" fmla="*/ 13782069 w 13782069"/>
              <a:gd name="connsiteY8" fmla="*/ 2133278 h 3903128"/>
              <a:gd name="connsiteX0" fmla="*/ 0 w 13782069"/>
              <a:gd name="connsiteY0" fmla="*/ 1652015 h 3903128"/>
              <a:gd name="connsiteX1" fmla="*/ 2617829 w 13782069"/>
              <a:gd name="connsiteY1" fmla="*/ 3688 h 3903128"/>
              <a:gd name="connsiteX2" fmla="*/ 3483079 w 13782069"/>
              <a:gd name="connsiteY2" fmla="*/ 1341757 h 3903128"/>
              <a:gd name="connsiteX3" fmla="*/ 2244812 w 13782069"/>
              <a:gd name="connsiteY3" fmla="*/ 3218487 h 3903128"/>
              <a:gd name="connsiteX4" fmla="*/ 3794724 w 13782069"/>
              <a:gd name="connsiteY4" fmla="*/ 3641762 h 3903128"/>
              <a:gd name="connsiteX5" fmla="*/ 6409587 w 13782069"/>
              <a:gd name="connsiteY5" fmla="*/ 793109 h 3903128"/>
              <a:gd name="connsiteX6" fmla="*/ 7643587 w 13782069"/>
              <a:gd name="connsiteY6" fmla="*/ 3010794 h 3903128"/>
              <a:gd name="connsiteX7" fmla="*/ 11055876 w 13782069"/>
              <a:gd name="connsiteY7" fmla="*/ 3315922 h 3903128"/>
              <a:gd name="connsiteX8" fmla="*/ 13782069 w 13782069"/>
              <a:gd name="connsiteY8" fmla="*/ 2133278 h 3903128"/>
              <a:gd name="connsiteX0" fmla="*/ 0 w 13782069"/>
              <a:gd name="connsiteY0" fmla="*/ 1652015 h 3903128"/>
              <a:gd name="connsiteX1" fmla="*/ 2617829 w 13782069"/>
              <a:gd name="connsiteY1" fmla="*/ 3688 h 3903128"/>
              <a:gd name="connsiteX2" fmla="*/ 3483079 w 13782069"/>
              <a:gd name="connsiteY2" fmla="*/ 1341757 h 3903128"/>
              <a:gd name="connsiteX3" fmla="*/ 2244812 w 13782069"/>
              <a:gd name="connsiteY3" fmla="*/ 3218487 h 3903128"/>
              <a:gd name="connsiteX4" fmla="*/ 3794724 w 13782069"/>
              <a:gd name="connsiteY4" fmla="*/ 3641762 h 3903128"/>
              <a:gd name="connsiteX5" fmla="*/ 6409587 w 13782069"/>
              <a:gd name="connsiteY5" fmla="*/ 793109 h 3903128"/>
              <a:gd name="connsiteX6" fmla="*/ 8134855 w 13782069"/>
              <a:gd name="connsiteY6" fmla="*/ 3168121 h 3903128"/>
              <a:gd name="connsiteX7" fmla="*/ 11055876 w 13782069"/>
              <a:gd name="connsiteY7" fmla="*/ 3315922 h 3903128"/>
              <a:gd name="connsiteX8" fmla="*/ 13782069 w 13782069"/>
              <a:gd name="connsiteY8" fmla="*/ 2133278 h 3903128"/>
              <a:gd name="connsiteX0" fmla="*/ 0 w 13782069"/>
              <a:gd name="connsiteY0" fmla="*/ 1652015 h 3903128"/>
              <a:gd name="connsiteX1" fmla="*/ 2617829 w 13782069"/>
              <a:gd name="connsiteY1" fmla="*/ 3688 h 3903128"/>
              <a:gd name="connsiteX2" fmla="*/ 3483079 w 13782069"/>
              <a:gd name="connsiteY2" fmla="*/ 1341757 h 3903128"/>
              <a:gd name="connsiteX3" fmla="*/ 2244812 w 13782069"/>
              <a:gd name="connsiteY3" fmla="*/ 3218487 h 3903128"/>
              <a:gd name="connsiteX4" fmla="*/ 3794724 w 13782069"/>
              <a:gd name="connsiteY4" fmla="*/ 3641762 h 3903128"/>
              <a:gd name="connsiteX5" fmla="*/ 6409587 w 13782069"/>
              <a:gd name="connsiteY5" fmla="*/ 793109 h 3903128"/>
              <a:gd name="connsiteX6" fmla="*/ 8134855 w 13782069"/>
              <a:gd name="connsiteY6" fmla="*/ 3168121 h 3903128"/>
              <a:gd name="connsiteX7" fmla="*/ 11055876 w 13782069"/>
              <a:gd name="connsiteY7" fmla="*/ 3315922 h 3903128"/>
              <a:gd name="connsiteX8" fmla="*/ 13782069 w 13782069"/>
              <a:gd name="connsiteY8" fmla="*/ 2133278 h 3903128"/>
              <a:gd name="connsiteX0" fmla="*/ 0 w 13782069"/>
              <a:gd name="connsiteY0" fmla="*/ 1652015 h 3903128"/>
              <a:gd name="connsiteX1" fmla="*/ 2617829 w 13782069"/>
              <a:gd name="connsiteY1" fmla="*/ 3688 h 3903128"/>
              <a:gd name="connsiteX2" fmla="*/ 3483079 w 13782069"/>
              <a:gd name="connsiteY2" fmla="*/ 1341757 h 3903128"/>
              <a:gd name="connsiteX3" fmla="*/ 2244812 w 13782069"/>
              <a:gd name="connsiteY3" fmla="*/ 3218487 h 3903128"/>
              <a:gd name="connsiteX4" fmla="*/ 3794724 w 13782069"/>
              <a:gd name="connsiteY4" fmla="*/ 3641762 h 3903128"/>
              <a:gd name="connsiteX5" fmla="*/ 6409587 w 13782069"/>
              <a:gd name="connsiteY5" fmla="*/ 793109 h 3903128"/>
              <a:gd name="connsiteX6" fmla="*/ 8134855 w 13782069"/>
              <a:gd name="connsiteY6" fmla="*/ 3168121 h 3903128"/>
              <a:gd name="connsiteX7" fmla="*/ 11562031 w 13782069"/>
              <a:gd name="connsiteY7" fmla="*/ 1971493 h 3903128"/>
              <a:gd name="connsiteX8" fmla="*/ 13782069 w 13782069"/>
              <a:gd name="connsiteY8" fmla="*/ 2133278 h 3903128"/>
              <a:gd name="connsiteX0" fmla="*/ 0 w 11562031"/>
              <a:gd name="connsiteY0" fmla="*/ 1652015 h 3903128"/>
              <a:gd name="connsiteX1" fmla="*/ 2617829 w 11562031"/>
              <a:gd name="connsiteY1" fmla="*/ 3688 h 3903128"/>
              <a:gd name="connsiteX2" fmla="*/ 3483079 w 11562031"/>
              <a:gd name="connsiteY2" fmla="*/ 1341757 h 3903128"/>
              <a:gd name="connsiteX3" fmla="*/ 2244812 w 11562031"/>
              <a:gd name="connsiteY3" fmla="*/ 3218487 h 3903128"/>
              <a:gd name="connsiteX4" fmla="*/ 3794724 w 11562031"/>
              <a:gd name="connsiteY4" fmla="*/ 3641762 h 3903128"/>
              <a:gd name="connsiteX5" fmla="*/ 6409587 w 11562031"/>
              <a:gd name="connsiteY5" fmla="*/ 793109 h 3903128"/>
              <a:gd name="connsiteX6" fmla="*/ 8134855 w 11562031"/>
              <a:gd name="connsiteY6" fmla="*/ 3168121 h 3903128"/>
              <a:gd name="connsiteX7" fmla="*/ 11562031 w 11562031"/>
              <a:gd name="connsiteY7" fmla="*/ 1971493 h 3903128"/>
              <a:gd name="connsiteX0" fmla="*/ 0 w 12678548"/>
              <a:gd name="connsiteY0" fmla="*/ 1652015 h 3903128"/>
              <a:gd name="connsiteX1" fmla="*/ 2617829 w 12678548"/>
              <a:gd name="connsiteY1" fmla="*/ 3688 h 3903128"/>
              <a:gd name="connsiteX2" fmla="*/ 3483079 w 12678548"/>
              <a:gd name="connsiteY2" fmla="*/ 1341757 h 3903128"/>
              <a:gd name="connsiteX3" fmla="*/ 2244812 w 12678548"/>
              <a:gd name="connsiteY3" fmla="*/ 3218487 h 3903128"/>
              <a:gd name="connsiteX4" fmla="*/ 3794724 w 12678548"/>
              <a:gd name="connsiteY4" fmla="*/ 3641762 h 3903128"/>
              <a:gd name="connsiteX5" fmla="*/ 6409587 w 12678548"/>
              <a:gd name="connsiteY5" fmla="*/ 793109 h 3903128"/>
              <a:gd name="connsiteX6" fmla="*/ 8134855 w 12678548"/>
              <a:gd name="connsiteY6" fmla="*/ 3168121 h 3903128"/>
              <a:gd name="connsiteX7" fmla="*/ 12678548 w 12678548"/>
              <a:gd name="connsiteY7" fmla="*/ 1385093 h 3903128"/>
              <a:gd name="connsiteX0" fmla="*/ 0 w 12678548"/>
              <a:gd name="connsiteY0" fmla="*/ 1652015 h 3879702"/>
              <a:gd name="connsiteX1" fmla="*/ 2617829 w 12678548"/>
              <a:gd name="connsiteY1" fmla="*/ 3688 h 3879702"/>
              <a:gd name="connsiteX2" fmla="*/ 3483079 w 12678548"/>
              <a:gd name="connsiteY2" fmla="*/ 1341757 h 3879702"/>
              <a:gd name="connsiteX3" fmla="*/ 2244812 w 12678548"/>
              <a:gd name="connsiteY3" fmla="*/ 3218487 h 3879702"/>
              <a:gd name="connsiteX4" fmla="*/ 3794724 w 12678548"/>
              <a:gd name="connsiteY4" fmla="*/ 3641762 h 3879702"/>
              <a:gd name="connsiteX5" fmla="*/ 6379814 w 12678548"/>
              <a:gd name="connsiteY5" fmla="*/ 1122065 h 3879702"/>
              <a:gd name="connsiteX6" fmla="*/ 8134855 w 12678548"/>
              <a:gd name="connsiteY6" fmla="*/ 3168121 h 3879702"/>
              <a:gd name="connsiteX7" fmla="*/ 12678548 w 12678548"/>
              <a:gd name="connsiteY7" fmla="*/ 1385093 h 3879702"/>
              <a:gd name="connsiteX0" fmla="*/ 0 w 12678548"/>
              <a:gd name="connsiteY0" fmla="*/ 1652015 h 3879702"/>
              <a:gd name="connsiteX1" fmla="*/ 2617829 w 12678548"/>
              <a:gd name="connsiteY1" fmla="*/ 3688 h 3879702"/>
              <a:gd name="connsiteX2" fmla="*/ 3483079 w 12678548"/>
              <a:gd name="connsiteY2" fmla="*/ 1341757 h 3879702"/>
              <a:gd name="connsiteX3" fmla="*/ 2244812 w 12678548"/>
              <a:gd name="connsiteY3" fmla="*/ 3218487 h 3879702"/>
              <a:gd name="connsiteX4" fmla="*/ 3794724 w 12678548"/>
              <a:gd name="connsiteY4" fmla="*/ 3641762 h 3879702"/>
              <a:gd name="connsiteX5" fmla="*/ 6379814 w 12678548"/>
              <a:gd name="connsiteY5" fmla="*/ 1122065 h 3879702"/>
              <a:gd name="connsiteX6" fmla="*/ 8134855 w 12678548"/>
              <a:gd name="connsiteY6" fmla="*/ 3168121 h 3879702"/>
              <a:gd name="connsiteX7" fmla="*/ 12678548 w 12678548"/>
              <a:gd name="connsiteY7" fmla="*/ 1385093 h 3879702"/>
              <a:gd name="connsiteX0" fmla="*/ 0 w 12678548"/>
              <a:gd name="connsiteY0" fmla="*/ 1652015 h 3873618"/>
              <a:gd name="connsiteX1" fmla="*/ 2617829 w 12678548"/>
              <a:gd name="connsiteY1" fmla="*/ 3688 h 3873618"/>
              <a:gd name="connsiteX2" fmla="*/ 3483079 w 12678548"/>
              <a:gd name="connsiteY2" fmla="*/ 1341757 h 3873618"/>
              <a:gd name="connsiteX3" fmla="*/ 2244812 w 12678548"/>
              <a:gd name="connsiteY3" fmla="*/ 3218487 h 3873618"/>
              <a:gd name="connsiteX4" fmla="*/ 3794724 w 12678548"/>
              <a:gd name="connsiteY4" fmla="*/ 3641762 h 3873618"/>
              <a:gd name="connsiteX5" fmla="*/ 6811533 w 12678548"/>
              <a:gd name="connsiteY5" fmla="*/ 1207880 h 3873618"/>
              <a:gd name="connsiteX6" fmla="*/ 8134855 w 12678548"/>
              <a:gd name="connsiteY6" fmla="*/ 3168121 h 3873618"/>
              <a:gd name="connsiteX7" fmla="*/ 12678548 w 12678548"/>
              <a:gd name="connsiteY7" fmla="*/ 1385093 h 3873618"/>
              <a:gd name="connsiteX0" fmla="*/ 0 w 12678548"/>
              <a:gd name="connsiteY0" fmla="*/ 1652015 h 3873618"/>
              <a:gd name="connsiteX1" fmla="*/ 2617829 w 12678548"/>
              <a:gd name="connsiteY1" fmla="*/ 3688 h 3873618"/>
              <a:gd name="connsiteX2" fmla="*/ 3483079 w 12678548"/>
              <a:gd name="connsiteY2" fmla="*/ 1341757 h 3873618"/>
              <a:gd name="connsiteX3" fmla="*/ 2244812 w 12678548"/>
              <a:gd name="connsiteY3" fmla="*/ 3218487 h 3873618"/>
              <a:gd name="connsiteX4" fmla="*/ 3794724 w 12678548"/>
              <a:gd name="connsiteY4" fmla="*/ 3641762 h 3873618"/>
              <a:gd name="connsiteX5" fmla="*/ 6811533 w 12678548"/>
              <a:gd name="connsiteY5" fmla="*/ 1207880 h 3873618"/>
              <a:gd name="connsiteX6" fmla="*/ 9296034 w 12678548"/>
              <a:gd name="connsiteY6" fmla="*/ 2939282 h 3873618"/>
              <a:gd name="connsiteX7" fmla="*/ 12678548 w 12678548"/>
              <a:gd name="connsiteY7" fmla="*/ 1385093 h 3873618"/>
              <a:gd name="connsiteX0" fmla="*/ 0 w 12678548"/>
              <a:gd name="connsiteY0" fmla="*/ 1166123 h 3387726"/>
              <a:gd name="connsiteX1" fmla="*/ 2111674 w 12678548"/>
              <a:gd name="connsiteY1" fmla="*/ 4079 h 3387726"/>
              <a:gd name="connsiteX2" fmla="*/ 3483079 w 12678548"/>
              <a:gd name="connsiteY2" fmla="*/ 855865 h 3387726"/>
              <a:gd name="connsiteX3" fmla="*/ 2244812 w 12678548"/>
              <a:gd name="connsiteY3" fmla="*/ 2732595 h 3387726"/>
              <a:gd name="connsiteX4" fmla="*/ 3794724 w 12678548"/>
              <a:gd name="connsiteY4" fmla="*/ 3155870 h 3387726"/>
              <a:gd name="connsiteX5" fmla="*/ 6811533 w 12678548"/>
              <a:gd name="connsiteY5" fmla="*/ 721988 h 3387726"/>
              <a:gd name="connsiteX6" fmla="*/ 9296034 w 12678548"/>
              <a:gd name="connsiteY6" fmla="*/ 2453390 h 3387726"/>
              <a:gd name="connsiteX7" fmla="*/ 12678548 w 12678548"/>
              <a:gd name="connsiteY7" fmla="*/ 899201 h 3387726"/>
              <a:gd name="connsiteX0" fmla="*/ 0 w 13497328"/>
              <a:gd name="connsiteY0" fmla="*/ 1431291 h 3395450"/>
              <a:gd name="connsiteX1" fmla="*/ 2930454 w 13497328"/>
              <a:gd name="connsiteY1" fmla="*/ 11803 h 3395450"/>
              <a:gd name="connsiteX2" fmla="*/ 4301859 w 13497328"/>
              <a:gd name="connsiteY2" fmla="*/ 863589 h 3395450"/>
              <a:gd name="connsiteX3" fmla="*/ 3063592 w 13497328"/>
              <a:gd name="connsiteY3" fmla="*/ 2740319 h 3395450"/>
              <a:gd name="connsiteX4" fmla="*/ 4613504 w 13497328"/>
              <a:gd name="connsiteY4" fmla="*/ 3163594 h 3395450"/>
              <a:gd name="connsiteX5" fmla="*/ 7630313 w 13497328"/>
              <a:gd name="connsiteY5" fmla="*/ 729712 h 3395450"/>
              <a:gd name="connsiteX6" fmla="*/ 10114814 w 13497328"/>
              <a:gd name="connsiteY6" fmla="*/ 2461114 h 3395450"/>
              <a:gd name="connsiteX7" fmla="*/ 13497328 w 13497328"/>
              <a:gd name="connsiteY7" fmla="*/ 906925 h 3395450"/>
              <a:gd name="connsiteX0" fmla="*/ 0 w 13497328"/>
              <a:gd name="connsiteY0" fmla="*/ 1403191 h 3367350"/>
              <a:gd name="connsiteX1" fmla="*/ 2707150 w 13497328"/>
              <a:gd name="connsiteY1" fmla="*/ 12308 h 3367350"/>
              <a:gd name="connsiteX2" fmla="*/ 4301859 w 13497328"/>
              <a:gd name="connsiteY2" fmla="*/ 835489 h 3367350"/>
              <a:gd name="connsiteX3" fmla="*/ 3063592 w 13497328"/>
              <a:gd name="connsiteY3" fmla="*/ 2712219 h 3367350"/>
              <a:gd name="connsiteX4" fmla="*/ 4613504 w 13497328"/>
              <a:gd name="connsiteY4" fmla="*/ 3135494 h 3367350"/>
              <a:gd name="connsiteX5" fmla="*/ 7630313 w 13497328"/>
              <a:gd name="connsiteY5" fmla="*/ 701612 h 3367350"/>
              <a:gd name="connsiteX6" fmla="*/ 10114814 w 13497328"/>
              <a:gd name="connsiteY6" fmla="*/ 2433014 h 3367350"/>
              <a:gd name="connsiteX7" fmla="*/ 13497328 w 13497328"/>
              <a:gd name="connsiteY7" fmla="*/ 878825 h 3367350"/>
              <a:gd name="connsiteX0" fmla="*/ 0 w 13497328"/>
              <a:gd name="connsiteY0" fmla="*/ 1434721 h 3398880"/>
              <a:gd name="connsiteX1" fmla="*/ 2707150 w 13497328"/>
              <a:gd name="connsiteY1" fmla="*/ 43838 h 3398880"/>
              <a:gd name="connsiteX2" fmla="*/ 4301859 w 13497328"/>
              <a:gd name="connsiteY2" fmla="*/ 867019 h 3398880"/>
              <a:gd name="connsiteX3" fmla="*/ 3063592 w 13497328"/>
              <a:gd name="connsiteY3" fmla="*/ 2743749 h 3398880"/>
              <a:gd name="connsiteX4" fmla="*/ 4613504 w 13497328"/>
              <a:gd name="connsiteY4" fmla="*/ 3167024 h 3398880"/>
              <a:gd name="connsiteX5" fmla="*/ 7630313 w 13497328"/>
              <a:gd name="connsiteY5" fmla="*/ 733142 h 3398880"/>
              <a:gd name="connsiteX6" fmla="*/ 10114814 w 13497328"/>
              <a:gd name="connsiteY6" fmla="*/ 2464544 h 3398880"/>
              <a:gd name="connsiteX7" fmla="*/ 13497328 w 13497328"/>
              <a:gd name="connsiteY7" fmla="*/ 910355 h 3398880"/>
              <a:gd name="connsiteX0" fmla="*/ 0 w 13497328"/>
              <a:gd name="connsiteY0" fmla="*/ 1442689 h 3406848"/>
              <a:gd name="connsiteX1" fmla="*/ 2707150 w 13497328"/>
              <a:gd name="connsiteY1" fmla="*/ 51806 h 3406848"/>
              <a:gd name="connsiteX2" fmla="*/ 4301859 w 13497328"/>
              <a:gd name="connsiteY2" fmla="*/ 874987 h 3406848"/>
              <a:gd name="connsiteX3" fmla="*/ 3063592 w 13497328"/>
              <a:gd name="connsiteY3" fmla="*/ 2751717 h 3406848"/>
              <a:gd name="connsiteX4" fmla="*/ 4613504 w 13497328"/>
              <a:gd name="connsiteY4" fmla="*/ 3174992 h 3406848"/>
              <a:gd name="connsiteX5" fmla="*/ 7630313 w 13497328"/>
              <a:gd name="connsiteY5" fmla="*/ 741110 h 3406848"/>
              <a:gd name="connsiteX6" fmla="*/ 10114814 w 13497328"/>
              <a:gd name="connsiteY6" fmla="*/ 2472512 h 3406848"/>
              <a:gd name="connsiteX7" fmla="*/ 13497328 w 13497328"/>
              <a:gd name="connsiteY7" fmla="*/ 918323 h 3406848"/>
              <a:gd name="connsiteX0" fmla="*/ 0 w 13646197"/>
              <a:gd name="connsiteY0" fmla="*/ 1811586 h 3775745"/>
              <a:gd name="connsiteX1" fmla="*/ 2707150 w 13646197"/>
              <a:gd name="connsiteY1" fmla="*/ 420703 h 3775745"/>
              <a:gd name="connsiteX2" fmla="*/ 4301859 w 13646197"/>
              <a:gd name="connsiteY2" fmla="*/ 1243884 h 3775745"/>
              <a:gd name="connsiteX3" fmla="*/ 3063592 w 13646197"/>
              <a:gd name="connsiteY3" fmla="*/ 3120614 h 3775745"/>
              <a:gd name="connsiteX4" fmla="*/ 4613504 w 13646197"/>
              <a:gd name="connsiteY4" fmla="*/ 3543889 h 3775745"/>
              <a:gd name="connsiteX5" fmla="*/ 7630313 w 13646197"/>
              <a:gd name="connsiteY5" fmla="*/ 1110007 h 3775745"/>
              <a:gd name="connsiteX6" fmla="*/ 10114814 w 13646197"/>
              <a:gd name="connsiteY6" fmla="*/ 2841409 h 3775745"/>
              <a:gd name="connsiteX7" fmla="*/ 13646197 w 13646197"/>
              <a:gd name="connsiteY7" fmla="*/ 0 h 3775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646197" h="3775745">
                <a:moveTo>
                  <a:pt x="0" y="1811586"/>
                </a:moveTo>
                <a:cubicBezTo>
                  <a:pt x="488282" y="1319294"/>
                  <a:pt x="1439359" y="629740"/>
                  <a:pt x="2707150" y="420703"/>
                </a:cubicBezTo>
                <a:cubicBezTo>
                  <a:pt x="3974941" y="211666"/>
                  <a:pt x="4406208" y="665177"/>
                  <a:pt x="4301859" y="1243884"/>
                </a:cubicBezTo>
                <a:cubicBezTo>
                  <a:pt x="4197510" y="1822591"/>
                  <a:pt x="3041426" y="2302565"/>
                  <a:pt x="3063592" y="3120614"/>
                </a:cubicBezTo>
                <a:cubicBezTo>
                  <a:pt x="3085758" y="3938663"/>
                  <a:pt x="3852384" y="3878990"/>
                  <a:pt x="4613504" y="3543889"/>
                </a:cubicBezTo>
                <a:cubicBezTo>
                  <a:pt x="5374624" y="3208788"/>
                  <a:pt x="6713428" y="1227087"/>
                  <a:pt x="7630313" y="1110007"/>
                </a:cubicBezTo>
                <a:cubicBezTo>
                  <a:pt x="8547198" y="992927"/>
                  <a:pt x="9112167" y="3026410"/>
                  <a:pt x="10114814" y="2841409"/>
                </a:cubicBezTo>
                <a:cubicBezTo>
                  <a:pt x="11117461" y="2656408"/>
                  <a:pt x="11233672" y="750856"/>
                  <a:pt x="13646197" y="0"/>
                </a:cubicBezTo>
              </a:path>
            </a:pathLst>
          </a:custGeom>
          <a:noFill/>
          <a:ln w="38100" cap="flat" cmpd="sng" algn="ctr">
            <a:solidFill>
              <a:srgbClr val="EAEAEA">
                <a:lumMod val="90000"/>
              </a:srgbClr>
            </a:solidFill>
            <a:prstDash val="solid"/>
            <a:headEnd type="none" w="med" len="med"/>
            <a:tailEnd type="none" w="med" len="med"/>
          </a:ln>
          <a:effectLst/>
        </p:spPr>
        <p:txBody>
          <a:bodyPr rtlCol="0" anchor="ctr"/>
          <a:lstStyle/>
          <a:p>
            <a:pPr algn="ctr" defTabSz="685503">
              <a:defRPr/>
            </a:pPr>
            <a:endParaRPr lang="en-US" sz="1323" kern="0">
              <a:solidFill>
                <a:srgbClr val="FFFFFF"/>
              </a:solidFill>
              <a:latin typeface="Segoe UI"/>
            </a:endParaRPr>
          </a:p>
        </p:txBody>
      </p:sp>
      <p:sp>
        <p:nvSpPr>
          <p:cNvPr id="406" name="Oval 405"/>
          <p:cNvSpPr/>
          <p:nvPr/>
        </p:nvSpPr>
        <p:spPr bwMode="auto">
          <a:xfrm>
            <a:off x="552973" y="2243881"/>
            <a:ext cx="109010" cy="109010"/>
          </a:xfrm>
          <a:prstGeom prst="ellipse">
            <a:avLst/>
          </a:prstGeom>
          <a:solidFill>
            <a:srgbClr val="49D598"/>
          </a:solidFill>
          <a:ln w="19050" cap="flat" cmpd="sng" algn="ctr">
            <a:solidFill>
              <a:schemeClr val="bg1"/>
            </a:solidFill>
            <a:prstDash val="solid"/>
            <a:headEnd type="none" w="med" len="med"/>
            <a:tailEnd type="none" w="med" len="med"/>
          </a:ln>
          <a:effectLst/>
        </p:spPr>
        <p:txBody>
          <a:bodyPr rot="0" spcFirstLastPara="0" vertOverflow="overflow" horzOverflow="overflow" vert="horz" wrap="square" lIns="134409" tIns="107528" rIns="134409" bIns="107528" numCol="1" spcCol="0" rtlCol="0" fromWordArt="0" anchor="t" anchorCtr="0" forceAA="0" compatLnSpc="1">
            <a:prstTxWarp prst="textNoShape">
              <a:avLst/>
            </a:prstTxWarp>
            <a:noAutofit/>
          </a:bodyPr>
          <a:lstStyle/>
          <a:p>
            <a:pPr algn="ctr" defTabSz="685306" fontAlgn="base">
              <a:spcBef>
                <a:spcPct val="0"/>
              </a:spcBef>
              <a:spcAft>
                <a:spcPct val="0"/>
              </a:spcAft>
              <a:defRPr/>
            </a:pPr>
            <a:endParaRPr lang="en-US" sz="1764"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07" name="Rectangle 406"/>
          <p:cNvSpPr/>
          <p:nvPr/>
        </p:nvSpPr>
        <p:spPr>
          <a:xfrm>
            <a:off x="606217" y="2338782"/>
            <a:ext cx="661147" cy="363754"/>
          </a:xfrm>
          <a:prstGeom prst="rect">
            <a:avLst/>
          </a:prstGeom>
        </p:spPr>
        <p:txBody>
          <a:bodyPr wrap="square" lIns="0" tIns="0" rIns="0" bIns="0" anchor="ctr">
            <a:spAutoFit/>
          </a:bodyPr>
          <a:lstStyle/>
          <a:p>
            <a:pPr defTabSz="685306" fontAlgn="base">
              <a:spcBef>
                <a:spcPct val="0"/>
              </a:spcBef>
              <a:spcAft>
                <a:spcPct val="0"/>
              </a:spcAft>
              <a:defRPr/>
            </a:pPr>
            <a:r>
              <a:rPr lang="en-GB" sz="788">
                <a:solidFill>
                  <a:srgbClr val="505050"/>
                </a:solidFill>
                <a:latin typeface="Segoe UI"/>
                <a:ea typeface="Segoe UI" panose="020B0502040204020203" pitchFamily="34" charset="0"/>
                <a:cs typeface="Segoe UI"/>
              </a:rPr>
              <a:t>Generate awareness &amp; nurture leads</a:t>
            </a:r>
            <a:endParaRPr lang="en-GB" sz="675">
              <a:solidFill>
                <a:srgbClr val="505050"/>
              </a:solidFill>
              <a:latin typeface="Segoe UI"/>
              <a:ea typeface="Segoe UI" panose="020B0502040204020203" pitchFamily="34" charset="0"/>
              <a:cs typeface="Segoe UI"/>
            </a:endParaRPr>
          </a:p>
        </p:txBody>
      </p:sp>
      <p:sp>
        <p:nvSpPr>
          <p:cNvPr id="408" name="Rectangle 407"/>
          <p:cNvSpPr/>
          <p:nvPr/>
        </p:nvSpPr>
        <p:spPr>
          <a:xfrm>
            <a:off x="1892065" y="1835490"/>
            <a:ext cx="751298" cy="242502"/>
          </a:xfrm>
          <a:prstGeom prst="rect">
            <a:avLst/>
          </a:prstGeom>
        </p:spPr>
        <p:txBody>
          <a:bodyPr wrap="square" lIns="0" tIns="0" rIns="0" bIns="0" anchor="ctr">
            <a:spAutoFit/>
          </a:bodyPr>
          <a:lstStyle/>
          <a:p>
            <a:pPr defTabSz="685306" fontAlgn="base">
              <a:spcBef>
                <a:spcPct val="0"/>
              </a:spcBef>
              <a:spcAft>
                <a:spcPct val="0"/>
              </a:spcAft>
              <a:defRPr/>
            </a:pPr>
            <a:r>
              <a:rPr lang="en-GB" sz="788">
                <a:solidFill>
                  <a:srgbClr val="505050"/>
                </a:solidFill>
                <a:latin typeface="Segoe UI"/>
                <a:ea typeface="Segoe UI" panose="020B0502040204020203" pitchFamily="34" charset="0"/>
                <a:cs typeface="Segoe UI"/>
              </a:rPr>
              <a:t>AI creates Sales Action Plan</a:t>
            </a:r>
          </a:p>
        </p:txBody>
      </p:sp>
      <p:sp>
        <p:nvSpPr>
          <p:cNvPr id="429" name="Oval 428"/>
          <p:cNvSpPr/>
          <p:nvPr/>
        </p:nvSpPr>
        <p:spPr bwMode="auto">
          <a:xfrm>
            <a:off x="1690316" y="1717900"/>
            <a:ext cx="109010" cy="109010"/>
          </a:xfrm>
          <a:prstGeom prst="ellipse">
            <a:avLst/>
          </a:prstGeom>
          <a:solidFill>
            <a:srgbClr val="49D598"/>
          </a:solidFill>
          <a:ln w="19050" cap="flat" cmpd="sng" algn="ctr">
            <a:solidFill>
              <a:schemeClr val="bg1"/>
            </a:solidFill>
            <a:prstDash val="solid"/>
            <a:headEnd type="none" w="med" len="med"/>
            <a:tailEnd type="none" w="med" len="med"/>
          </a:ln>
          <a:effectLst/>
        </p:spPr>
        <p:txBody>
          <a:bodyPr rot="0" spcFirstLastPara="0" vertOverflow="overflow" horzOverflow="overflow" vert="horz" wrap="square" lIns="134409" tIns="107528" rIns="134409" bIns="107528" numCol="1" spcCol="0" rtlCol="0" fromWordArt="0" anchor="t" anchorCtr="0" forceAA="0" compatLnSpc="1">
            <a:prstTxWarp prst="textNoShape">
              <a:avLst/>
            </a:prstTxWarp>
            <a:noAutofit/>
          </a:bodyPr>
          <a:lstStyle/>
          <a:p>
            <a:pPr algn="ctr" defTabSz="685306" fontAlgn="base">
              <a:spcBef>
                <a:spcPct val="0"/>
              </a:spcBef>
              <a:spcAft>
                <a:spcPct val="0"/>
              </a:spcAft>
              <a:defRPr/>
            </a:pPr>
            <a:endParaRPr lang="en-US" sz="1764"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55" name="Oval 454"/>
          <p:cNvSpPr/>
          <p:nvPr/>
        </p:nvSpPr>
        <p:spPr bwMode="auto">
          <a:xfrm>
            <a:off x="2819251" y="2385637"/>
            <a:ext cx="109010" cy="109010"/>
          </a:xfrm>
          <a:prstGeom prst="ellipse">
            <a:avLst/>
          </a:prstGeom>
          <a:solidFill>
            <a:srgbClr val="49D598"/>
          </a:solidFill>
          <a:ln w="19050" cap="flat" cmpd="sng" algn="ctr">
            <a:solidFill>
              <a:schemeClr val="bg1"/>
            </a:solidFill>
            <a:prstDash val="solid"/>
            <a:headEnd type="none" w="med" len="med"/>
            <a:tailEnd type="none" w="med" len="med"/>
          </a:ln>
          <a:effectLst/>
        </p:spPr>
        <p:txBody>
          <a:bodyPr rot="0" spcFirstLastPara="0" vertOverflow="overflow" horzOverflow="overflow" vert="horz" wrap="square" lIns="134409" tIns="107528" rIns="134409" bIns="107528" numCol="1" spcCol="0" rtlCol="0" fromWordArt="0" anchor="t" anchorCtr="0" forceAA="0" compatLnSpc="1">
            <a:prstTxWarp prst="textNoShape">
              <a:avLst/>
            </a:prstTxWarp>
            <a:noAutofit/>
          </a:bodyPr>
          <a:lstStyle/>
          <a:p>
            <a:pPr algn="ctr" defTabSz="685306" fontAlgn="base">
              <a:spcBef>
                <a:spcPct val="0"/>
              </a:spcBef>
              <a:spcAft>
                <a:spcPct val="0"/>
              </a:spcAft>
              <a:defRPr/>
            </a:pPr>
            <a:endParaRPr lang="en-US" sz="1764"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56" name="Rectangle 455"/>
          <p:cNvSpPr/>
          <p:nvPr/>
        </p:nvSpPr>
        <p:spPr>
          <a:xfrm>
            <a:off x="1667657" y="2364284"/>
            <a:ext cx="961739" cy="242502"/>
          </a:xfrm>
          <a:prstGeom prst="rect">
            <a:avLst/>
          </a:prstGeom>
        </p:spPr>
        <p:txBody>
          <a:bodyPr wrap="square" lIns="0" tIns="0" rIns="0" bIns="0" anchor="ctr">
            <a:spAutoFit/>
          </a:bodyPr>
          <a:lstStyle/>
          <a:p>
            <a:pPr algn="r" defTabSz="685306" fontAlgn="base">
              <a:spcBef>
                <a:spcPct val="0"/>
              </a:spcBef>
              <a:spcAft>
                <a:spcPct val="0"/>
              </a:spcAft>
              <a:defRPr/>
            </a:pPr>
            <a:r>
              <a:rPr lang="en-GB" sz="788">
                <a:solidFill>
                  <a:srgbClr val="505050"/>
                </a:solidFill>
                <a:latin typeface="Segoe UI"/>
                <a:ea typeface="Segoe UI" panose="020B0502040204020203" pitchFamily="34" charset="0"/>
                <a:cs typeface="Segoe UI"/>
              </a:rPr>
              <a:t>Leverage unified a Customer 360 profile</a:t>
            </a:r>
          </a:p>
        </p:txBody>
      </p:sp>
      <p:sp>
        <p:nvSpPr>
          <p:cNvPr id="461" name="Oval 460"/>
          <p:cNvSpPr/>
          <p:nvPr/>
        </p:nvSpPr>
        <p:spPr bwMode="auto">
          <a:xfrm>
            <a:off x="2169255" y="3104853"/>
            <a:ext cx="109010" cy="109010"/>
          </a:xfrm>
          <a:prstGeom prst="ellipse">
            <a:avLst/>
          </a:prstGeom>
          <a:solidFill>
            <a:srgbClr val="49D598"/>
          </a:solidFill>
          <a:ln w="19050" cap="flat" cmpd="sng" algn="ctr">
            <a:solidFill>
              <a:schemeClr val="bg1"/>
            </a:solidFill>
            <a:prstDash val="solid"/>
            <a:headEnd type="none" w="med" len="med"/>
            <a:tailEnd type="none" w="med" len="med"/>
          </a:ln>
          <a:effectLst/>
        </p:spPr>
        <p:txBody>
          <a:bodyPr rot="0" spcFirstLastPara="0" vertOverflow="overflow" horzOverflow="overflow" vert="horz" wrap="square" lIns="134409" tIns="107528" rIns="134409" bIns="107528" numCol="1" spcCol="0" rtlCol="0" fromWordArt="0" anchor="t" anchorCtr="0" forceAA="0" compatLnSpc="1">
            <a:prstTxWarp prst="textNoShape">
              <a:avLst/>
            </a:prstTxWarp>
            <a:noAutofit/>
          </a:bodyPr>
          <a:lstStyle/>
          <a:p>
            <a:pPr algn="ctr" defTabSz="685306" fontAlgn="base">
              <a:spcBef>
                <a:spcPct val="0"/>
              </a:spcBef>
              <a:spcAft>
                <a:spcPct val="0"/>
              </a:spcAft>
              <a:defRPr/>
            </a:pPr>
            <a:endParaRPr lang="en-US" sz="1764"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62" name="Rectangle 461"/>
          <p:cNvSpPr/>
          <p:nvPr/>
        </p:nvSpPr>
        <p:spPr>
          <a:xfrm>
            <a:off x="1069756" y="2947380"/>
            <a:ext cx="949928" cy="363754"/>
          </a:xfrm>
          <a:prstGeom prst="rect">
            <a:avLst/>
          </a:prstGeom>
        </p:spPr>
        <p:txBody>
          <a:bodyPr wrap="square" lIns="0" tIns="0" rIns="0" bIns="0" anchor="ctr">
            <a:spAutoFit/>
          </a:bodyPr>
          <a:lstStyle/>
          <a:p>
            <a:pPr algn="r" defTabSz="685306" fontAlgn="base">
              <a:spcBef>
                <a:spcPct val="0"/>
              </a:spcBef>
              <a:spcAft>
                <a:spcPct val="0"/>
              </a:spcAft>
              <a:defRPr/>
            </a:pPr>
            <a:r>
              <a:rPr lang="en-GB" sz="788">
                <a:solidFill>
                  <a:srgbClr val="505050"/>
                </a:solidFill>
                <a:latin typeface="Segoe UI"/>
                <a:ea typeface="Segoe UI" panose="020B0502040204020203" pitchFamily="34" charset="0"/>
                <a:cs typeface="Segoe UI"/>
              </a:rPr>
              <a:t>Receive guidance from AI for cross-sell/ up-</a:t>
            </a:r>
            <a:r>
              <a:rPr lang="en-GB" sz="788" err="1">
                <a:solidFill>
                  <a:srgbClr val="505050"/>
                </a:solidFill>
                <a:latin typeface="Segoe UI"/>
                <a:ea typeface="Segoe UI" panose="020B0502040204020203" pitchFamily="34" charset="0"/>
                <a:cs typeface="Segoe UI"/>
              </a:rPr>
              <a:t>selI</a:t>
            </a:r>
            <a:endParaRPr lang="en-GB" sz="788">
              <a:solidFill>
                <a:srgbClr val="505050"/>
              </a:solidFill>
              <a:latin typeface="Segoe UI"/>
              <a:ea typeface="Segoe UI" panose="020B0502040204020203" pitchFamily="34" charset="0"/>
              <a:cs typeface="Segoe UI"/>
            </a:endParaRPr>
          </a:p>
        </p:txBody>
      </p:sp>
      <p:sp>
        <p:nvSpPr>
          <p:cNvPr id="463" name="Oval 462"/>
          <p:cNvSpPr/>
          <p:nvPr/>
        </p:nvSpPr>
        <p:spPr bwMode="auto">
          <a:xfrm>
            <a:off x="2735320" y="3807988"/>
            <a:ext cx="109010" cy="109010"/>
          </a:xfrm>
          <a:prstGeom prst="ellipse">
            <a:avLst/>
          </a:prstGeom>
          <a:solidFill>
            <a:srgbClr val="49D598"/>
          </a:solidFill>
          <a:ln w="19050" cap="flat" cmpd="sng" algn="ctr">
            <a:solidFill>
              <a:schemeClr val="bg1"/>
            </a:solidFill>
            <a:prstDash val="solid"/>
            <a:headEnd type="none" w="med" len="med"/>
            <a:tailEnd type="none" w="med" len="med"/>
          </a:ln>
          <a:effectLst/>
        </p:spPr>
        <p:txBody>
          <a:bodyPr rot="0" spcFirstLastPara="0" vertOverflow="overflow" horzOverflow="overflow" vert="horz" wrap="square" lIns="134409" tIns="107528" rIns="134409" bIns="107528" numCol="1" spcCol="0" rtlCol="0" fromWordArt="0" anchor="t" anchorCtr="0" forceAA="0" compatLnSpc="1">
            <a:prstTxWarp prst="textNoShape">
              <a:avLst/>
            </a:prstTxWarp>
            <a:noAutofit/>
          </a:bodyPr>
          <a:lstStyle/>
          <a:p>
            <a:pPr algn="ctr" defTabSz="685306" fontAlgn="base">
              <a:spcBef>
                <a:spcPct val="0"/>
              </a:spcBef>
              <a:spcAft>
                <a:spcPct val="0"/>
              </a:spcAft>
              <a:defRPr/>
            </a:pPr>
            <a:endParaRPr lang="en-US" sz="1764"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65" name="Rectangle 464"/>
          <p:cNvSpPr/>
          <p:nvPr/>
        </p:nvSpPr>
        <p:spPr>
          <a:xfrm>
            <a:off x="1746555" y="4004667"/>
            <a:ext cx="1043270" cy="363754"/>
          </a:xfrm>
          <a:prstGeom prst="rect">
            <a:avLst/>
          </a:prstGeom>
        </p:spPr>
        <p:txBody>
          <a:bodyPr wrap="square" lIns="0" tIns="0" rIns="0" bIns="0" anchor="ctr">
            <a:spAutoFit/>
          </a:bodyPr>
          <a:lstStyle/>
          <a:p>
            <a:pPr algn="r" defTabSz="685306" fontAlgn="base">
              <a:spcBef>
                <a:spcPct val="0"/>
              </a:spcBef>
              <a:spcAft>
                <a:spcPct val="0"/>
              </a:spcAft>
              <a:defRPr/>
            </a:pPr>
            <a:r>
              <a:rPr lang="en-GB" sz="788">
                <a:solidFill>
                  <a:srgbClr val="505050"/>
                </a:solidFill>
                <a:latin typeface="Segoe UI"/>
                <a:ea typeface="Segoe UI" panose="020B0502040204020203" pitchFamily="34" charset="0"/>
                <a:cs typeface="Segoe UI"/>
              </a:rPr>
              <a:t>Provide fully mobile intelligent field </a:t>
            </a:r>
            <a:br>
              <a:rPr lang="en-GB" sz="788">
                <a:solidFill>
                  <a:srgbClr val="505050"/>
                </a:solidFill>
                <a:latin typeface="Segoe UI"/>
                <a:ea typeface="Segoe UI" panose="020B0502040204020203" pitchFamily="34" charset="0"/>
                <a:cs typeface="Segoe UI"/>
              </a:rPr>
            </a:br>
            <a:r>
              <a:rPr lang="en-GB" sz="788">
                <a:solidFill>
                  <a:srgbClr val="505050"/>
                </a:solidFill>
                <a:latin typeface="Segoe UI"/>
                <a:ea typeface="Segoe UI" panose="020B0502040204020203" pitchFamily="34" charset="0"/>
                <a:cs typeface="Segoe UI"/>
              </a:rPr>
              <a:t>sales experience</a:t>
            </a:r>
            <a:endParaRPr lang="en-US" sz="1350">
              <a:solidFill>
                <a:srgbClr val="3C3C41"/>
              </a:solidFill>
              <a:latin typeface="Segoe UI"/>
            </a:endParaRPr>
          </a:p>
        </p:txBody>
      </p:sp>
      <p:sp>
        <p:nvSpPr>
          <p:cNvPr id="466" name="Oval 465"/>
          <p:cNvSpPr/>
          <p:nvPr/>
        </p:nvSpPr>
        <p:spPr bwMode="auto">
          <a:xfrm>
            <a:off x="3968762" y="2900129"/>
            <a:ext cx="109010" cy="109010"/>
          </a:xfrm>
          <a:prstGeom prst="ellipse">
            <a:avLst/>
          </a:prstGeom>
          <a:solidFill>
            <a:srgbClr val="49D598"/>
          </a:solidFill>
          <a:ln w="19050" cap="flat" cmpd="sng" algn="ctr">
            <a:solidFill>
              <a:schemeClr val="bg1"/>
            </a:solidFill>
            <a:prstDash val="solid"/>
            <a:headEnd type="none" w="med" len="med"/>
            <a:tailEnd type="none" w="med" len="med"/>
          </a:ln>
          <a:effectLst/>
        </p:spPr>
        <p:txBody>
          <a:bodyPr rot="0" spcFirstLastPara="0" vertOverflow="overflow" horzOverflow="overflow" vert="horz" wrap="square" lIns="134409" tIns="107528" rIns="134409" bIns="107528" numCol="1" spcCol="0" rtlCol="0" fromWordArt="0" anchor="t" anchorCtr="0" forceAA="0" compatLnSpc="1">
            <a:prstTxWarp prst="textNoShape">
              <a:avLst/>
            </a:prstTxWarp>
            <a:noAutofit/>
          </a:bodyPr>
          <a:lstStyle/>
          <a:p>
            <a:pPr algn="ctr" defTabSz="685306" fontAlgn="base">
              <a:spcBef>
                <a:spcPct val="0"/>
              </a:spcBef>
              <a:spcAft>
                <a:spcPct val="0"/>
              </a:spcAft>
              <a:defRPr/>
            </a:pPr>
            <a:endParaRPr lang="en-US" sz="1764"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70" name="Oval 469"/>
          <p:cNvSpPr/>
          <p:nvPr/>
        </p:nvSpPr>
        <p:spPr bwMode="auto">
          <a:xfrm>
            <a:off x="4940274" y="2138341"/>
            <a:ext cx="109010" cy="109010"/>
          </a:xfrm>
          <a:prstGeom prst="ellipse">
            <a:avLst/>
          </a:prstGeom>
          <a:solidFill>
            <a:srgbClr val="49D598"/>
          </a:solidFill>
          <a:ln w="19050" cap="flat" cmpd="sng" algn="ctr">
            <a:solidFill>
              <a:schemeClr val="bg1"/>
            </a:solidFill>
            <a:prstDash val="solid"/>
            <a:headEnd type="none" w="med" len="med"/>
            <a:tailEnd type="none" w="med" len="med"/>
          </a:ln>
          <a:effectLst/>
        </p:spPr>
        <p:txBody>
          <a:bodyPr rot="0" spcFirstLastPara="0" vertOverflow="overflow" horzOverflow="overflow" vert="horz" wrap="square" lIns="134409" tIns="107528" rIns="134409" bIns="107528" numCol="1" spcCol="0" rtlCol="0" fromWordArt="0" anchor="t" anchorCtr="0" forceAA="0" compatLnSpc="1">
            <a:prstTxWarp prst="textNoShape">
              <a:avLst/>
            </a:prstTxWarp>
            <a:noAutofit/>
          </a:bodyPr>
          <a:lstStyle/>
          <a:p>
            <a:pPr algn="ctr" defTabSz="685306" fontAlgn="base">
              <a:spcBef>
                <a:spcPct val="0"/>
              </a:spcBef>
              <a:spcAft>
                <a:spcPct val="0"/>
              </a:spcAft>
              <a:defRPr/>
            </a:pPr>
            <a:endParaRPr lang="en-US" sz="1764"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71" name="Rectangle 470"/>
          <p:cNvSpPr/>
          <p:nvPr/>
        </p:nvSpPr>
        <p:spPr>
          <a:xfrm>
            <a:off x="5117579" y="1667849"/>
            <a:ext cx="939580" cy="363754"/>
          </a:xfrm>
          <a:prstGeom prst="rect">
            <a:avLst/>
          </a:prstGeom>
        </p:spPr>
        <p:txBody>
          <a:bodyPr wrap="square" lIns="0" tIns="0" rIns="0" bIns="0" anchor="ctr">
            <a:spAutoFit/>
          </a:bodyPr>
          <a:lstStyle/>
          <a:p>
            <a:pPr defTabSz="685306" fontAlgn="base">
              <a:spcBef>
                <a:spcPct val="0"/>
              </a:spcBef>
              <a:spcAft>
                <a:spcPct val="0"/>
              </a:spcAft>
              <a:defRPr/>
            </a:pPr>
            <a:r>
              <a:rPr lang="en-GB" sz="788">
                <a:solidFill>
                  <a:srgbClr val="505050"/>
                </a:solidFill>
                <a:latin typeface="Segoe UI"/>
                <a:ea typeface="Segoe UI" panose="020B0502040204020203" pitchFamily="34" charset="0"/>
                <a:cs typeface="Segoe UI"/>
              </a:rPr>
              <a:t>Complete Purchase &amp; Auto-provision select services</a:t>
            </a:r>
          </a:p>
        </p:txBody>
      </p:sp>
      <p:sp>
        <p:nvSpPr>
          <p:cNvPr id="474" name="Oval 473"/>
          <p:cNvSpPr/>
          <p:nvPr/>
        </p:nvSpPr>
        <p:spPr bwMode="auto">
          <a:xfrm>
            <a:off x="5751247" y="2688407"/>
            <a:ext cx="109010" cy="109010"/>
          </a:xfrm>
          <a:prstGeom prst="ellipse">
            <a:avLst/>
          </a:prstGeom>
          <a:solidFill>
            <a:srgbClr val="49D598"/>
          </a:solidFill>
          <a:ln w="19050" cap="flat" cmpd="sng" algn="ctr">
            <a:solidFill>
              <a:schemeClr val="bg1"/>
            </a:solidFill>
            <a:prstDash val="solid"/>
            <a:headEnd type="none" w="med" len="med"/>
            <a:tailEnd type="none" w="med" len="med"/>
          </a:ln>
          <a:effectLst/>
        </p:spPr>
        <p:txBody>
          <a:bodyPr rot="0" spcFirstLastPara="0" vertOverflow="overflow" horzOverflow="overflow" vert="horz" wrap="square" lIns="134409" tIns="107528" rIns="134409" bIns="107528" numCol="1" spcCol="0" rtlCol="0" fromWordArt="0" anchor="t" anchorCtr="0" forceAA="0" compatLnSpc="1">
            <a:prstTxWarp prst="textNoShape">
              <a:avLst/>
            </a:prstTxWarp>
            <a:noAutofit/>
          </a:bodyPr>
          <a:lstStyle/>
          <a:p>
            <a:pPr algn="ctr" defTabSz="685306" fontAlgn="base">
              <a:spcBef>
                <a:spcPct val="0"/>
              </a:spcBef>
              <a:spcAft>
                <a:spcPct val="0"/>
              </a:spcAft>
              <a:defRPr/>
            </a:pPr>
            <a:endParaRPr lang="en-US" sz="1764"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75" name="Rectangle 474"/>
          <p:cNvSpPr/>
          <p:nvPr/>
        </p:nvSpPr>
        <p:spPr>
          <a:xfrm>
            <a:off x="5154203" y="3072147"/>
            <a:ext cx="888311" cy="363754"/>
          </a:xfrm>
          <a:prstGeom prst="rect">
            <a:avLst/>
          </a:prstGeom>
        </p:spPr>
        <p:txBody>
          <a:bodyPr wrap="square" lIns="0" tIns="0" rIns="0" bIns="0" anchor="ctr">
            <a:spAutoFit/>
          </a:bodyPr>
          <a:lstStyle/>
          <a:p>
            <a:pPr algn="r" defTabSz="685306" fontAlgn="base">
              <a:spcBef>
                <a:spcPct val="0"/>
              </a:spcBef>
              <a:spcAft>
                <a:spcPct val="0"/>
              </a:spcAft>
              <a:defRPr/>
            </a:pPr>
            <a:r>
              <a:rPr lang="en-GB" sz="788">
                <a:solidFill>
                  <a:srgbClr val="505050"/>
                </a:solidFill>
                <a:latin typeface="Segoe UI"/>
                <a:ea typeface="Segoe UI" panose="020B0502040204020203" pitchFamily="34" charset="0"/>
                <a:cs typeface="Segoe UI"/>
              </a:rPr>
              <a:t>Field Technicians notified when order is approved</a:t>
            </a:r>
          </a:p>
        </p:txBody>
      </p:sp>
      <p:sp>
        <p:nvSpPr>
          <p:cNvPr id="499" name="Rectangle 498"/>
          <p:cNvSpPr/>
          <p:nvPr/>
        </p:nvSpPr>
        <p:spPr>
          <a:xfrm>
            <a:off x="6633233" y="3512711"/>
            <a:ext cx="718628" cy="485005"/>
          </a:xfrm>
          <a:prstGeom prst="rect">
            <a:avLst/>
          </a:prstGeom>
        </p:spPr>
        <p:txBody>
          <a:bodyPr wrap="square" lIns="0" tIns="0" rIns="0" bIns="0" anchor="ctr">
            <a:spAutoFit/>
          </a:bodyPr>
          <a:lstStyle/>
          <a:p>
            <a:pPr defTabSz="685306" fontAlgn="base">
              <a:spcBef>
                <a:spcPct val="0"/>
              </a:spcBef>
              <a:spcAft>
                <a:spcPct val="0"/>
              </a:spcAft>
              <a:defRPr/>
            </a:pPr>
            <a:r>
              <a:rPr lang="en-GB" sz="788">
                <a:solidFill>
                  <a:srgbClr val="505050"/>
                </a:solidFill>
                <a:latin typeface="Segoe UI"/>
                <a:ea typeface="Segoe UI" panose="020B0502040204020203" pitchFamily="34" charset="0"/>
                <a:cs typeface="Segoe UI"/>
              </a:rPr>
              <a:t>Analytics &amp; Reporting for management and customers</a:t>
            </a:r>
          </a:p>
        </p:txBody>
      </p:sp>
      <p:sp>
        <p:nvSpPr>
          <p:cNvPr id="500" name="Oval 499"/>
          <p:cNvSpPr/>
          <p:nvPr/>
        </p:nvSpPr>
        <p:spPr bwMode="auto">
          <a:xfrm>
            <a:off x="6559000" y="3262015"/>
            <a:ext cx="109010" cy="109010"/>
          </a:xfrm>
          <a:prstGeom prst="ellipse">
            <a:avLst/>
          </a:prstGeom>
          <a:solidFill>
            <a:srgbClr val="49D598"/>
          </a:solidFill>
          <a:ln w="19050" cap="flat" cmpd="sng" algn="ctr">
            <a:solidFill>
              <a:schemeClr val="bg1"/>
            </a:solidFill>
            <a:prstDash val="solid"/>
            <a:headEnd type="none" w="med" len="med"/>
            <a:tailEnd type="none" w="med" len="med"/>
          </a:ln>
          <a:effectLst/>
        </p:spPr>
        <p:txBody>
          <a:bodyPr rot="0" spcFirstLastPara="0" vertOverflow="overflow" horzOverflow="overflow" vert="horz" wrap="square" lIns="134409" tIns="107528" rIns="134409" bIns="107528" numCol="1" spcCol="0" rtlCol="0" fromWordArt="0" anchor="t" anchorCtr="0" forceAA="0" compatLnSpc="1">
            <a:prstTxWarp prst="textNoShape">
              <a:avLst/>
            </a:prstTxWarp>
            <a:noAutofit/>
          </a:bodyPr>
          <a:lstStyle/>
          <a:p>
            <a:pPr algn="ctr" defTabSz="685306" fontAlgn="base">
              <a:spcBef>
                <a:spcPct val="0"/>
              </a:spcBef>
              <a:spcAft>
                <a:spcPct val="0"/>
              </a:spcAft>
              <a:defRPr/>
            </a:pPr>
            <a:endParaRPr lang="en-US" sz="1764"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03" name="Oval 502"/>
          <p:cNvSpPr/>
          <p:nvPr/>
        </p:nvSpPr>
        <p:spPr bwMode="auto">
          <a:xfrm>
            <a:off x="7219660" y="2689074"/>
            <a:ext cx="109010" cy="109010"/>
          </a:xfrm>
          <a:prstGeom prst="ellipse">
            <a:avLst/>
          </a:prstGeom>
          <a:solidFill>
            <a:srgbClr val="49D598"/>
          </a:solidFill>
          <a:ln w="19050" cap="flat" cmpd="sng" algn="ctr">
            <a:solidFill>
              <a:schemeClr val="bg1"/>
            </a:solidFill>
            <a:prstDash val="solid"/>
            <a:headEnd type="none" w="med" len="med"/>
            <a:tailEnd type="none" w="med" len="med"/>
          </a:ln>
          <a:effectLst/>
        </p:spPr>
        <p:txBody>
          <a:bodyPr rot="0" spcFirstLastPara="0" vertOverflow="overflow" horzOverflow="overflow" vert="horz" wrap="square" lIns="134409" tIns="107528" rIns="134409" bIns="107528" numCol="1" spcCol="0" rtlCol="0" fromWordArt="0" anchor="t" anchorCtr="0" forceAA="0" compatLnSpc="1">
            <a:prstTxWarp prst="textNoShape">
              <a:avLst/>
            </a:prstTxWarp>
            <a:noAutofit/>
          </a:bodyPr>
          <a:lstStyle/>
          <a:p>
            <a:pPr algn="ctr" defTabSz="685306" fontAlgn="base">
              <a:spcBef>
                <a:spcPct val="0"/>
              </a:spcBef>
              <a:spcAft>
                <a:spcPct val="0"/>
              </a:spcAft>
              <a:defRPr/>
            </a:pPr>
            <a:endParaRPr lang="en-US" sz="1764"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04" name="Rectangle 503"/>
          <p:cNvSpPr/>
          <p:nvPr/>
        </p:nvSpPr>
        <p:spPr>
          <a:xfrm>
            <a:off x="7585583" y="2601259"/>
            <a:ext cx="839612" cy="242502"/>
          </a:xfrm>
          <a:prstGeom prst="rect">
            <a:avLst/>
          </a:prstGeom>
        </p:spPr>
        <p:txBody>
          <a:bodyPr wrap="square" lIns="0" tIns="0" rIns="0" bIns="0" anchor="ctr">
            <a:spAutoFit/>
          </a:bodyPr>
          <a:lstStyle/>
          <a:p>
            <a:pPr defTabSz="685306" fontAlgn="base">
              <a:spcBef>
                <a:spcPct val="0"/>
              </a:spcBef>
              <a:spcAft>
                <a:spcPct val="0"/>
              </a:spcAft>
              <a:defRPr/>
            </a:pPr>
            <a:r>
              <a:rPr lang="en-GB" sz="788">
                <a:solidFill>
                  <a:srgbClr val="505050"/>
                </a:solidFill>
                <a:latin typeface="Segoe UI"/>
                <a:ea typeface="Segoe UI" panose="020B0502040204020203" pitchFamily="34" charset="0"/>
                <a:cs typeface="Segoe UI"/>
              </a:rPr>
              <a:t>Collect feedback &amp; share satisfaction</a:t>
            </a:r>
            <a:endParaRPr lang="en-GB" sz="788">
              <a:solidFill>
                <a:srgbClr val="505050"/>
              </a:solidFill>
              <a:latin typeface="Segoe UI"/>
              <a:ea typeface="Segoe UI" panose="020B0502040204020203" pitchFamily="34" charset="0"/>
              <a:cs typeface="Segoe UI" panose="020B0502040204020203" pitchFamily="34" charset="0"/>
            </a:endParaRPr>
          </a:p>
        </p:txBody>
      </p:sp>
      <p:sp>
        <p:nvSpPr>
          <p:cNvPr id="505" name="Rectangle 504"/>
          <p:cNvSpPr/>
          <p:nvPr/>
        </p:nvSpPr>
        <p:spPr>
          <a:xfrm>
            <a:off x="8100497" y="1964136"/>
            <a:ext cx="743636" cy="242502"/>
          </a:xfrm>
          <a:prstGeom prst="rect">
            <a:avLst/>
          </a:prstGeom>
        </p:spPr>
        <p:txBody>
          <a:bodyPr wrap="square" lIns="0" tIns="0" rIns="0" bIns="0" anchor="ctr">
            <a:spAutoFit/>
          </a:bodyPr>
          <a:lstStyle/>
          <a:p>
            <a:pPr defTabSz="685306" fontAlgn="base">
              <a:spcBef>
                <a:spcPct val="0"/>
              </a:spcBef>
              <a:spcAft>
                <a:spcPct val="0"/>
              </a:spcAft>
              <a:defRPr/>
            </a:pPr>
            <a:r>
              <a:rPr lang="en-GB" sz="788">
                <a:solidFill>
                  <a:srgbClr val="505050"/>
                </a:solidFill>
                <a:latin typeface="Segoe UI" panose="020B0502040204020203" pitchFamily="34" charset="0"/>
                <a:ea typeface="Segoe UI" panose="020B0502040204020203" pitchFamily="34" charset="0"/>
                <a:cs typeface="Segoe UI" panose="020B0502040204020203" pitchFamily="34" charset="0"/>
              </a:rPr>
              <a:t>Automated bill payments</a:t>
            </a:r>
          </a:p>
        </p:txBody>
      </p:sp>
      <p:sp>
        <p:nvSpPr>
          <p:cNvPr id="506" name="Oval 505"/>
          <p:cNvSpPr/>
          <p:nvPr/>
        </p:nvSpPr>
        <p:spPr bwMode="auto">
          <a:xfrm>
            <a:off x="7835342" y="1951124"/>
            <a:ext cx="109010" cy="109010"/>
          </a:xfrm>
          <a:prstGeom prst="ellipse">
            <a:avLst/>
          </a:prstGeom>
          <a:solidFill>
            <a:srgbClr val="49D598"/>
          </a:solidFill>
          <a:ln w="19050" cap="flat" cmpd="sng" algn="ctr">
            <a:solidFill>
              <a:schemeClr val="bg1"/>
            </a:solidFill>
            <a:prstDash val="solid"/>
            <a:headEnd type="none" w="med" len="med"/>
            <a:tailEnd type="none" w="med" len="med"/>
          </a:ln>
          <a:effectLst/>
        </p:spPr>
        <p:txBody>
          <a:bodyPr rot="0" spcFirstLastPara="0" vertOverflow="overflow" horzOverflow="overflow" vert="horz" wrap="square" lIns="134409" tIns="107528" rIns="134409" bIns="107528" numCol="1" spcCol="0" rtlCol="0" fromWordArt="0" anchor="t" anchorCtr="0" forceAA="0" compatLnSpc="1">
            <a:prstTxWarp prst="textNoShape">
              <a:avLst/>
            </a:prstTxWarp>
            <a:noAutofit/>
          </a:bodyPr>
          <a:lstStyle/>
          <a:p>
            <a:pPr algn="ctr" defTabSz="685306" fontAlgn="base">
              <a:spcBef>
                <a:spcPct val="0"/>
              </a:spcBef>
              <a:spcAft>
                <a:spcPct val="0"/>
              </a:spcAft>
              <a:defRPr/>
            </a:pPr>
            <a:endParaRPr lang="en-US" sz="1764"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6" name="Title 5">
            <a:extLst>
              <a:ext uri="{FF2B5EF4-FFF2-40B4-BE49-F238E27FC236}">
                <a16:creationId xmlns:a16="http://schemas.microsoft.com/office/drawing/2014/main" id="{E78916F8-D6D3-CE48-A773-49E17CF82958}"/>
              </a:ext>
            </a:extLst>
          </p:cNvPr>
          <p:cNvSpPr>
            <a:spLocks noGrp="1"/>
          </p:cNvSpPr>
          <p:nvPr>
            <p:ph type="title"/>
          </p:nvPr>
        </p:nvSpPr>
        <p:spPr>
          <a:xfrm>
            <a:off x="342900" y="154485"/>
            <a:ext cx="8285010" cy="507831"/>
          </a:xfrm>
        </p:spPr>
        <p:txBody>
          <a:bodyPr vert="horz" wrap="square" lIns="0" tIns="0" rIns="0" bIns="0" rtlCol="0" anchor="t">
            <a:spAutoFit/>
          </a:bodyPr>
          <a:lstStyle/>
          <a:p>
            <a:pPr defTabSz="698243"/>
            <a:r>
              <a:rPr lang="en-IN" sz="3300" spc="-77" dirty="0">
                <a:solidFill>
                  <a:schemeClr val="tx1"/>
                </a:solidFill>
              </a:rPr>
              <a:t>What if we applied AI &amp; BI to your sales journey…</a:t>
            </a:r>
          </a:p>
        </p:txBody>
      </p:sp>
      <p:sp>
        <p:nvSpPr>
          <p:cNvPr id="129" name="Rectangle 128">
            <a:extLst>
              <a:ext uri="{FF2B5EF4-FFF2-40B4-BE49-F238E27FC236}">
                <a16:creationId xmlns:a16="http://schemas.microsoft.com/office/drawing/2014/main" id="{A152A034-0921-4368-83C7-0280C4F88F25}"/>
              </a:ext>
            </a:extLst>
          </p:cNvPr>
          <p:cNvSpPr/>
          <p:nvPr/>
        </p:nvSpPr>
        <p:spPr>
          <a:xfrm>
            <a:off x="4184672" y="2796738"/>
            <a:ext cx="870752" cy="606256"/>
          </a:xfrm>
          <a:prstGeom prst="rect">
            <a:avLst/>
          </a:prstGeom>
        </p:spPr>
        <p:txBody>
          <a:bodyPr wrap="square" lIns="0" tIns="0" rIns="0" bIns="0" anchor="ctr">
            <a:spAutoFit/>
          </a:bodyPr>
          <a:lstStyle/>
          <a:p>
            <a:pPr defTabSz="685306">
              <a:spcBef>
                <a:spcPct val="0"/>
              </a:spcBef>
              <a:spcAft>
                <a:spcPct val="0"/>
              </a:spcAft>
              <a:defRPr/>
            </a:pPr>
            <a:r>
              <a:rPr lang="en-GB" sz="788">
                <a:solidFill>
                  <a:srgbClr val="505050"/>
                </a:solidFill>
                <a:latin typeface="Segoe UI"/>
                <a:cs typeface="Segoe UI"/>
              </a:rPr>
              <a:t>Gain insights on your data &amp; </a:t>
            </a:r>
            <a:br>
              <a:rPr lang="en-GB" sz="788">
                <a:solidFill>
                  <a:srgbClr val="505050"/>
                </a:solidFill>
                <a:latin typeface="Segoe UI"/>
                <a:cs typeface="Segoe UI"/>
              </a:rPr>
            </a:br>
            <a:r>
              <a:rPr lang="en-GB" sz="788">
                <a:solidFill>
                  <a:srgbClr val="505050"/>
                </a:solidFill>
                <a:latin typeface="Segoe UI"/>
                <a:cs typeface="Segoe UI"/>
              </a:rPr>
              <a:t>update required data assets &amp; your CRM</a:t>
            </a:r>
            <a:endParaRPr lang="en-US" sz="1350">
              <a:solidFill>
                <a:srgbClr val="3C3C41"/>
              </a:solidFill>
              <a:latin typeface="Segoe UI"/>
            </a:endParaRPr>
          </a:p>
        </p:txBody>
      </p:sp>
      <p:sp>
        <p:nvSpPr>
          <p:cNvPr id="138" name="Oval 137">
            <a:extLst>
              <a:ext uri="{FF2B5EF4-FFF2-40B4-BE49-F238E27FC236}">
                <a16:creationId xmlns:a16="http://schemas.microsoft.com/office/drawing/2014/main" id="{6FE98B00-330F-452C-86A5-6C0DBDEB7F5C}"/>
              </a:ext>
            </a:extLst>
          </p:cNvPr>
          <p:cNvSpPr/>
          <p:nvPr/>
        </p:nvSpPr>
        <p:spPr bwMode="auto">
          <a:xfrm>
            <a:off x="3448148" y="3444106"/>
            <a:ext cx="109010" cy="109010"/>
          </a:xfrm>
          <a:prstGeom prst="ellipse">
            <a:avLst/>
          </a:prstGeom>
          <a:solidFill>
            <a:srgbClr val="49D598"/>
          </a:solidFill>
          <a:ln w="19050" cap="flat" cmpd="sng" algn="ctr">
            <a:solidFill>
              <a:schemeClr val="bg1"/>
            </a:solidFill>
            <a:prstDash val="solid"/>
            <a:headEnd type="none" w="med" len="med"/>
            <a:tailEnd type="none" w="med" len="med"/>
          </a:ln>
          <a:effectLst/>
        </p:spPr>
        <p:txBody>
          <a:bodyPr rot="0" spcFirstLastPara="0" vertOverflow="overflow" horzOverflow="overflow" vert="horz" wrap="square" lIns="134409" tIns="107528" rIns="134409" bIns="107528" numCol="1" spcCol="0" rtlCol="0" fromWordArt="0" anchor="t" anchorCtr="0" forceAA="0" compatLnSpc="1">
            <a:prstTxWarp prst="textNoShape">
              <a:avLst/>
            </a:prstTxWarp>
            <a:noAutofit/>
          </a:bodyPr>
          <a:lstStyle/>
          <a:p>
            <a:pPr algn="ctr" defTabSz="685306" fontAlgn="base">
              <a:spcBef>
                <a:spcPct val="0"/>
              </a:spcBef>
              <a:spcAft>
                <a:spcPct val="0"/>
              </a:spcAft>
              <a:defRPr/>
            </a:pPr>
            <a:endParaRPr lang="en-US" sz="1764"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42" name="Rectangle 141">
            <a:extLst>
              <a:ext uri="{FF2B5EF4-FFF2-40B4-BE49-F238E27FC236}">
                <a16:creationId xmlns:a16="http://schemas.microsoft.com/office/drawing/2014/main" id="{4BA7DBCE-6882-4082-8BC7-206FA25EC3A8}"/>
              </a:ext>
            </a:extLst>
          </p:cNvPr>
          <p:cNvSpPr/>
          <p:nvPr/>
        </p:nvSpPr>
        <p:spPr>
          <a:xfrm>
            <a:off x="3597456" y="3544239"/>
            <a:ext cx="750490" cy="242502"/>
          </a:xfrm>
          <a:prstGeom prst="rect">
            <a:avLst/>
          </a:prstGeom>
        </p:spPr>
        <p:txBody>
          <a:bodyPr wrap="square" lIns="0" tIns="0" rIns="0" bIns="0" anchor="ctr">
            <a:spAutoFit/>
          </a:bodyPr>
          <a:lstStyle/>
          <a:p>
            <a:pPr defTabSz="685306" fontAlgn="base">
              <a:spcBef>
                <a:spcPct val="0"/>
              </a:spcBef>
              <a:spcAft>
                <a:spcPct val="0"/>
              </a:spcAft>
              <a:defRPr/>
            </a:pPr>
            <a:r>
              <a:rPr lang="en-GB" sz="788">
                <a:solidFill>
                  <a:srgbClr val="505050"/>
                </a:solidFill>
                <a:latin typeface="Segoe UI"/>
                <a:ea typeface="Segoe UI" panose="020B0502040204020203" pitchFamily="34" charset="0"/>
                <a:cs typeface="Segoe UI"/>
              </a:rPr>
              <a:t>Enable guided selling process</a:t>
            </a:r>
            <a:endParaRPr lang="en-GB" sz="788">
              <a:solidFill>
                <a:srgbClr val="505050"/>
              </a:solidFill>
              <a:latin typeface="Segoe UI"/>
              <a:ea typeface="Segoe UI" panose="020B0502040204020203" pitchFamily="34" charset="0"/>
              <a:cs typeface="Segoe UI" panose="020B0502040204020203" pitchFamily="34" charset="0"/>
            </a:endParaRPr>
          </a:p>
        </p:txBody>
      </p:sp>
      <p:sp>
        <p:nvSpPr>
          <p:cNvPr id="148" name="Oval 147">
            <a:extLst>
              <a:ext uri="{FF2B5EF4-FFF2-40B4-BE49-F238E27FC236}">
                <a16:creationId xmlns:a16="http://schemas.microsoft.com/office/drawing/2014/main" id="{1E0F1542-E419-40BA-8393-A6838856BDE9}"/>
              </a:ext>
            </a:extLst>
          </p:cNvPr>
          <p:cNvSpPr/>
          <p:nvPr/>
        </p:nvSpPr>
        <p:spPr bwMode="auto">
          <a:xfrm>
            <a:off x="8574565" y="1510382"/>
            <a:ext cx="109010" cy="109010"/>
          </a:xfrm>
          <a:prstGeom prst="ellipse">
            <a:avLst/>
          </a:prstGeom>
          <a:solidFill>
            <a:srgbClr val="49D598"/>
          </a:solidFill>
          <a:ln w="19050" cap="flat" cmpd="sng" algn="ctr">
            <a:solidFill>
              <a:schemeClr val="bg1"/>
            </a:solidFill>
            <a:prstDash val="solid"/>
            <a:headEnd type="none" w="med" len="med"/>
            <a:tailEnd type="none" w="med" len="med"/>
          </a:ln>
          <a:effectLst/>
        </p:spPr>
        <p:txBody>
          <a:bodyPr rot="0" spcFirstLastPara="0" vertOverflow="overflow" horzOverflow="overflow" vert="horz" wrap="square" lIns="134409" tIns="107528" rIns="134409" bIns="107528" numCol="1" spcCol="0" rtlCol="0" fromWordArt="0" anchor="t" anchorCtr="0" forceAA="0" compatLnSpc="1">
            <a:prstTxWarp prst="textNoShape">
              <a:avLst/>
            </a:prstTxWarp>
            <a:noAutofit/>
          </a:bodyPr>
          <a:lstStyle/>
          <a:p>
            <a:pPr algn="ctr" defTabSz="685306" fontAlgn="base">
              <a:spcBef>
                <a:spcPct val="0"/>
              </a:spcBef>
              <a:spcAft>
                <a:spcPct val="0"/>
              </a:spcAft>
              <a:defRPr/>
            </a:pPr>
            <a:endParaRPr lang="en-US" sz="1764"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77" name="Rectangle 176">
            <a:extLst>
              <a:ext uri="{FF2B5EF4-FFF2-40B4-BE49-F238E27FC236}">
                <a16:creationId xmlns:a16="http://schemas.microsoft.com/office/drawing/2014/main" id="{497E6C66-622D-4439-9C37-027F317E2D79}"/>
              </a:ext>
            </a:extLst>
          </p:cNvPr>
          <p:cNvSpPr/>
          <p:nvPr/>
        </p:nvSpPr>
        <p:spPr>
          <a:xfrm>
            <a:off x="7462277" y="1205293"/>
            <a:ext cx="1165633" cy="242502"/>
          </a:xfrm>
          <a:prstGeom prst="rect">
            <a:avLst/>
          </a:prstGeom>
        </p:spPr>
        <p:txBody>
          <a:bodyPr wrap="square" lIns="0" tIns="0" rIns="0" bIns="0" anchor="ctr">
            <a:spAutoFit/>
          </a:bodyPr>
          <a:lstStyle/>
          <a:p>
            <a:pPr algn="r" defTabSz="685306" fontAlgn="base">
              <a:spcBef>
                <a:spcPct val="0"/>
              </a:spcBef>
              <a:spcAft>
                <a:spcPct val="0"/>
              </a:spcAft>
              <a:defRPr/>
            </a:pPr>
            <a:r>
              <a:rPr lang="en-GB" sz="788">
                <a:solidFill>
                  <a:srgbClr val="505050"/>
                </a:solidFill>
                <a:latin typeface="Segoe UI"/>
                <a:ea typeface="Segoe UI" panose="020B0502040204020203" pitchFamily="34" charset="0"/>
                <a:cs typeface="Segoe UI"/>
              </a:rPr>
              <a:t>Automate churn prediction</a:t>
            </a:r>
            <a:endParaRPr lang="en-US" sz="1350">
              <a:solidFill>
                <a:srgbClr val="3C3C41"/>
              </a:solidFill>
              <a:latin typeface="Segoe UI"/>
            </a:endParaRPr>
          </a:p>
        </p:txBody>
      </p:sp>
      <p:sp>
        <p:nvSpPr>
          <p:cNvPr id="108" name="Rectangle 107">
            <a:extLst>
              <a:ext uri="{FF2B5EF4-FFF2-40B4-BE49-F238E27FC236}">
                <a16:creationId xmlns:a16="http://schemas.microsoft.com/office/drawing/2014/main" id="{1E5301D9-DC39-4011-ACE4-99E08328057A}"/>
              </a:ext>
            </a:extLst>
          </p:cNvPr>
          <p:cNvSpPr/>
          <p:nvPr/>
        </p:nvSpPr>
        <p:spPr>
          <a:xfrm>
            <a:off x="8005389" y="3283257"/>
            <a:ext cx="923617" cy="2832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70" tIns="68570" rIns="68570" bIns="68570" numCol="1" spcCol="0" rtlCol="0" fromWordArt="0" anchor="ctr" anchorCtr="0" forceAA="0" compatLnSpc="1">
            <a:prstTxWarp prst="textNoShape">
              <a:avLst/>
            </a:prstTxWarp>
            <a:noAutofit/>
          </a:bodyPr>
          <a:lstStyle/>
          <a:p>
            <a:pPr algn="r" defTabSz="685669">
              <a:defRPr/>
            </a:pPr>
            <a:r>
              <a:rPr lang="en-US" sz="975" b="1">
                <a:solidFill>
                  <a:srgbClr val="3C3C41"/>
                </a:solidFill>
                <a:latin typeface="Segoe UI"/>
              </a:rPr>
              <a:t>Engage</a:t>
            </a:r>
            <a:endParaRPr lang="en-US" sz="975" b="1">
              <a:solidFill>
                <a:srgbClr val="3C3C41"/>
              </a:solidFill>
              <a:latin typeface="Segoe UI"/>
              <a:cs typeface="Segoe UI"/>
            </a:endParaRPr>
          </a:p>
        </p:txBody>
      </p:sp>
      <p:sp>
        <p:nvSpPr>
          <p:cNvPr id="115" name="Oval 114">
            <a:extLst>
              <a:ext uri="{FF2B5EF4-FFF2-40B4-BE49-F238E27FC236}">
                <a16:creationId xmlns:a16="http://schemas.microsoft.com/office/drawing/2014/main" id="{ACC15AEE-D2B8-45D4-BFB9-E3C43AFEB45A}"/>
              </a:ext>
            </a:extLst>
          </p:cNvPr>
          <p:cNvSpPr/>
          <p:nvPr/>
        </p:nvSpPr>
        <p:spPr>
          <a:xfrm>
            <a:off x="870111" y="1190400"/>
            <a:ext cx="633958" cy="633957"/>
          </a:xfrm>
          <a:prstGeom prst="ellipse">
            <a:avLst/>
          </a:prstGeom>
          <a:solidFill>
            <a:schemeClr val="bg1"/>
          </a:solidFill>
          <a:ln>
            <a:noFill/>
          </a:ln>
          <a:effectLst>
            <a:outerShdw blurRad="254000" dist="50800" dir="2700000" sx="101000" sy="101000" algn="tl" rotWithShape="0">
              <a:prstClr val="black">
                <a:alpha val="2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70" tIns="68570" rIns="68570" bIns="68570" numCol="1" spcCol="0" rtlCol="0" fromWordArt="0" anchor="b" anchorCtr="0" forceAA="0" compatLnSpc="1">
            <a:prstTxWarp prst="textNoShape">
              <a:avLst/>
            </a:prstTxWarp>
            <a:noAutofit/>
          </a:bodyPr>
          <a:lstStyle/>
          <a:p>
            <a:pPr algn="r" defTabSz="685669">
              <a:defRPr/>
            </a:pPr>
            <a:endParaRPr lang="en-US" sz="900" err="1">
              <a:solidFill>
                <a:srgbClr val="FFFFFF"/>
              </a:solidFill>
              <a:latin typeface="Segoe UI"/>
            </a:endParaRPr>
          </a:p>
        </p:txBody>
      </p:sp>
      <p:pic>
        <p:nvPicPr>
          <p:cNvPr id="116" name="Picture 115">
            <a:extLst>
              <a:ext uri="{FF2B5EF4-FFF2-40B4-BE49-F238E27FC236}">
                <a16:creationId xmlns:a16="http://schemas.microsoft.com/office/drawing/2014/main" id="{C0CD790C-ADDC-4D8F-91A1-1693D3CBBEC5}"/>
              </a:ext>
            </a:extLst>
          </p:cNvPr>
          <p:cNvPicPr>
            <a:picLocks noChangeAspect="1"/>
          </p:cNvPicPr>
          <p:nvPr/>
        </p:nvPicPr>
        <p:blipFill>
          <a:blip r:embed="rId7" cstate="print">
            <a:duotone>
              <a:prstClr val="black"/>
              <a:schemeClr val="accent1">
                <a:tint val="45000"/>
                <a:satMod val="400000"/>
              </a:schemeClr>
            </a:duotone>
            <a:extLst>
              <a:ext uri="{28A0092B-C50C-407E-A947-70E740481C1C}">
                <a14:useLocalDpi xmlns:a14="http://schemas.microsoft.com/office/drawing/2010/main" val="0"/>
              </a:ext>
            </a:extLst>
          </a:blip>
          <a:stretch>
            <a:fillRect/>
          </a:stretch>
        </p:blipFill>
        <p:spPr>
          <a:xfrm>
            <a:off x="988015" y="1273156"/>
            <a:ext cx="394192" cy="407330"/>
          </a:xfrm>
          <a:prstGeom prst="rect">
            <a:avLst/>
          </a:prstGeom>
        </p:spPr>
      </p:pic>
      <p:sp>
        <p:nvSpPr>
          <p:cNvPr id="117" name="Oval 116">
            <a:extLst>
              <a:ext uri="{FF2B5EF4-FFF2-40B4-BE49-F238E27FC236}">
                <a16:creationId xmlns:a16="http://schemas.microsoft.com/office/drawing/2014/main" id="{671280F9-22A9-4547-9EA9-2875A1E7DC23}"/>
              </a:ext>
            </a:extLst>
          </p:cNvPr>
          <p:cNvSpPr/>
          <p:nvPr/>
        </p:nvSpPr>
        <p:spPr>
          <a:xfrm>
            <a:off x="912831" y="3429209"/>
            <a:ext cx="633958" cy="633957"/>
          </a:xfrm>
          <a:prstGeom prst="ellipse">
            <a:avLst/>
          </a:prstGeom>
          <a:solidFill>
            <a:schemeClr val="bg1"/>
          </a:solidFill>
          <a:ln>
            <a:noFill/>
          </a:ln>
          <a:effectLst>
            <a:outerShdw blurRad="254000" dist="50800" dir="2700000" sx="101000" sy="101000" algn="tl" rotWithShape="0">
              <a:prstClr val="black">
                <a:alpha val="2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70" tIns="68570" rIns="68570" bIns="68570" numCol="1" spcCol="0" rtlCol="0" fromWordArt="0" anchor="b" anchorCtr="0" forceAA="0" compatLnSpc="1">
            <a:prstTxWarp prst="textNoShape">
              <a:avLst/>
            </a:prstTxWarp>
            <a:noAutofit/>
          </a:bodyPr>
          <a:lstStyle/>
          <a:p>
            <a:pPr algn="r" defTabSz="685669">
              <a:defRPr/>
            </a:pPr>
            <a:endParaRPr lang="en-US" sz="900">
              <a:solidFill>
                <a:srgbClr val="FFFFFF"/>
              </a:solidFill>
              <a:latin typeface="Segoe UI"/>
            </a:endParaRPr>
          </a:p>
        </p:txBody>
      </p:sp>
      <p:pic>
        <p:nvPicPr>
          <p:cNvPr id="119" name="Picture 118">
            <a:extLst>
              <a:ext uri="{FF2B5EF4-FFF2-40B4-BE49-F238E27FC236}">
                <a16:creationId xmlns:a16="http://schemas.microsoft.com/office/drawing/2014/main" id="{09B3770A-7545-4DEF-B709-7D4D5E9918AB}"/>
              </a:ext>
            </a:extLst>
          </p:cNvPr>
          <p:cNvPicPr>
            <a:picLocks noChangeAspect="1"/>
          </p:cNvPicPr>
          <p:nvPr/>
        </p:nvPicPr>
        <p:blipFill>
          <a:blip r:embed="rId8" cstate="print">
            <a:duotone>
              <a:prstClr val="black"/>
              <a:schemeClr val="accent1">
                <a:tint val="45000"/>
                <a:satMod val="400000"/>
              </a:schemeClr>
            </a:duotone>
            <a:extLst>
              <a:ext uri="{28A0092B-C50C-407E-A947-70E740481C1C}">
                <a14:useLocalDpi xmlns:a14="http://schemas.microsoft.com/office/drawing/2010/main" val="0"/>
              </a:ext>
            </a:extLst>
          </a:blip>
          <a:stretch>
            <a:fillRect/>
          </a:stretch>
        </p:blipFill>
        <p:spPr>
          <a:xfrm>
            <a:off x="1053773" y="3534613"/>
            <a:ext cx="328491" cy="417185"/>
          </a:xfrm>
          <a:prstGeom prst="rect">
            <a:avLst/>
          </a:prstGeom>
        </p:spPr>
      </p:pic>
      <p:sp>
        <p:nvSpPr>
          <p:cNvPr id="120" name="Oval 119">
            <a:extLst>
              <a:ext uri="{FF2B5EF4-FFF2-40B4-BE49-F238E27FC236}">
                <a16:creationId xmlns:a16="http://schemas.microsoft.com/office/drawing/2014/main" id="{300A0360-E711-4ED3-B3C0-BC081796D817}"/>
              </a:ext>
            </a:extLst>
          </p:cNvPr>
          <p:cNvSpPr/>
          <p:nvPr/>
        </p:nvSpPr>
        <p:spPr>
          <a:xfrm>
            <a:off x="3140273" y="3890083"/>
            <a:ext cx="633958" cy="633957"/>
          </a:xfrm>
          <a:prstGeom prst="ellipse">
            <a:avLst/>
          </a:prstGeom>
          <a:solidFill>
            <a:schemeClr val="bg1"/>
          </a:solidFill>
          <a:ln>
            <a:noFill/>
          </a:ln>
          <a:effectLst>
            <a:outerShdw blurRad="254000" dist="50800" dir="2700000" sx="101000" sy="101000" algn="tl" rotWithShape="0">
              <a:prstClr val="black">
                <a:alpha val="2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70" tIns="68570" rIns="68570" bIns="68570" numCol="1" spcCol="0" rtlCol="0" fromWordArt="0" anchor="b" anchorCtr="0" forceAA="0" compatLnSpc="1">
            <a:prstTxWarp prst="textNoShape">
              <a:avLst/>
            </a:prstTxWarp>
            <a:noAutofit/>
          </a:bodyPr>
          <a:lstStyle/>
          <a:p>
            <a:pPr algn="r" defTabSz="685669">
              <a:defRPr/>
            </a:pPr>
            <a:endParaRPr lang="en-US" sz="900" err="1">
              <a:solidFill>
                <a:srgbClr val="FFFFFF"/>
              </a:solidFill>
              <a:latin typeface="Segoe UI"/>
            </a:endParaRPr>
          </a:p>
        </p:txBody>
      </p:sp>
      <p:pic>
        <p:nvPicPr>
          <p:cNvPr id="121" name="Picture 120">
            <a:extLst>
              <a:ext uri="{FF2B5EF4-FFF2-40B4-BE49-F238E27FC236}">
                <a16:creationId xmlns:a16="http://schemas.microsoft.com/office/drawing/2014/main" id="{579290E7-7A2A-4B99-BE39-238C48A9957F}"/>
              </a:ext>
            </a:extLst>
          </p:cNvPr>
          <p:cNvPicPr>
            <a:picLocks noChangeAspect="1"/>
          </p:cNvPicPr>
          <p:nvPr/>
        </p:nvPicPr>
        <p:blipFill>
          <a:blip r:embed="rId9" cstate="print">
            <a:duotone>
              <a:prstClr val="black"/>
              <a:schemeClr val="accent1">
                <a:tint val="45000"/>
                <a:satMod val="400000"/>
              </a:schemeClr>
            </a:duotone>
            <a:extLst>
              <a:ext uri="{28A0092B-C50C-407E-A947-70E740481C1C}">
                <a14:useLocalDpi xmlns:a14="http://schemas.microsoft.com/office/drawing/2010/main" val="0"/>
              </a:ext>
            </a:extLst>
          </a:blip>
          <a:stretch>
            <a:fillRect/>
          </a:stretch>
        </p:blipFill>
        <p:spPr>
          <a:xfrm>
            <a:off x="3239796" y="4004764"/>
            <a:ext cx="433610" cy="397475"/>
          </a:xfrm>
          <a:prstGeom prst="rect">
            <a:avLst/>
          </a:prstGeom>
        </p:spPr>
      </p:pic>
      <p:sp>
        <p:nvSpPr>
          <p:cNvPr id="122" name="Oval 121">
            <a:extLst>
              <a:ext uri="{FF2B5EF4-FFF2-40B4-BE49-F238E27FC236}">
                <a16:creationId xmlns:a16="http://schemas.microsoft.com/office/drawing/2014/main" id="{867EDED6-F6BA-4F62-A313-30CC8F63BC67}"/>
              </a:ext>
            </a:extLst>
          </p:cNvPr>
          <p:cNvSpPr/>
          <p:nvPr/>
        </p:nvSpPr>
        <p:spPr>
          <a:xfrm>
            <a:off x="5646862" y="3501671"/>
            <a:ext cx="633958" cy="633957"/>
          </a:xfrm>
          <a:prstGeom prst="ellipse">
            <a:avLst/>
          </a:prstGeom>
          <a:solidFill>
            <a:schemeClr val="bg1"/>
          </a:solidFill>
          <a:ln>
            <a:noFill/>
          </a:ln>
          <a:effectLst>
            <a:outerShdw blurRad="254000" dist="50800" dir="2700000" sx="101000" sy="101000" algn="tl" rotWithShape="0">
              <a:prstClr val="black">
                <a:alpha val="2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70" tIns="68570" rIns="68570" bIns="68570" numCol="1" spcCol="0" rtlCol="0" fromWordArt="0" anchor="b" anchorCtr="0" forceAA="0" compatLnSpc="1">
            <a:prstTxWarp prst="textNoShape">
              <a:avLst/>
            </a:prstTxWarp>
            <a:noAutofit/>
          </a:bodyPr>
          <a:lstStyle/>
          <a:p>
            <a:pPr algn="r" defTabSz="685669">
              <a:defRPr/>
            </a:pPr>
            <a:endParaRPr lang="en-US" sz="900" err="1">
              <a:solidFill>
                <a:srgbClr val="FFFFFF"/>
              </a:solidFill>
              <a:latin typeface="Segoe UI"/>
            </a:endParaRPr>
          </a:p>
        </p:txBody>
      </p:sp>
      <p:sp>
        <p:nvSpPr>
          <p:cNvPr id="124" name="Oval 123">
            <a:extLst>
              <a:ext uri="{FF2B5EF4-FFF2-40B4-BE49-F238E27FC236}">
                <a16:creationId xmlns:a16="http://schemas.microsoft.com/office/drawing/2014/main" id="{658ABD59-011E-464D-851D-FD2A1B3A00D0}"/>
              </a:ext>
            </a:extLst>
          </p:cNvPr>
          <p:cNvSpPr/>
          <p:nvPr/>
        </p:nvSpPr>
        <p:spPr>
          <a:xfrm>
            <a:off x="7568350" y="3126068"/>
            <a:ext cx="633958" cy="633957"/>
          </a:xfrm>
          <a:prstGeom prst="ellipse">
            <a:avLst/>
          </a:prstGeom>
          <a:solidFill>
            <a:schemeClr val="bg1"/>
          </a:solidFill>
          <a:ln>
            <a:noFill/>
          </a:ln>
          <a:effectLst>
            <a:outerShdw blurRad="254000" dist="50800" dir="2700000" sx="101000" sy="101000" algn="tl" rotWithShape="0">
              <a:prstClr val="black">
                <a:alpha val="2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70" tIns="68570" rIns="68570" bIns="68570" numCol="1" spcCol="0" rtlCol="0" fromWordArt="0" anchor="b" anchorCtr="0" forceAA="0" compatLnSpc="1">
            <a:prstTxWarp prst="textNoShape">
              <a:avLst/>
            </a:prstTxWarp>
            <a:noAutofit/>
          </a:bodyPr>
          <a:lstStyle/>
          <a:p>
            <a:pPr algn="r" defTabSz="685669">
              <a:defRPr/>
            </a:pPr>
            <a:endParaRPr lang="en-US" sz="900">
              <a:solidFill>
                <a:srgbClr val="FFFFFF"/>
              </a:solidFill>
              <a:latin typeface="Segoe UI"/>
            </a:endParaRPr>
          </a:p>
        </p:txBody>
      </p:sp>
      <p:pic>
        <p:nvPicPr>
          <p:cNvPr id="125" name="Picture 124">
            <a:extLst>
              <a:ext uri="{FF2B5EF4-FFF2-40B4-BE49-F238E27FC236}">
                <a16:creationId xmlns:a16="http://schemas.microsoft.com/office/drawing/2014/main" id="{4E61C0E4-CECC-4F33-83D7-FA76C3DDC63F}"/>
              </a:ext>
            </a:extLst>
          </p:cNvPr>
          <p:cNvPicPr>
            <a:picLocks noChangeAspect="1"/>
          </p:cNvPicPr>
          <p:nvPr/>
        </p:nvPicPr>
        <p:blipFill>
          <a:blip r:embed="rId10" cstate="print">
            <a:duotone>
              <a:prstClr val="black"/>
              <a:schemeClr val="accent1">
                <a:tint val="45000"/>
                <a:satMod val="400000"/>
              </a:schemeClr>
            </a:duotone>
            <a:extLst>
              <a:ext uri="{28A0092B-C50C-407E-A947-70E740481C1C}">
                <a14:useLocalDpi xmlns:a14="http://schemas.microsoft.com/office/drawing/2010/main" val="0"/>
              </a:ext>
            </a:extLst>
          </a:blip>
          <a:stretch>
            <a:fillRect/>
          </a:stretch>
        </p:blipFill>
        <p:spPr>
          <a:xfrm rot="20628851">
            <a:off x="7679091" y="3274181"/>
            <a:ext cx="464355" cy="355433"/>
          </a:xfrm>
          <a:prstGeom prst="rect">
            <a:avLst/>
          </a:prstGeom>
        </p:spPr>
      </p:pic>
      <p:sp>
        <p:nvSpPr>
          <p:cNvPr id="126" name="Oval 125">
            <a:extLst>
              <a:ext uri="{FF2B5EF4-FFF2-40B4-BE49-F238E27FC236}">
                <a16:creationId xmlns:a16="http://schemas.microsoft.com/office/drawing/2014/main" id="{08C19E88-EDBA-46C8-8B0E-C9B26F5E777B}"/>
              </a:ext>
            </a:extLst>
          </p:cNvPr>
          <p:cNvSpPr/>
          <p:nvPr/>
        </p:nvSpPr>
        <p:spPr>
          <a:xfrm>
            <a:off x="7067748" y="1397549"/>
            <a:ext cx="633958" cy="633957"/>
          </a:xfrm>
          <a:prstGeom prst="ellipse">
            <a:avLst/>
          </a:prstGeom>
          <a:solidFill>
            <a:schemeClr val="bg1"/>
          </a:solidFill>
          <a:ln>
            <a:noFill/>
          </a:ln>
          <a:effectLst>
            <a:outerShdw blurRad="254000" dist="50800" dir="2700000" sx="101000" sy="101000" algn="tl" rotWithShape="0">
              <a:prstClr val="black">
                <a:alpha val="2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70" tIns="68570" rIns="68570" bIns="68570" numCol="1" spcCol="0" rtlCol="0" fromWordArt="0" anchor="b" anchorCtr="0" forceAA="0" compatLnSpc="1">
            <a:prstTxWarp prst="textNoShape">
              <a:avLst/>
            </a:prstTxWarp>
            <a:noAutofit/>
          </a:bodyPr>
          <a:lstStyle/>
          <a:p>
            <a:pPr algn="r" defTabSz="685669">
              <a:defRPr/>
            </a:pPr>
            <a:endParaRPr lang="en-US" sz="900" err="1">
              <a:solidFill>
                <a:srgbClr val="FFFFFF"/>
              </a:solidFill>
              <a:latin typeface="Segoe UI"/>
            </a:endParaRPr>
          </a:p>
        </p:txBody>
      </p:sp>
      <p:pic>
        <p:nvPicPr>
          <p:cNvPr id="127" name="Picture 126">
            <a:extLst>
              <a:ext uri="{FF2B5EF4-FFF2-40B4-BE49-F238E27FC236}">
                <a16:creationId xmlns:a16="http://schemas.microsoft.com/office/drawing/2014/main" id="{135A6569-6443-460F-B7F1-BB89A18FB15F}"/>
              </a:ext>
            </a:extLst>
          </p:cNvPr>
          <p:cNvPicPr>
            <a:picLocks noChangeAspect="1"/>
          </p:cNvPicPr>
          <p:nvPr/>
        </p:nvPicPr>
        <p:blipFill>
          <a:blip r:embed="rId11" cstate="print">
            <a:duotone>
              <a:prstClr val="black"/>
              <a:schemeClr val="accent1">
                <a:tint val="45000"/>
                <a:satMod val="400000"/>
              </a:schemeClr>
            </a:duotone>
            <a:extLst>
              <a:ext uri="{28A0092B-C50C-407E-A947-70E740481C1C}">
                <a14:useLocalDpi xmlns:a14="http://schemas.microsoft.com/office/drawing/2010/main" val="0"/>
              </a:ext>
            </a:extLst>
          </a:blip>
          <a:stretch>
            <a:fillRect/>
          </a:stretch>
        </p:blipFill>
        <p:spPr>
          <a:xfrm>
            <a:off x="7180480" y="1529193"/>
            <a:ext cx="433610" cy="381051"/>
          </a:xfrm>
          <a:prstGeom prst="rect">
            <a:avLst/>
          </a:prstGeom>
        </p:spPr>
      </p:pic>
      <p:sp>
        <p:nvSpPr>
          <p:cNvPr id="128" name="Oval 127">
            <a:extLst>
              <a:ext uri="{FF2B5EF4-FFF2-40B4-BE49-F238E27FC236}">
                <a16:creationId xmlns:a16="http://schemas.microsoft.com/office/drawing/2014/main" id="{DCE2B86E-D248-4794-8FB3-07DB33BAC7D5}"/>
              </a:ext>
            </a:extLst>
          </p:cNvPr>
          <p:cNvSpPr/>
          <p:nvPr/>
        </p:nvSpPr>
        <p:spPr>
          <a:xfrm>
            <a:off x="4193879" y="1212215"/>
            <a:ext cx="633958" cy="633957"/>
          </a:xfrm>
          <a:prstGeom prst="ellipse">
            <a:avLst/>
          </a:prstGeom>
          <a:solidFill>
            <a:schemeClr val="bg1"/>
          </a:solidFill>
          <a:ln>
            <a:noFill/>
          </a:ln>
          <a:effectLst>
            <a:outerShdw blurRad="254000" dist="50800" dir="2700000" sx="101000" sy="101000" algn="tl" rotWithShape="0">
              <a:prstClr val="black">
                <a:alpha val="2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70" tIns="68570" rIns="68570" bIns="68570" numCol="1" spcCol="0" rtlCol="0" fromWordArt="0" anchor="b" anchorCtr="0" forceAA="0" compatLnSpc="1">
            <a:prstTxWarp prst="textNoShape">
              <a:avLst/>
            </a:prstTxWarp>
            <a:noAutofit/>
          </a:bodyPr>
          <a:lstStyle/>
          <a:p>
            <a:pPr algn="r" defTabSz="685669">
              <a:defRPr/>
            </a:pPr>
            <a:endParaRPr lang="en-US" sz="900" err="1">
              <a:solidFill>
                <a:srgbClr val="FFFFFF"/>
              </a:solidFill>
              <a:latin typeface="Segoe UI"/>
            </a:endParaRPr>
          </a:p>
        </p:txBody>
      </p:sp>
      <p:pic>
        <p:nvPicPr>
          <p:cNvPr id="130" name="Picture 129">
            <a:extLst>
              <a:ext uri="{FF2B5EF4-FFF2-40B4-BE49-F238E27FC236}">
                <a16:creationId xmlns:a16="http://schemas.microsoft.com/office/drawing/2014/main" id="{8E933C6D-9FE5-4433-8690-B59DF2BB5AD0}"/>
              </a:ext>
            </a:extLst>
          </p:cNvPr>
          <p:cNvPicPr>
            <a:picLocks noChangeAspect="1"/>
          </p:cNvPicPr>
          <p:nvPr/>
        </p:nvPicPr>
        <p:blipFill>
          <a:blip r:embed="rId12" cstate="print">
            <a:duotone>
              <a:prstClr val="black"/>
              <a:schemeClr val="accent1">
                <a:tint val="45000"/>
                <a:satMod val="400000"/>
              </a:schemeClr>
            </a:duotone>
            <a:extLst>
              <a:ext uri="{28A0092B-C50C-407E-A947-70E740481C1C}">
                <a14:useLocalDpi xmlns:a14="http://schemas.microsoft.com/office/drawing/2010/main" val="0"/>
              </a:ext>
            </a:extLst>
          </a:blip>
          <a:stretch>
            <a:fillRect/>
          </a:stretch>
        </p:blipFill>
        <p:spPr>
          <a:xfrm>
            <a:off x="4293632" y="1320449"/>
            <a:ext cx="430325" cy="390905"/>
          </a:xfrm>
          <a:prstGeom prst="rect">
            <a:avLst/>
          </a:prstGeom>
        </p:spPr>
      </p:pic>
      <p:grpSp>
        <p:nvGrpSpPr>
          <p:cNvPr id="71" name="Group 70">
            <a:extLst>
              <a:ext uri="{FF2B5EF4-FFF2-40B4-BE49-F238E27FC236}">
                <a16:creationId xmlns:a16="http://schemas.microsoft.com/office/drawing/2014/main" id="{2C737760-FB1A-4116-BFA6-D0D742BEE6E0}"/>
              </a:ext>
            </a:extLst>
          </p:cNvPr>
          <p:cNvGrpSpPr/>
          <p:nvPr/>
        </p:nvGrpSpPr>
        <p:grpSpPr>
          <a:xfrm>
            <a:off x="2359589" y="3027113"/>
            <a:ext cx="317794" cy="291617"/>
            <a:chOff x="9198575" y="573317"/>
            <a:chExt cx="370965" cy="340409"/>
          </a:xfrm>
        </p:grpSpPr>
        <p:grpSp>
          <p:nvGrpSpPr>
            <p:cNvPr id="72" name="Group 71">
              <a:extLst>
                <a:ext uri="{FF2B5EF4-FFF2-40B4-BE49-F238E27FC236}">
                  <a16:creationId xmlns:a16="http://schemas.microsoft.com/office/drawing/2014/main" id="{24C398B1-4611-4B55-87A6-D71A31CB86D6}"/>
                </a:ext>
              </a:extLst>
            </p:cNvPr>
            <p:cNvGrpSpPr>
              <a:grpSpLocks noChangeAspect="1"/>
            </p:cNvGrpSpPr>
            <p:nvPr/>
          </p:nvGrpSpPr>
          <p:grpSpPr bwMode="black">
            <a:xfrm>
              <a:off x="9220506" y="651722"/>
              <a:ext cx="349034" cy="262004"/>
              <a:chOff x="5152725" y="4450437"/>
              <a:chExt cx="297049" cy="223040"/>
            </a:xfrm>
            <a:solidFill>
              <a:srgbClr val="D2D2D2">
                <a:lumMod val="50000"/>
              </a:srgbClr>
            </a:solidFill>
          </p:grpSpPr>
          <p:sp>
            <p:nvSpPr>
              <p:cNvPr id="74" name="Freeform 168">
                <a:extLst>
                  <a:ext uri="{FF2B5EF4-FFF2-40B4-BE49-F238E27FC236}">
                    <a16:creationId xmlns:a16="http://schemas.microsoft.com/office/drawing/2014/main" id="{1C88601A-534C-4E94-A9E4-F3AA7BF2F629}"/>
                  </a:ext>
                </a:extLst>
              </p:cNvPr>
              <p:cNvSpPr>
                <a:spLocks noEditPoints="1"/>
              </p:cNvSpPr>
              <p:nvPr/>
            </p:nvSpPr>
            <p:spPr bwMode="black">
              <a:xfrm>
                <a:off x="5152725" y="4450437"/>
                <a:ext cx="212585" cy="199299"/>
              </a:xfrm>
              <a:custGeom>
                <a:avLst/>
                <a:gdLst/>
                <a:ahLst/>
                <a:cxnLst>
                  <a:cxn ang="0">
                    <a:pos x="215" y="24"/>
                  </a:cxn>
                  <a:cxn ang="0">
                    <a:pos x="127" y="0"/>
                  </a:cxn>
                  <a:cxn ang="0">
                    <a:pos x="39" y="24"/>
                  </a:cxn>
                  <a:cxn ang="0">
                    <a:pos x="0" y="89"/>
                  </a:cxn>
                  <a:cxn ang="0">
                    <a:pos x="42" y="155"/>
                  </a:cxn>
                  <a:cxn ang="0">
                    <a:pos x="34" y="197"/>
                  </a:cxn>
                  <a:cxn ang="0">
                    <a:pos x="27" y="231"/>
                  </a:cxn>
                  <a:cxn ang="0">
                    <a:pos x="25" y="240"/>
                  </a:cxn>
                  <a:cxn ang="0">
                    <a:pos x="31" y="233"/>
                  </a:cxn>
                  <a:cxn ang="0">
                    <a:pos x="55" y="207"/>
                  </a:cxn>
                  <a:cxn ang="0">
                    <a:pos x="87" y="173"/>
                  </a:cxn>
                  <a:cxn ang="0">
                    <a:pos x="127" y="178"/>
                  </a:cxn>
                  <a:cxn ang="0">
                    <a:pos x="215" y="153"/>
                  </a:cxn>
                  <a:cxn ang="0">
                    <a:pos x="255" y="89"/>
                  </a:cxn>
                  <a:cxn ang="0">
                    <a:pos x="215" y="24"/>
                  </a:cxn>
                  <a:cxn ang="0">
                    <a:pos x="59" y="149"/>
                  </a:cxn>
                  <a:cxn ang="0">
                    <a:pos x="59" y="147"/>
                  </a:cxn>
                  <a:cxn ang="0">
                    <a:pos x="57" y="147"/>
                  </a:cxn>
                  <a:cxn ang="0">
                    <a:pos x="15" y="89"/>
                  </a:cxn>
                  <a:cxn ang="0">
                    <a:pos x="127" y="15"/>
                  </a:cxn>
                  <a:cxn ang="0">
                    <a:pos x="240" y="89"/>
                  </a:cxn>
                  <a:cxn ang="0">
                    <a:pos x="127" y="163"/>
                  </a:cxn>
                  <a:cxn ang="0">
                    <a:pos x="83" y="157"/>
                  </a:cxn>
                  <a:cxn ang="0">
                    <a:pos x="82" y="156"/>
                  </a:cxn>
                  <a:cxn ang="0">
                    <a:pos x="81" y="158"/>
                  </a:cxn>
                  <a:cxn ang="0">
                    <a:pos x="50" y="191"/>
                  </a:cxn>
                  <a:cxn ang="0">
                    <a:pos x="59" y="149"/>
                  </a:cxn>
                </a:cxnLst>
                <a:rect l="0" t="0" r="r" b="b"/>
                <a:pathLst>
                  <a:path w="255" h="240">
                    <a:moveTo>
                      <a:pt x="215" y="24"/>
                    </a:moveTo>
                    <a:cubicBezTo>
                      <a:pt x="192" y="8"/>
                      <a:pt x="160" y="0"/>
                      <a:pt x="127" y="0"/>
                    </a:cubicBezTo>
                    <a:cubicBezTo>
                      <a:pt x="94" y="0"/>
                      <a:pt x="63" y="8"/>
                      <a:pt x="39" y="24"/>
                    </a:cubicBezTo>
                    <a:cubicBezTo>
                      <a:pt x="14" y="41"/>
                      <a:pt x="0" y="64"/>
                      <a:pt x="0" y="89"/>
                    </a:cubicBezTo>
                    <a:cubicBezTo>
                      <a:pt x="0" y="114"/>
                      <a:pt x="15" y="138"/>
                      <a:pt x="42" y="155"/>
                    </a:cubicBezTo>
                    <a:cubicBezTo>
                      <a:pt x="34" y="197"/>
                      <a:pt x="34" y="197"/>
                      <a:pt x="34" y="197"/>
                    </a:cubicBezTo>
                    <a:cubicBezTo>
                      <a:pt x="27" y="231"/>
                      <a:pt x="27" y="231"/>
                      <a:pt x="27" y="231"/>
                    </a:cubicBezTo>
                    <a:cubicBezTo>
                      <a:pt x="25" y="240"/>
                      <a:pt x="25" y="240"/>
                      <a:pt x="25" y="240"/>
                    </a:cubicBezTo>
                    <a:cubicBezTo>
                      <a:pt x="31" y="233"/>
                      <a:pt x="31" y="233"/>
                      <a:pt x="31" y="233"/>
                    </a:cubicBezTo>
                    <a:cubicBezTo>
                      <a:pt x="55" y="207"/>
                      <a:pt x="55" y="207"/>
                      <a:pt x="55" y="207"/>
                    </a:cubicBezTo>
                    <a:cubicBezTo>
                      <a:pt x="87" y="173"/>
                      <a:pt x="87" y="173"/>
                      <a:pt x="87" y="173"/>
                    </a:cubicBezTo>
                    <a:cubicBezTo>
                      <a:pt x="100" y="176"/>
                      <a:pt x="113" y="178"/>
                      <a:pt x="127" y="178"/>
                    </a:cubicBezTo>
                    <a:cubicBezTo>
                      <a:pt x="160" y="178"/>
                      <a:pt x="192" y="169"/>
                      <a:pt x="215" y="153"/>
                    </a:cubicBezTo>
                    <a:cubicBezTo>
                      <a:pt x="241" y="136"/>
                      <a:pt x="255" y="113"/>
                      <a:pt x="255" y="89"/>
                    </a:cubicBezTo>
                    <a:cubicBezTo>
                      <a:pt x="255" y="64"/>
                      <a:pt x="241" y="41"/>
                      <a:pt x="215" y="24"/>
                    </a:cubicBezTo>
                    <a:close/>
                    <a:moveTo>
                      <a:pt x="59" y="149"/>
                    </a:moveTo>
                    <a:cubicBezTo>
                      <a:pt x="59" y="147"/>
                      <a:pt x="59" y="147"/>
                      <a:pt x="59" y="147"/>
                    </a:cubicBezTo>
                    <a:cubicBezTo>
                      <a:pt x="57" y="147"/>
                      <a:pt x="57" y="147"/>
                      <a:pt x="57" y="147"/>
                    </a:cubicBezTo>
                    <a:cubicBezTo>
                      <a:pt x="30" y="132"/>
                      <a:pt x="15" y="111"/>
                      <a:pt x="15" y="89"/>
                    </a:cubicBezTo>
                    <a:cubicBezTo>
                      <a:pt x="15" y="48"/>
                      <a:pt x="65" y="15"/>
                      <a:pt x="127" y="15"/>
                    </a:cubicBezTo>
                    <a:cubicBezTo>
                      <a:pt x="189" y="15"/>
                      <a:pt x="240" y="48"/>
                      <a:pt x="240" y="89"/>
                    </a:cubicBezTo>
                    <a:cubicBezTo>
                      <a:pt x="240" y="129"/>
                      <a:pt x="189" y="163"/>
                      <a:pt x="127" y="163"/>
                    </a:cubicBezTo>
                    <a:cubicBezTo>
                      <a:pt x="112" y="163"/>
                      <a:pt x="97" y="161"/>
                      <a:pt x="83" y="157"/>
                    </a:cubicBezTo>
                    <a:cubicBezTo>
                      <a:pt x="82" y="156"/>
                      <a:pt x="82" y="156"/>
                      <a:pt x="82" y="156"/>
                    </a:cubicBezTo>
                    <a:cubicBezTo>
                      <a:pt x="81" y="158"/>
                      <a:pt x="81" y="158"/>
                      <a:pt x="81" y="158"/>
                    </a:cubicBezTo>
                    <a:cubicBezTo>
                      <a:pt x="50" y="191"/>
                      <a:pt x="50" y="191"/>
                      <a:pt x="50" y="191"/>
                    </a:cubicBezTo>
                    <a:lnTo>
                      <a:pt x="59" y="149"/>
                    </a:lnTo>
                    <a:close/>
                  </a:path>
                </a:pathLst>
              </a:custGeom>
              <a:grpFill/>
              <a:ln w="25400" cap="flat" cmpd="sng" algn="ctr">
                <a:noFill/>
                <a:prstDash val="solid"/>
                <a:headEnd type="none" w="med" len="med"/>
                <a:tailEnd type="none" w="med" len="med"/>
              </a:ln>
              <a:effectLst/>
            </p:spPr>
            <p:txBody>
              <a:bodyPr vert="horz" wrap="square" lIns="68577" tIns="34289" rIns="68577" bIns="34289" numCol="1" rtlCol="0" anchor="ctr" anchorCtr="0" compatLnSpc="1">
                <a:prstTxWarp prst="textNoShape">
                  <a:avLst/>
                </a:prstTxWarp>
              </a:bodyPr>
              <a:lstStyle/>
              <a:p>
                <a:pPr defTabSz="555555">
                  <a:defRPr/>
                </a:pPr>
                <a:endParaRPr lang="en-US" sz="1350" kern="0" spc="-92">
                  <a:solidFill>
                    <a:srgbClr val="FFFFFF">
                      <a:lumMod val="50000"/>
                    </a:srgbClr>
                  </a:solidFill>
                  <a:latin typeface="Segoe Light" pitchFamily="34" charset="0"/>
                </a:endParaRPr>
              </a:p>
            </p:txBody>
          </p:sp>
          <p:sp>
            <p:nvSpPr>
              <p:cNvPr id="75" name="Freeform 169">
                <a:extLst>
                  <a:ext uri="{FF2B5EF4-FFF2-40B4-BE49-F238E27FC236}">
                    <a16:creationId xmlns:a16="http://schemas.microsoft.com/office/drawing/2014/main" id="{4C2D4B79-3EFF-45EB-80D8-F9A222D89621}"/>
                  </a:ext>
                </a:extLst>
              </p:cNvPr>
              <p:cNvSpPr>
                <a:spLocks/>
              </p:cNvSpPr>
              <p:nvPr/>
            </p:nvSpPr>
            <p:spPr bwMode="black">
              <a:xfrm>
                <a:off x="5280845" y="4506446"/>
                <a:ext cx="168929" cy="167031"/>
              </a:xfrm>
              <a:custGeom>
                <a:avLst/>
                <a:gdLst/>
                <a:ahLst/>
                <a:cxnLst>
                  <a:cxn ang="0">
                    <a:pos x="203" y="74"/>
                  </a:cxn>
                  <a:cxn ang="0">
                    <a:pos x="170" y="20"/>
                  </a:cxn>
                  <a:cxn ang="0">
                    <a:pos x="98" y="0"/>
                  </a:cxn>
                  <a:cxn ang="0">
                    <a:pos x="95" y="0"/>
                  </a:cxn>
                  <a:cxn ang="0">
                    <a:pos x="95" y="3"/>
                  </a:cxn>
                  <a:cxn ang="0">
                    <a:pos x="96" y="11"/>
                  </a:cxn>
                  <a:cxn ang="0">
                    <a:pos x="96" y="13"/>
                  </a:cxn>
                  <a:cxn ang="0">
                    <a:pos x="99" y="13"/>
                  </a:cxn>
                  <a:cxn ang="0">
                    <a:pos x="190" y="74"/>
                  </a:cxn>
                  <a:cxn ang="0">
                    <a:pos x="155" y="121"/>
                  </a:cxn>
                  <a:cxn ang="0">
                    <a:pos x="153" y="122"/>
                  </a:cxn>
                  <a:cxn ang="0">
                    <a:pos x="153" y="124"/>
                  </a:cxn>
                  <a:cxn ang="0">
                    <a:pos x="160" y="157"/>
                  </a:cxn>
                  <a:cxn ang="0">
                    <a:pos x="136" y="130"/>
                  </a:cxn>
                  <a:cxn ang="0">
                    <a:pos x="134" y="129"/>
                  </a:cxn>
                  <a:cxn ang="0">
                    <a:pos x="133" y="130"/>
                  </a:cxn>
                  <a:cxn ang="0">
                    <a:pos x="97" y="134"/>
                  </a:cxn>
                  <a:cxn ang="0">
                    <a:pos x="15" y="102"/>
                  </a:cxn>
                  <a:cxn ang="0">
                    <a:pos x="14" y="100"/>
                  </a:cxn>
                  <a:cxn ang="0">
                    <a:pos x="12" y="101"/>
                  </a:cxn>
                  <a:cxn ang="0">
                    <a:pos x="4" y="103"/>
                  </a:cxn>
                  <a:cxn ang="0">
                    <a:pos x="0" y="104"/>
                  </a:cxn>
                  <a:cxn ang="0">
                    <a:pos x="2" y="107"/>
                  </a:cxn>
                  <a:cxn ang="0">
                    <a:pos x="24" y="127"/>
                  </a:cxn>
                  <a:cxn ang="0">
                    <a:pos x="97" y="148"/>
                  </a:cxn>
                  <a:cxn ang="0">
                    <a:pos x="130" y="144"/>
                  </a:cxn>
                  <a:cxn ang="0">
                    <a:pos x="156" y="172"/>
                  </a:cxn>
                  <a:cxn ang="0">
                    <a:pos x="176" y="194"/>
                  </a:cxn>
                  <a:cxn ang="0">
                    <a:pos x="182" y="200"/>
                  </a:cxn>
                  <a:cxn ang="0">
                    <a:pos x="180" y="192"/>
                  </a:cxn>
                  <a:cxn ang="0">
                    <a:pos x="175" y="163"/>
                  </a:cxn>
                  <a:cxn ang="0">
                    <a:pos x="168" y="129"/>
                  </a:cxn>
                  <a:cxn ang="0">
                    <a:pos x="203" y="74"/>
                  </a:cxn>
                </a:cxnLst>
                <a:rect l="0" t="0" r="r" b="b"/>
                <a:pathLst>
                  <a:path w="203" h="200">
                    <a:moveTo>
                      <a:pt x="203" y="74"/>
                    </a:moveTo>
                    <a:cubicBezTo>
                      <a:pt x="203" y="53"/>
                      <a:pt x="191" y="34"/>
                      <a:pt x="170" y="20"/>
                    </a:cubicBezTo>
                    <a:cubicBezTo>
                      <a:pt x="151" y="7"/>
                      <a:pt x="125" y="0"/>
                      <a:pt x="98" y="0"/>
                    </a:cubicBezTo>
                    <a:cubicBezTo>
                      <a:pt x="95" y="0"/>
                      <a:pt x="95" y="0"/>
                      <a:pt x="95" y="0"/>
                    </a:cubicBezTo>
                    <a:cubicBezTo>
                      <a:pt x="95" y="3"/>
                      <a:pt x="95" y="3"/>
                      <a:pt x="95" y="3"/>
                    </a:cubicBezTo>
                    <a:cubicBezTo>
                      <a:pt x="96" y="5"/>
                      <a:pt x="96" y="8"/>
                      <a:pt x="96" y="11"/>
                    </a:cubicBezTo>
                    <a:cubicBezTo>
                      <a:pt x="96" y="13"/>
                      <a:pt x="96" y="13"/>
                      <a:pt x="96" y="13"/>
                    </a:cubicBezTo>
                    <a:cubicBezTo>
                      <a:pt x="99" y="13"/>
                      <a:pt x="99" y="13"/>
                      <a:pt x="99" y="13"/>
                    </a:cubicBezTo>
                    <a:cubicBezTo>
                      <a:pt x="149" y="14"/>
                      <a:pt x="190" y="41"/>
                      <a:pt x="190" y="74"/>
                    </a:cubicBezTo>
                    <a:cubicBezTo>
                      <a:pt x="190" y="92"/>
                      <a:pt x="177" y="110"/>
                      <a:pt x="155" y="121"/>
                    </a:cubicBezTo>
                    <a:cubicBezTo>
                      <a:pt x="153" y="122"/>
                      <a:pt x="153" y="122"/>
                      <a:pt x="153" y="122"/>
                    </a:cubicBezTo>
                    <a:cubicBezTo>
                      <a:pt x="153" y="124"/>
                      <a:pt x="153" y="124"/>
                      <a:pt x="153" y="124"/>
                    </a:cubicBezTo>
                    <a:cubicBezTo>
                      <a:pt x="160" y="157"/>
                      <a:pt x="160" y="157"/>
                      <a:pt x="160" y="157"/>
                    </a:cubicBezTo>
                    <a:cubicBezTo>
                      <a:pt x="136" y="130"/>
                      <a:pt x="136" y="130"/>
                      <a:pt x="136" y="130"/>
                    </a:cubicBezTo>
                    <a:cubicBezTo>
                      <a:pt x="134" y="129"/>
                      <a:pt x="134" y="129"/>
                      <a:pt x="134" y="129"/>
                    </a:cubicBezTo>
                    <a:cubicBezTo>
                      <a:pt x="133" y="130"/>
                      <a:pt x="133" y="130"/>
                      <a:pt x="133" y="130"/>
                    </a:cubicBezTo>
                    <a:cubicBezTo>
                      <a:pt x="122" y="133"/>
                      <a:pt x="109" y="134"/>
                      <a:pt x="97" y="134"/>
                    </a:cubicBezTo>
                    <a:cubicBezTo>
                      <a:pt x="62" y="134"/>
                      <a:pt x="31" y="122"/>
                      <a:pt x="15" y="102"/>
                    </a:cubicBezTo>
                    <a:cubicBezTo>
                      <a:pt x="14" y="100"/>
                      <a:pt x="14" y="100"/>
                      <a:pt x="14" y="100"/>
                    </a:cubicBezTo>
                    <a:cubicBezTo>
                      <a:pt x="12" y="101"/>
                      <a:pt x="12" y="101"/>
                      <a:pt x="12" y="101"/>
                    </a:cubicBezTo>
                    <a:cubicBezTo>
                      <a:pt x="10" y="102"/>
                      <a:pt x="7" y="102"/>
                      <a:pt x="4" y="103"/>
                    </a:cubicBezTo>
                    <a:cubicBezTo>
                      <a:pt x="0" y="104"/>
                      <a:pt x="0" y="104"/>
                      <a:pt x="0" y="104"/>
                    </a:cubicBezTo>
                    <a:cubicBezTo>
                      <a:pt x="2" y="107"/>
                      <a:pt x="2" y="107"/>
                      <a:pt x="2" y="107"/>
                    </a:cubicBezTo>
                    <a:cubicBezTo>
                      <a:pt x="8" y="115"/>
                      <a:pt x="15" y="121"/>
                      <a:pt x="24" y="127"/>
                    </a:cubicBezTo>
                    <a:cubicBezTo>
                      <a:pt x="44" y="141"/>
                      <a:pt x="70" y="148"/>
                      <a:pt x="97" y="148"/>
                    </a:cubicBezTo>
                    <a:cubicBezTo>
                      <a:pt x="108" y="148"/>
                      <a:pt x="119" y="147"/>
                      <a:pt x="130" y="144"/>
                    </a:cubicBezTo>
                    <a:cubicBezTo>
                      <a:pt x="156" y="172"/>
                      <a:pt x="156" y="172"/>
                      <a:pt x="156" y="172"/>
                    </a:cubicBezTo>
                    <a:cubicBezTo>
                      <a:pt x="176" y="194"/>
                      <a:pt x="176" y="194"/>
                      <a:pt x="176" y="194"/>
                    </a:cubicBezTo>
                    <a:cubicBezTo>
                      <a:pt x="182" y="200"/>
                      <a:pt x="182" y="200"/>
                      <a:pt x="182" y="200"/>
                    </a:cubicBezTo>
                    <a:cubicBezTo>
                      <a:pt x="180" y="192"/>
                      <a:pt x="180" y="192"/>
                      <a:pt x="180" y="192"/>
                    </a:cubicBezTo>
                    <a:cubicBezTo>
                      <a:pt x="175" y="163"/>
                      <a:pt x="175" y="163"/>
                      <a:pt x="175" y="163"/>
                    </a:cubicBezTo>
                    <a:cubicBezTo>
                      <a:pt x="168" y="129"/>
                      <a:pt x="168" y="129"/>
                      <a:pt x="168" y="129"/>
                    </a:cubicBezTo>
                    <a:cubicBezTo>
                      <a:pt x="190" y="115"/>
                      <a:pt x="203" y="95"/>
                      <a:pt x="203" y="74"/>
                    </a:cubicBezTo>
                    <a:close/>
                  </a:path>
                </a:pathLst>
              </a:custGeom>
              <a:grpFill/>
              <a:ln w="25400" cap="flat" cmpd="sng" algn="ctr">
                <a:noFill/>
                <a:prstDash val="solid"/>
                <a:headEnd type="none" w="med" len="med"/>
                <a:tailEnd type="none" w="med" len="med"/>
              </a:ln>
              <a:effectLst/>
            </p:spPr>
            <p:txBody>
              <a:bodyPr vert="horz" wrap="square" lIns="68577" tIns="34289" rIns="68577" bIns="34289" numCol="1" rtlCol="0" anchor="ctr" anchorCtr="0" compatLnSpc="1">
                <a:prstTxWarp prst="textNoShape">
                  <a:avLst/>
                </a:prstTxWarp>
              </a:bodyPr>
              <a:lstStyle/>
              <a:p>
                <a:pPr defTabSz="555555">
                  <a:defRPr/>
                </a:pPr>
                <a:endParaRPr lang="en-US" sz="1350" kern="0" spc="-92">
                  <a:solidFill>
                    <a:srgbClr val="FFFFFF">
                      <a:lumMod val="50000"/>
                    </a:srgbClr>
                  </a:solidFill>
                  <a:latin typeface="Segoe Light" pitchFamily="34" charset="0"/>
                </a:endParaRPr>
              </a:p>
            </p:txBody>
          </p:sp>
        </p:grpSp>
        <p:sp>
          <p:nvSpPr>
            <p:cNvPr id="73" name="TextBox 72">
              <a:extLst>
                <a:ext uri="{FF2B5EF4-FFF2-40B4-BE49-F238E27FC236}">
                  <a16:creationId xmlns:a16="http://schemas.microsoft.com/office/drawing/2014/main" id="{E67B1ED5-EDC3-46AE-B8A7-B9226B90D4DB}"/>
                </a:ext>
              </a:extLst>
            </p:cNvPr>
            <p:cNvSpPr txBox="1"/>
            <p:nvPr/>
          </p:nvSpPr>
          <p:spPr>
            <a:xfrm>
              <a:off x="9198575" y="573317"/>
              <a:ext cx="332146" cy="332146"/>
            </a:xfrm>
            <a:prstGeom prst="rect">
              <a:avLst/>
            </a:prstGeom>
          </p:spPr>
          <p:txBody>
            <a:bodyPr vert="horz" wrap="none" lIns="68580" tIns="68580" rIns="68580" bIns="68580" rtlCol="0" anchor="t">
              <a:noAutofit/>
            </a:bodyPr>
            <a:lstStyle/>
            <a:p>
              <a:pPr defTabSz="685800">
                <a:defRPr/>
              </a:pPr>
              <a:r>
                <a:rPr lang="en-US" sz="900" b="1" kern="0">
                  <a:solidFill>
                    <a:srgbClr val="505050"/>
                  </a:solidFill>
                  <a:ea typeface="Segoe UI" pitchFamily="34" charset="0"/>
                  <a:cs typeface="Segoe UI" pitchFamily="34" charset="0"/>
                </a:rPr>
                <a:t>AI</a:t>
              </a:r>
            </a:p>
          </p:txBody>
        </p:sp>
      </p:grpSp>
      <p:sp>
        <p:nvSpPr>
          <p:cNvPr id="81" name="Round Same Side Corner Rectangle 2">
            <a:extLst>
              <a:ext uri="{FF2B5EF4-FFF2-40B4-BE49-F238E27FC236}">
                <a16:creationId xmlns:a16="http://schemas.microsoft.com/office/drawing/2014/main" id="{75608655-0909-43CA-B666-6A4A7BB155B1}"/>
              </a:ext>
            </a:extLst>
          </p:cNvPr>
          <p:cNvSpPr>
            <a:spLocks noChangeAspect="1"/>
          </p:cNvSpPr>
          <p:nvPr/>
        </p:nvSpPr>
        <p:spPr>
          <a:xfrm>
            <a:off x="2444259" y="3542167"/>
            <a:ext cx="135307" cy="274320"/>
          </a:xfrm>
          <a:custGeom>
            <a:avLst/>
            <a:gdLst/>
            <a:ahLst/>
            <a:cxnLst/>
            <a:rect l="l" t="t" r="r" b="b"/>
            <a:pathLst>
              <a:path w="639317" h="1296147">
                <a:moveTo>
                  <a:pt x="319659" y="1176926"/>
                </a:moveTo>
                <a:cubicBezTo>
                  <a:pt x="302977" y="1176926"/>
                  <a:pt x="289454" y="1190449"/>
                  <a:pt x="289454" y="1207131"/>
                </a:cubicBezTo>
                <a:cubicBezTo>
                  <a:pt x="289454" y="1223812"/>
                  <a:pt x="302977" y="1237335"/>
                  <a:pt x="319659" y="1237335"/>
                </a:cubicBezTo>
                <a:cubicBezTo>
                  <a:pt x="336340" y="1237335"/>
                  <a:pt x="349863" y="1223812"/>
                  <a:pt x="349863" y="1207131"/>
                </a:cubicBezTo>
                <a:cubicBezTo>
                  <a:pt x="349863" y="1190449"/>
                  <a:pt x="336340" y="1176926"/>
                  <a:pt x="319659" y="1176926"/>
                </a:cubicBezTo>
                <a:close/>
                <a:moveTo>
                  <a:pt x="66614" y="178851"/>
                </a:moveTo>
                <a:lnTo>
                  <a:pt x="66614" y="1092553"/>
                </a:lnTo>
                <a:lnTo>
                  <a:pt x="79934" y="1092553"/>
                </a:lnTo>
                <a:lnTo>
                  <a:pt x="79934" y="1094228"/>
                </a:lnTo>
                <a:lnTo>
                  <a:pt x="518084" y="1094228"/>
                </a:lnTo>
                <a:lnTo>
                  <a:pt x="518084" y="1092553"/>
                </a:lnTo>
                <a:lnTo>
                  <a:pt x="572703" y="1092553"/>
                </a:lnTo>
                <a:lnTo>
                  <a:pt x="572703" y="178851"/>
                </a:lnTo>
                <a:close/>
                <a:moveTo>
                  <a:pt x="240430" y="73898"/>
                </a:moveTo>
                <a:cubicBezTo>
                  <a:pt x="234747" y="73898"/>
                  <a:pt x="230141" y="78505"/>
                  <a:pt x="230141" y="84188"/>
                </a:cubicBezTo>
                <a:cubicBezTo>
                  <a:pt x="230141" y="89870"/>
                  <a:pt x="234747" y="94477"/>
                  <a:pt x="240430" y="94477"/>
                </a:cubicBezTo>
                <a:lnTo>
                  <a:pt x="398887" y="94478"/>
                </a:lnTo>
                <a:cubicBezTo>
                  <a:pt x="404570" y="94478"/>
                  <a:pt x="409177" y="89871"/>
                  <a:pt x="409177" y="84188"/>
                </a:cubicBezTo>
                <a:lnTo>
                  <a:pt x="409177" y="84188"/>
                </a:lnTo>
                <a:cubicBezTo>
                  <a:pt x="409177" y="78505"/>
                  <a:pt x="404571" y="73898"/>
                  <a:pt x="398888" y="73898"/>
                </a:cubicBezTo>
                <a:close/>
                <a:moveTo>
                  <a:pt x="313485" y="119"/>
                </a:moveTo>
                <a:cubicBezTo>
                  <a:pt x="467512" y="-2326"/>
                  <a:pt x="623597" y="32935"/>
                  <a:pt x="639317" y="113230"/>
                </a:cubicBezTo>
                <a:lnTo>
                  <a:pt x="639317" y="540401"/>
                </a:lnTo>
                <a:lnTo>
                  <a:pt x="639317" y="755746"/>
                </a:lnTo>
                <a:lnTo>
                  <a:pt x="639317" y="1182917"/>
                </a:lnTo>
                <a:cubicBezTo>
                  <a:pt x="607877" y="1343508"/>
                  <a:pt x="14977" y="1323958"/>
                  <a:pt x="0" y="1182917"/>
                </a:cubicBezTo>
                <a:lnTo>
                  <a:pt x="0" y="755746"/>
                </a:lnTo>
                <a:lnTo>
                  <a:pt x="0" y="540401"/>
                </a:lnTo>
                <a:lnTo>
                  <a:pt x="0" y="113230"/>
                </a:lnTo>
                <a:cubicBezTo>
                  <a:pt x="7489" y="42710"/>
                  <a:pt x="159458" y="2562"/>
                  <a:pt x="313485" y="119"/>
                </a:cubicBezTo>
                <a:close/>
              </a:path>
            </a:pathLst>
          </a:custGeom>
          <a:solidFill>
            <a:sysClr val="window" lastClr="FFFFFF">
              <a:lumMod val="50000"/>
            </a:sysClr>
          </a:solidFill>
          <a:ln w="25400" cap="flat" cmpd="sng" algn="ctr">
            <a:noFill/>
            <a:prstDash val="solid"/>
          </a:ln>
          <a:effectLst/>
        </p:spPr>
        <p:txBody>
          <a:bodyPr rtlCol="0" anchor="ctr"/>
          <a:lstStyle/>
          <a:p>
            <a:pPr algn="ctr" defTabSz="685800">
              <a:defRPr/>
            </a:pPr>
            <a:endParaRPr lang="en-US" sz="1350" kern="0">
              <a:solidFill>
                <a:srgbClr val="FFFFFF"/>
              </a:solidFill>
              <a:latin typeface="Segoe UI"/>
            </a:endParaRPr>
          </a:p>
        </p:txBody>
      </p:sp>
      <p:sp>
        <p:nvSpPr>
          <p:cNvPr id="82" name="Freeform 25">
            <a:extLst>
              <a:ext uri="{FF2B5EF4-FFF2-40B4-BE49-F238E27FC236}">
                <a16:creationId xmlns:a16="http://schemas.microsoft.com/office/drawing/2014/main" id="{F612E9B2-0E74-46C2-9CC2-954560B94AE3}"/>
              </a:ext>
            </a:extLst>
          </p:cNvPr>
          <p:cNvSpPr>
            <a:spLocks noChangeAspect="1" noEditPoints="1"/>
          </p:cNvSpPr>
          <p:nvPr/>
        </p:nvSpPr>
        <p:spPr bwMode="black">
          <a:xfrm>
            <a:off x="3325024" y="3015352"/>
            <a:ext cx="279034" cy="237590"/>
          </a:xfrm>
          <a:custGeom>
            <a:avLst/>
            <a:gdLst>
              <a:gd name="T0" fmla="*/ 300 w 300"/>
              <a:gd name="T1" fmla="*/ 201 h 255"/>
              <a:gd name="T2" fmla="*/ 288 w 300"/>
              <a:gd name="T3" fmla="*/ 210 h 255"/>
              <a:gd name="T4" fmla="*/ 285 w 300"/>
              <a:gd name="T5" fmla="*/ 214 h 255"/>
              <a:gd name="T6" fmla="*/ 266 w 300"/>
              <a:gd name="T7" fmla="*/ 230 h 255"/>
              <a:gd name="T8" fmla="*/ 229 w 300"/>
              <a:gd name="T9" fmla="*/ 245 h 255"/>
              <a:gd name="T10" fmla="*/ 169 w 300"/>
              <a:gd name="T11" fmla="*/ 253 h 255"/>
              <a:gd name="T12" fmla="*/ 47 w 300"/>
              <a:gd name="T13" fmla="*/ 231 h 255"/>
              <a:gd name="T14" fmla="*/ 47 w 300"/>
              <a:gd name="T15" fmla="*/ 186 h 255"/>
              <a:gd name="T16" fmla="*/ 89 w 300"/>
              <a:gd name="T17" fmla="*/ 168 h 255"/>
              <a:gd name="T18" fmla="*/ 130 w 300"/>
              <a:gd name="T19" fmla="*/ 171 h 255"/>
              <a:gd name="T20" fmla="*/ 163 w 300"/>
              <a:gd name="T21" fmla="*/ 174 h 255"/>
              <a:gd name="T22" fmla="*/ 198 w 300"/>
              <a:gd name="T23" fmla="*/ 169 h 255"/>
              <a:gd name="T24" fmla="*/ 219 w 300"/>
              <a:gd name="T25" fmla="*/ 182 h 255"/>
              <a:gd name="T26" fmla="*/ 201 w 300"/>
              <a:gd name="T27" fmla="*/ 195 h 255"/>
              <a:gd name="T28" fmla="*/ 174 w 300"/>
              <a:gd name="T29" fmla="*/ 194 h 255"/>
              <a:gd name="T30" fmla="*/ 144 w 300"/>
              <a:gd name="T31" fmla="*/ 202 h 255"/>
              <a:gd name="T32" fmla="*/ 177 w 300"/>
              <a:gd name="T33" fmla="*/ 217 h 255"/>
              <a:gd name="T34" fmla="*/ 223 w 300"/>
              <a:gd name="T35" fmla="*/ 218 h 255"/>
              <a:gd name="T36" fmla="*/ 255 w 300"/>
              <a:gd name="T37" fmla="*/ 209 h 255"/>
              <a:gd name="T38" fmla="*/ 287 w 300"/>
              <a:gd name="T39" fmla="*/ 193 h 255"/>
              <a:gd name="T40" fmla="*/ 300 w 300"/>
              <a:gd name="T41" fmla="*/ 201 h 255"/>
              <a:gd name="T42" fmla="*/ 34 w 300"/>
              <a:gd name="T43" fmla="*/ 173 h 255"/>
              <a:gd name="T44" fmla="*/ 0 w 300"/>
              <a:gd name="T45" fmla="*/ 173 h 255"/>
              <a:gd name="T46" fmla="*/ 0 w 300"/>
              <a:gd name="T47" fmla="*/ 240 h 255"/>
              <a:gd name="T48" fmla="*/ 34 w 300"/>
              <a:gd name="T49" fmla="*/ 240 h 255"/>
              <a:gd name="T50" fmla="*/ 39 w 300"/>
              <a:gd name="T51" fmla="*/ 235 h 255"/>
              <a:gd name="T52" fmla="*/ 39 w 300"/>
              <a:gd name="T53" fmla="*/ 177 h 255"/>
              <a:gd name="T54" fmla="*/ 34 w 300"/>
              <a:gd name="T55" fmla="*/ 173 h 255"/>
              <a:gd name="T56" fmla="*/ 246 w 300"/>
              <a:gd name="T57" fmla="*/ 24 h 255"/>
              <a:gd name="T58" fmla="*/ 246 w 300"/>
              <a:gd name="T59" fmla="*/ 147 h 255"/>
              <a:gd name="T60" fmla="*/ 123 w 300"/>
              <a:gd name="T61" fmla="*/ 147 h 255"/>
              <a:gd name="T62" fmla="*/ 123 w 300"/>
              <a:gd name="T63" fmla="*/ 122 h 255"/>
              <a:gd name="T64" fmla="*/ 99 w 300"/>
              <a:gd name="T65" fmla="*/ 122 h 255"/>
              <a:gd name="T66" fmla="*/ 99 w 300"/>
              <a:gd name="T67" fmla="*/ 0 h 255"/>
              <a:gd name="T68" fmla="*/ 221 w 300"/>
              <a:gd name="T69" fmla="*/ 0 h 255"/>
              <a:gd name="T70" fmla="*/ 221 w 300"/>
              <a:gd name="T71" fmla="*/ 24 h 255"/>
              <a:gd name="T72" fmla="*/ 246 w 300"/>
              <a:gd name="T73" fmla="*/ 24 h 255"/>
              <a:gd name="T74" fmla="*/ 123 w 300"/>
              <a:gd name="T75" fmla="*/ 116 h 255"/>
              <a:gd name="T76" fmla="*/ 123 w 300"/>
              <a:gd name="T77" fmla="*/ 24 h 255"/>
              <a:gd name="T78" fmla="*/ 215 w 300"/>
              <a:gd name="T79" fmla="*/ 24 h 255"/>
              <a:gd name="T80" fmla="*/ 215 w 300"/>
              <a:gd name="T81" fmla="*/ 6 h 255"/>
              <a:gd name="T82" fmla="*/ 105 w 300"/>
              <a:gd name="T83" fmla="*/ 6 h 255"/>
              <a:gd name="T84" fmla="*/ 105 w 300"/>
              <a:gd name="T85" fmla="*/ 116 h 255"/>
              <a:gd name="T86" fmla="*/ 123 w 300"/>
              <a:gd name="T87" fmla="*/ 116 h 255"/>
              <a:gd name="T88" fmla="*/ 224 w 300"/>
              <a:gd name="T89" fmla="*/ 85 h 255"/>
              <a:gd name="T90" fmla="*/ 183 w 300"/>
              <a:gd name="T91" fmla="*/ 56 h 255"/>
              <a:gd name="T92" fmla="*/ 183 w 300"/>
              <a:gd name="T93" fmla="*/ 76 h 255"/>
              <a:gd name="T94" fmla="*/ 145 w 300"/>
              <a:gd name="T95" fmla="*/ 76 h 255"/>
              <a:gd name="T96" fmla="*/ 145 w 300"/>
              <a:gd name="T97" fmla="*/ 94 h 255"/>
              <a:gd name="T98" fmla="*/ 183 w 300"/>
              <a:gd name="T99" fmla="*/ 94 h 255"/>
              <a:gd name="T100" fmla="*/ 183 w 300"/>
              <a:gd name="T101" fmla="*/ 115 h 255"/>
              <a:gd name="T102" fmla="*/ 224 w 300"/>
              <a:gd name="T103" fmla="*/ 85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00" h="255">
                <a:moveTo>
                  <a:pt x="300" y="201"/>
                </a:moveTo>
                <a:cubicBezTo>
                  <a:pt x="300" y="201"/>
                  <a:pt x="299" y="202"/>
                  <a:pt x="288" y="210"/>
                </a:cubicBezTo>
                <a:cubicBezTo>
                  <a:pt x="288" y="210"/>
                  <a:pt x="286" y="214"/>
                  <a:pt x="285" y="214"/>
                </a:cubicBezTo>
                <a:cubicBezTo>
                  <a:pt x="280" y="218"/>
                  <a:pt x="275" y="223"/>
                  <a:pt x="266" y="230"/>
                </a:cubicBezTo>
                <a:cubicBezTo>
                  <a:pt x="257" y="231"/>
                  <a:pt x="238" y="240"/>
                  <a:pt x="229" y="245"/>
                </a:cubicBezTo>
                <a:cubicBezTo>
                  <a:pt x="212" y="244"/>
                  <a:pt x="187" y="248"/>
                  <a:pt x="169" y="253"/>
                </a:cubicBezTo>
                <a:cubicBezTo>
                  <a:pt x="143" y="249"/>
                  <a:pt x="140" y="255"/>
                  <a:pt x="47" y="231"/>
                </a:cubicBezTo>
                <a:cubicBezTo>
                  <a:pt x="47" y="231"/>
                  <a:pt x="47" y="194"/>
                  <a:pt x="47" y="186"/>
                </a:cubicBezTo>
                <a:cubicBezTo>
                  <a:pt x="64" y="182"/>
                  <a:pt x="69" y="171"/>
                  <a:pt x="89" y="168"/>
                </a:cubicBezTo>
                <a:cubicBezTo>
                  <a:pt x="103" y="166"/>
                  <a:pt x="116" y="167"/>
                  <a:pt x="130" y="171"/>
                </a:cubicBezTo>
                <a:cubicBezTo>
                  <a:pt x="139" y="174"/>
                  <a:pt x="148" y="176"/>
                  <a:pt x="163" y="174"/>
                </a:cubicBezTo>
                <a:cubicBezTo>
                  <a:pt x="176" y="173"/>
                  <a:pt x="181" y="169"/>
                  <a:pt x="198" y="169"/>
                </a:cubicBezTo>
                <a:cubicBezTo>
                  <a:pt x="209" y="169"/>
                  <a:pt x="220" y="176"/>
                  <a:pt x="219" y="182"/>
                </a:cubicBezTo>
                <a:cubicBezTo>
                  <a:pt x="219" y="188"/>
                  <a:pt x="208" y="194"/>
                  <a:pt x="201" y="195"/>
                </a:cubicBezTo>
                <a:cubicBezTo>
                  <a:pt x="185" y="195"/>
                  <a:pt x="189" y="194"/>
                  <a:pt x="174" y="194"/>
                </a:cubicBezTo>
                <a:cubicBezTo>
                  <a:pt x="156" y="194"/>
                  <a:pt x="155" y="197"/>
                  <a:pt x="144" y="202"/>
                </a:cubicBezTo>
                <a:cubicBezTo>
                  <a:pt x="155" y="205"/>
                  <a:pt x="162" y="209"/>
                  <a:pt x="177" y="217"/>
                </a:cubicBezTo>
                <a:cubicBezTo>
                  <a:pt x="193" y="215"/>
                  <a:pt x="209" y="217"/>
                  <a:pt x="223" y="218"/>
                </a:cubicBezTo>
                <a:cubicBezTo>
                  <a:pt x="235" y="215"/>
                  <a:pt x="241" y="210"/>
                  <a:pt x="255" y="209"/>
                </a:cubicBezTo>
                <a:cubicBezTo>
                  <a:pt x="264" y="202"/>
                  <a:pt x="276" y="191"/>
                  <a:pt x="287" y="193"/>
                </a:cubicBezTo>
                <a:cubicBezTo>
                  <a:pt x="293" y="194"/>
                  <a:pt x="300" y="201"/>
                  <a:pt x="300" y="201"/>
                </a:cubicBezTo>
                <a:close/>
                <a:moveTo>
                  <a:pt x="34" y="173"/>
                </a:moveTo>
                <a:cubicBezTo>
                  <a:pt x="0" y="173"/>
                  <a:pt x="0" y="173"/>
                  <a:pt x="0" y="173"/>
                </a:cubicBezTo>
                <a:cubicBezTo>
                  <a:pt x="0" y="240"/>
                  <a:pt x="0" y="240"/>
                  <a:pt x="0" y="240"/>
                </a:cubicBezTo>
                <a:cubicBezTo>
                  <a:pt x="34" y="240"/>
                  <a:pt x="34" y="240"/>
                  <a:pt x="34" y="240"/>
                </a:cubicBezTo>
                <a:cubicBezTo>
                  <a:pt x="37" y="240"/>
                  <a:pt x="39" y="238"/>
                  <a:pt x="39" y="235"/>
                </a:cubicBezTo>
                <a:cubicBezTo>
                  <a:pt x="39" y="177"/>
                  <a:pt x="39" y="177"/>
                  <a:pt x="39" y="177"/>
                </a:cubicBezTo>
                <a:cubicBezTo>
                  <a:pt x="39" y="175"/>
                  <a:pt x="37" y="173"/>
                  <a:pt x="34" y="173"/>
                </a:cubicBezTo>
                <a:close/>
                <a:moveTo>
                  <a:pt x="246" y="24"/>
                </a:moveTo>
                <a:cubicBezTo>
                  <a:pt x="246" y="147"/>
                  <a:pt x="246" y="147"/>
                  <a:pt x="246" y="147"/>
                </a:cubicBezTo>
                <a:cubicBezTo>
                  <a:pt x="123" y="147"/>
                  <a:pt x="123" y="147"/>
                  <a:pt x="123" y="147"/>
                </a:cubicBezTo>
                <a:cubicBezTo>
                  <a:pt x="123" y="122"/>
                  <a:pt x="123" y="122"/>
                  <a:pt x="123" y="122"/>
                </a:cubicBezTo>
                <a:cubicBezTo>
                  <a:pt x="99" y="122"/>
                  <a:pt x="99" y="122"/>
                  <a:pt x="99" y="122"/>
                </a:cubicBezTo>
                <a:cubicBezTo>
                  <a:pt x="99" y="0"/>
                  <a:pt x="99" y="0"/>
                  <a:pt x="99" y="0"/>
                </a:cubicBezTo>
                <a:cubicBezTo>
                  <a:pt x="221" y="0"/>
                  <a:pt x="221" y="0"/>
                  <a:pt x="221" y="0"/>
                </a:cubicBezTo>
                <a:cubicBezTo>
                  <a:pt x="221" y="24"/>
                  <a:pt x="221" y="24"/>
                  <a:pt x="221" y="24"/>
                </a:cubicBezTo>
                <a:lnTo>
                  <a:pt x="246" y="24"/>
                </a:lnTo>
                <a:close/>
                <a:moveTo>
                  <a:pt x="123" y="116"/>
                </a:moveTo>
                <a:cubicBezTo>
                  <a:pt x="123" y="24"/>
                  <a:pt x="123" y="24"/>
                  <a:pt x="123" y="24"/>
                </a:cubicBezTo>
                <a:cubicBezTo>
                  <a:pt x="215" y="24"/>
                  <a:pt x="215" y="24"/>
                  <a:pt x="215" y="24"/>
                </a:cubicBezTo>
                <a:cubicBezTo>
                  <a:pt x="215" y="6"/>
                  <a:pt x="215" y="6"/>
                  <a:pt x="215" y="6"/>
                </a:cubicBezTo>
                <a:cubicBezTo>
                  <a:pt x="105" y="6"/>
                  <a:pt x="105" y="6"/>
                  <a:pt x="105" y="6"/>
                </a:cubicBezTo>
                <a:cubicBezTo>
                  <a:pt x="105" y="116"/>
                  <a:pt x="105" y="116"/>
                  <a:pt x="105" y="116"/>
                </a:cubicBezTo>
                <a:lnTo>
                  <a:pt x="123" y="116"/>
                </a:lnTo>
                <a:close/>
                <a:moveTo>
                  <a:pt x="224" y="85"/>
                </a:moveTo>
                <a:cubicBezTo>
                  <a:pt x="183" y="56"/>
                  <a:pt x="183" y="56"/>
                  <a:pt x="183" y="56"/>
                </a:cubicBezTo>
                <a:cubicBezTo>
                  <a:pt x="183" y="76"/>
                  <a:pt x="183" y="76"/>
                  <a:pt x="183" y="76"/>
                </a:cubicBezTo>
                <a:cubicBezTo>
                  <a:pt x="145" y="76"/>
                  <a:pt x="145" y="76"/>
                  <a:pt x="145" y="76"/>
                </a:cubicBezTo>
                <a:cubicBezTo>
                  <a:pt x="145" y="94"/>
                  <a:pt x="145" y="94"/>
                  <a:pt x="145" y="94"/>
                </a:cubicBezTo>
                <a:cubicBezTo>
                  <a:pt x="183" y="94"/>
                  <a:pt x="183" y="94"/>
                  <a:pt x="183" y="94"/>
                </a:cubicBezTo>
                <a:cubicBezTo>
                  <a:pt x="183" y="115"/>
                  <a:pt x="183" y="115"/>
                  <a:pt x="183" y="115"/>
                </a:cubicBezTo>
                <a:lnTo>
                  <a:pt x="224" y="85"/>
                </a:lnTo>
                <a:close/>
              </a:path>
            </a:pathLst>
          </a:custGeom>
          <a:solidFill>
            <a:sysClr val="window" lastClr="FFFFFF">
              <a:lumMod val="50000"/>
            </a:sysClr>
          </a:solidFill>
          <a:ln>
            <a:noFill/>
          </a:ln>
        </p:spPr>
        <p:txBody>
          <a:bodyPr vert="horz" wrap="square" lIns="61729" tIns="30865" rIns="61729" bIns="30865" numCol="1" anchor="t" anchorCtr="0" compatLnSpc="1">
            <a:prstTxWarp prst="textNoShape">
              <a:avLst/>
            </a:prstTxWarp>
          </a:bodyPr>
          <a:lstStyle/>
          <a:p>
            <a:pPr defTabSz="685800">
              <a:defRPr/>
            </a:pPr>
            <a:endParaRPr lang="en-US" sz="1200" kern="0">
              <a:solidFill>
                <a:srgbClr val="505050"/>
              </a:solidFill>
            </a:endParaRPr>
          </a:p>
        </p:txBody>
      </p:sp>
      <p:sp>
        <p:nvSpPr>
          <p:cNvPr id="83" name="Freeform 22">
            <a:extLst>
              <a:ext uri="{FF2B5EF4-FFF2-40B4-BE49-F238E27FC236}">
                <a16:creationId xmlns:a16="http://schemas.microsoft.com/office/drawing/2014/main" id="{18174A8B-6C3E-4E80-922A-C30793167707}"/>
              </a:ext>
            </a:extLst>
          </p:cNvPr>
          <p:cNvSpPr>
            <a:spLocks noChangeAspect="1" noEditPoints="1"/>
          </p:cNvSpPr>
          <p:nvPr/>
        </p:nvSpPr>
        <p:spPr bwMode="black">
          <a:xfrm>
            <a:off x="213424" y="2047162"/>
            <a:ext cx="215382" cy="215326"/>
          </a:xfrm>
          <a:custGeom>
            <a:avLst/>
            <a:gdLst>
              <a:gd name="T0" fmla="*/ 300 w 300"/>
              <a:gd name="T1" fmla="*/ 141 h 300"/>
              <a:gd name="T2" fmla="*/ 285 w 300"/>
              <a:gd name="T3" fmla="*/ 141 h 300"/>
              <a:gd name="T4" fmla="*/ 159 w 300"/>
              <a:gd name="T5" fmla="*/ 15 h 300"/>
              <a:gd name="T6" fmla="*/ 159 w 300"/>
              <a:gd name="T7" fmla="*/ 0 h 300"/>
              <a:gd name="T8" fmla="*/ 141 w 300"/>
              <a:gd name="T9" fmla="*/ 0 h 300"/>
              <a:gd name="T10" fmla="*/ 141 w 300"/>
              <a:gd name="T11" fmla="*/ 15 h 300"/>
              <a:gd name="T12" fmla="*/ 15 w 300"/>
              <a:gd name="T13" fmla="*/ 141 h 300"/>
              <a:gd name="T14" fmla="*/ 0 w 300"/>
              <a:gd name="T15" fmla="*/ 141 h 300"/>
              <a:gd name="T16" fmla="*/ 0 w 300"/>
              <a:gd name="T17" fmla="*/ 159 h 300"/>
              <a:gd name="T18" fmla="*/ 15 w 300"/>
              <a:gd name="T19" fmla="*/ 159 h 300"/>
              <a:gd name="T20" fmla="*/ 141 w 300"/>
              <a:gd name="T21" fmla="*/ 285 h 300"/>
              <a:gd name="T22" fmla="*/ 141 w 300"/>
              <a:gd name="T23" fmla="*/ 300 h 300"/>
              <a:gd name="T24" fmla="*/ 159 w 300"/>
              <a:gd name="T25" fmla="*/ 300 h 300"/>
              <a:gd name="T26" fmla="*/ 159 w 300"/>
              <a:gd name="T27" fmla="*/ 285 h 300"/>
              <a:gd name="T28" fmla="*/ 285 w 300"/>
              <a:gd name="T29" fmla="*/ 159 h 300"/>
              <a:gd name="T30" fmla="*/ 300 w 300"/>
              <a:gd name="T31" fmla="*/ 159 h 300"/>
              <a:gd name="T32" fmla="*/ 300 w 300"/>
              <a:gd name="T33" fmla="*/ 141 h 300"/>
              <a:gd name="T34" fmla="*/ 258 w 300"/>
              <a:gd name="T35" fmla="*/ 141 h 300"/>
              <a:gd name="T36" fmla="*/ 230 w 300"/>
              <a:gd name="T37" fmla="*/ 141 h 300"/>
              <a:gd name="T38" fmla="*/ 159 w 300"/>
              <a:gd name="T39" fmla="*/ 70 h 300"/>
              <a:gd name="T40" fmla="*/ 159 w 300"/>
              <a:gd name="T41" fmla="*/ 42 h 300"/>
              <a:gd name="T42" fmla="*/ 258 w 300"/>
              <a:gd name="T43" fmla="*/ 141 h 300"/>
              <a:gd name="T44" fmla="*/ 141 w 300"/>
              <a:gd name="T45" fmla="*/ 125 h 300"/>
              <a:gd name="T46" fmla="*/ 125 w 300"/>
              <a:gd name="T47" fmla="*/ 141 h 300"/>
              <a:gd name="T48" fmla="*/ 97 w 300"/>
              <a:gd name="T49" fmla="*/ 141 h 300"/>
              <a:gd name="T50" fmla="*/ 141 w 300"/>
              <a:gd name="T51" fmla="*/ 97 h 300"/>
              <a:gd name="T52" fmla="*/ 141 w 300"/>
              <a:gd name="T53" fmla="*/ 125 h 300"/>
              <a:gd name="T54" fmla="*/ 125 w 300"/>
              <a:gd name="T55" fmla="*/ 159 h 300"/>
              <a:gd name="T56" fmla="*/ 141 w 300"/>
              <a:gd name="T57" fmla="*/ 175 h 300"/>
              <a:gd name="T58" fmla="*/ 141 w 300"/>
              <a:gd name="T59" fmla="*/ 203 h 300"/>
              <a:gd name="T60" fmla="*/ 97 w 300"/>
              <a:gd name="T61" fmla="*/ 159 h 300"/>
              <a:gd name="T62" fmla="*/ 125 w 300"/>
              <a:gd name="T63" fmla="*/ 159 h 300"/>
              <a:gd name="T64" fmla="*/ 159 w 300"/>
              <a:gd name="T65" fmla="*/ 175 h 300"/>
              <a:gd name="T66" fmla="*/ 175 w 300"/>
              <a:gd name="T67" fmla="*/ 159 h 300"/>
              <a:gd name="T68" fmla="*/ 203 w 300"/>
              <a:gd name="T69" fmla="*/ 159 h 300"/>
              <a:gd name="T70" fmla="*/ 159 w 300"/>
              <a:gd name="T71" fmla="*/ 203 h 300"/>
              <a:gd name="T72" fmla="*/ 159 w 300"/>
              <a:gd name="T73" fmla="*/ 175 h 300"/>
              <a:gd name="T74" fmla="*/ 175 w 300"/>
              <a:gd name="T75" fmla="*/ 141 h 300"/>
              <a:gd name="T76" fmla="*/ 159 w 300"/>
              <a:gd name="T77" fmla="*/ 125 h 300"/>
              <a:gd name="T78" fmla="*/ 159 w 300"/>
              <a:gd name="T79" fmla="*/ 97 h 300"/>
              <a:gd name="T80" fmla="*/ 203 w 300"/>
              <a:gd name="T81" fmla="*/ 141 h 300"/>
              <a:gd name="T82" fmla="*/ 175 w 300"/>
              <a:gd name="T83" fmla="*/ 141 h 300"/>
              <a:gd name="T84" fmla="*/ 141 w 300"/>
              <a:gd name="T85" fmla="*/ 42 h 300"/>
              <a:gd name="T86" fmla="*/ 141 w 300"/>
              <a:gd name="T87" fmla="*/ 70 h 300"/>
              <a:gd name="T88" fmla="*/ 70 w 300"/>
              <a:gd name="T89" fmla="*/ 141 h 300"/>
              <a:gd name="T90" fmla="*/ 42 w 300"/>
              <a:gd name="T91" fmla="*/ 141 h 300"/>
              <a:gd name="T92" fmla="*/ 141 w 300"/>
              <a:gd name="T93" fmla="*/ 42 h 300"/>
              <a:gd name="T94" fmla="*/ 42 w 300"/>
              <a:gd name="T95" fmla="*/ 159 h 300"/>
              <a:gd name="T96" fmla="*/ 70 w 300"/>
              <a:gd name="T97" fmla="*/ 159 h 300"/>
              <a:gd name="T98" fmla="*/ 141 w 300"/>
              <a:gd name="T99" fmla="*/ 230 h 300"/>
              <a:gd name="T100" fmla="*/ 141 w 300"/>
              <a:gd name="T101" fmla="*/ 258 h 300"/>
              <a:gd name="T102" fmla="*/ 42 w 300"/>
              <a:gd name="T103" fmla="*/ 159 h 300"/>
              <a:gd name="T104" fmla="*/ 159 w 300"/>
              <a:gd name="T105" fmla="*/ 258 h 300"/>
              <a:gd name="T106" fmla="*/ 159 w 300"/>
              <a:gd name="T107" fmla="*/ 230 h 300"/>
              <a:gd name="T108" fmla="*/ 230 w 300"/>
              <a:gd name="T109" fmla="*/ 159 h 300"/>
              <a:gd name="T110" fmla="*/ 258 w 300"/>
              <a:gd name="T111" fmla="*/ 159 h 300"/>
              <a:gd name="T112" fmla="*/ 159 w 300"/>
              <a:gd name="T113" fmla="*/ 258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00" h="300">
                <a:moveTo>
                  <a:pt x="300" y="141"/>
                </a:moveTo>
                <a:cubicBezTo>
                  <a:pt x="285" y="141"/>
                  <a:pt x="285" y="141"/>
                  <a:pt x="285" y="141"/>
                </a:cubicBezTo>
                <a:cubicBezTo>
                  <a:pt x="280" y="74"/>
                  <a:pt x="226" y="20"/>
                  <a:pt x="159" y="15"/>
                </a:cubicBezTo>
                <a:cubicBezTo>
                  <a:pt x="159" y="0"/>
                  <a:pt x="159" y="0"/>
                  <a:pt x="159" y="0"/>
                </a:cubicBezTo>
                <a:cubicBezTo>
                  <a:pt x="141" y="0"/>
                  <a:pt x="141" y="0"/>
                  <a:pt x="141" y="0"/>
                </a:cubicBezTo>
                <a:cubicBezTo>
                  <a:pt x="141" y="15"/>
                  <a:pt x="141" y="15"/>
                  <a:pt x="141" y="15"/>
                </a:cubicBezTo>
                <a:cubicBezTo>
                  <a:pt x="74" y="20"/>
                  <a:pt x="20" y="74"/>
                  <a:pt x="15" y="141"/>
                </a:cubicBezTo>
                <a:cubicBezTo>
                  <a:pt x="0" y="141"/>
                  <a:pt x="0" y="141"/>
                  <a:pt x="0" y="141"/>
                </a:cubicBezTo>
                <a:cubicBezTo>
                  <a:pt x="0" y="159"/>
                  <a:pt x="0" y="159"/>
                  <a:pt x="0" y="159"/>
                </a:cubicBezTo>
                <a:cubicBezTo>
                  <a:pt x="15" y="159"/>
                  <a:pt x="15" y="159"/>
                  <a:pt x="15" y="159"/>
                </a:cubicBezTo>
                <a:cubicBezTo>
                  <a:pt x="20" y="226"/>
                  <a:pt x="74" y="280"/>
                  <a:pt x="141" y="285"/>
                </a:cubicBezTo>
                <a:cubicBezTo>
                  <a:pt x="141" y="300"/>
                  <a:pt x="141" y="300"/>
                  <a:pt x="141" y="300"/>
                </a:cubicBezTo>
                <a:cubicBezTo>
                  <a:pt x="159" y="300"/>
                  <a:pt x="159" y="300"/>
                  <a:pt x="159" y="300"/>
                </a:cubicBezTo>
                <a:cubicBezTo>
                  <a:pt x="159" y="285"/>
                  <a:pt x="159" y="285"/>
                  <a:pt x="159" y="285"/>
                </a:cubicBezTo>
                <a:cubicBezTo>
                  <a:pt x="226" y="280"/>
                  <a:pt x="280" y="226"/>
                  <a:pt x="285" y="159"/>
                </a:cubicBezTo>
                <a:cubicBezTo>
                  <a:pt x="300" y="159"/>
                  <a:pt x="300" y="159"/>
                  <a:pt x="300" y="159"/>
                </a:cubicBezTo>
                <a:lnTo>
                  <a:pt x="300" y="141"/>
                </a:lnTo>
                <a:close/>
                <a:moveTo>
                  <a:pt x="258" y="141"/>
                </a:moveTo>
                <a:cubicBezTo>
                  <a:pt x="230" y="141"/>
                  <a:pt x="230" y="141"/>
                  <a:pt x="230" y="141"/>
                </a:cubicBezTo>
                <a:cubicBezTo>
                  <a:pt x="226" y="103"/>
                  <a:pt x="197" y="74"/>
                  <a:pt x="159" y="70"/>
                </a:cubicBezTo>
                <a:cubicBezTo>
                  <a:pt x="159" y="42"/>
                  <a:pt x="159" y="42"/>
                  <a:pt x="159" y="42"/>
                </a:cubicBezTo>
                <a:cubicBezTo>
                  <a:pt x="211" y="47"/>
                  <a:pt x="253" y="89"/>
                  <a:pt x="258" y="141"/>
                </a:cubicBezTo>
                <a:close/>
                <a:moveTo>
                  <a:pt x="141" y="125"/>
                </a:moveTo>
                <a:cubicBezTo>
                  <a:pt x="133" y="127"/>
                  <a:pt x="127" y="133"/>
                  <a:pt x="125" y="141"/>
                </a:cubicBezTo>
                <a:cubicBezTo>
                  <a:pt x="97" y="141"/>
                  <a:pt x="97" y="141"/>
                  <a:pt x="97" y="141"/>
                </a:cubicBezTo>
                <a:cubicBezTo>
                  <a:pt x="101" y="118"/>
                  <a:pt x="118" y="101"/>
                  <a:pt x="141" y="97"/>
                </a:cubicBezTo>
                <a:lnTo>
                  <a:pt x="141" y="125"/>
                </a:lnTo>
                <a:close/>
                <a:moveTo>
                  <a:pt x="125" y="159"/>
                </a:moveTo>
                <a:cubicBezTo>
                  <a:pt x="127" y="167"/>
                  <a:pt x="133" y="173"/>
                  <a:pt x="141" y="175"/>
                </a:cubicBezTo>
                <a:cubicBezTo>
                  <a:pt x="141" y="203"/>
                  <a:pt x="141" y="203"/>
                  <a:pt x="141" y="203"/>
                </a:cubicBezTo>
                <a:cubicBezTo>
                  <a:pt x="118" y="199"/>
                  <a:pt x="101" y="182"/>
                  <a:pt x="97" y="159"/>
                </a:cubicBezTo>
                <a:lnTo>
                  <a:pt x="125" y="159"/>
                </a:lnTo>
                <a:close/>
                <a:moveTo>
                  <a:pt x="159" y="175"/>
                </a:moveTo>
                <a:cubicBezTo>
                  <a:pt x="167" y="173"/>
                  <a:pt x="173" y="167"/>
                  <a:pt x="175" y="159"/>
                </a:cubicBezTo>
                <a:cubicBezTo>
                  <a:pt x="203" y="159"/>
                  <a:pt x="203" y="159"/>
                  <a:pt x="203" y="159"/>
                </a:cubicBezTo>
                <a:cubicBezTo>
                  <a:pt x="199" y="182"/>
                  <a:pt x="182" y="199"/>
                  <a:pt x="159" y="203"/>
                </a:cubicBezTo>
                <a:lnTo>
                  <a:pt x="159" y="175"/>
                </a:lnTo>
                <a:close/>
                <a:moveTo>
                  <a:pt x="175" y="141"/>
                </a:moveTo>
                <a:cubicBezTo>
                  <a:pt x="173" y="133"/>
                  <a:pt x="167" y="127"/>
                  <a:pt x="159" y="125"/>
                </a:cubicBezTo>
                <a:cubicBezTo>
                  <a:pt x="159" y="97"/>
                  <a:pt x="159" y="97"/>
                  <a:pt x="159" y="97"/>
                </a:cubicBezTo>
                <a:cubicBezTo>
                  <a:pt x="182" y="101"/>
                  <a:pt x="199" y="118"/>
                  <a:pt x="203" y="141"/>
                </a:cubicBezTo>
                <a:lnTo>
                  <a:pt x="175" y="141"/>
                </a:lnTo>
                <a:close/>
                <a:moveTo>
                  <a:pt x="141" y="42"/>
                </a:moveTo>
                <a:cubicBezTo>
                  <a:pt x="141" y="70"/>
                  <a:pt x="141" y="70"/>
                  <a:pt x="141" y="70"/>
                </a:cubicBezTo>
                <a:cubicBezTo>
                  <a:pt x="103" y="74"/>
                  <a:pt x="74" y="103"/>
                  <a:pt x="70" y="141"/>
                </a:cubicBezTo>
                <a:cubicBezTo>
                  <a:pt x="42" y="141"/>
                  <a:pt x="42" y="141"/>
                  <a:pt x="42" y="141"/>
                </a:cubicBezTo>
                <a:cubicBezTo>
                  <a:pt x="47" y="89"/>
                  <a:pt x="89" y="47"/>
                  <a:pt x="141" y="42"/>
                </a:cubicBezTo>
                <a:close/>
                <a:moveTo>
                  <a:pt x="42" y="159"/>
                </a:moveTo>
                <a:cubicBezTo>
                  <a:pt x="70" y="159"/>
                  <a:pt x="70" y="159"/>
                  <a:pt x="70" y="159"/>
                </a:cubicBezTo>
                <a:cubicBezTo>
                  <a:pt x="74" y="197"/>
                  <a:pt x="103" y="226"/>
                  <a:pt x="141" y="230"/>
                </a:cubicBezTo>
                <a:cubicBezTo>
                  <a:pt x="141" y="258"/>
                  <a:pt x="141" y="258"/>
                  <a:pt x="141" y="258"/>
                </a:cubicBezTo>
                <a:cubicBezTo>
                  <a:pt x="89" y="253"/>
                  <a:pt x="47" y="211"/>
                  <a:pt x="42" y="159"/>
                </a:cubicBezTo>
                <a:close/>
                <a:moveTo>
                  <a:pt x="159" y="258"/>
                </a:moveTo>
                <a:cubicBezTo>
                  <a:pt x="159" y="230"/>
                  <a:pt x="159" y="230"/>
                  <a:pt x="159" y="230"/>
                </a:cubicBezTo>
                <a:cubicBezTo>
                  <a:pt x="197" y="226"/>
                  <a:pt x="226" y="197"/>
                  <a:pt x="230" y="159"/>
                </a:cubicBezTo>
                <a:cubicBezTo>
                  <a:pt x="258" y="159"/>
                  <a:pt x="258" y="159"/>
                  <a:pt x="258" y="159"/>
                </a:cubicBezTo>
                <a:cubicBezTo>
                  <a:pt x="253" y="211"/>
                  <a:pt x="211" y="253"/>
                  <a:pt x="159" y="258"/>
                </a:cubicBezTo>
                <a:close/>
              </a:path>
            </a:pathLst>
          </a:custGeom>
          <a:solidFill>
            <a:sysClr val="window" lastClr="FFFFFF">
              <a:lumMod val="50000"/>
            </a:sysClr>
          </a:solidFill>
          <a:ln>
            <a:noFill/>
          </a:ln>
        </p:spPr>
        <p:txBody>
          <a:bodyPr vert="horz" wrap="square" lIns="61729" tIns="30865" rIns="61729" bIns="30865" numCol="1" anchor="t" anchorCtr="0" compatLnSpc="1">
            <a:prstTxWarp prst="textNoShape">
              <a:avLst/>
            </a:prstTxWarp>
          </a:bodyPr>
          <a:lstStyle/>
          <a:p>
            <a:pPr defTabSz="685800">
              <a:defRPr/>
            </a:pPr>
            <a:endParaRPr lang="en-US" sz="1200" kern="0">
              <a:solidFill>
                <a:srgbClr val="505050"/>
              </a:solidFill>
            </a:endParaRPr>
          </a:p>
        </p:txBody>
      </p:sp>
      <p:sp>
        <p:nvSpPr>
          <p:cNvPr id="84" name="Rectangle 83">
            <a:extLst>
              <a:ext uri="{FF2B5EF4-FFF2-40B4-BE49-F238E27FC236}">
                <a16:creationId xmlns:a16="http://schemas.microsoft.com/office/drawing/2014/main" id="{E900BF94-8A05-4EB9-9F69-CBA602155F69}"/>
              </a:ext>
            </a:extLst>
          </p:cNvPr>
          <p:cNvSpPr/>
          <p:nvPr/>
        </p:nvSpPr>
        <p:spPr>
          <a:xfrm>
            <a:off x="6109753" y="2432933"/>
            <a:ext cx="934226" cy="485005"/>
          </a:xfrm>
          <a:prstGeom prst="rect">
            <a:avLst/>
          </a:prstGeom>
        </p:spPr>
        <p:txBody>
          <a:bodyPr wrap="square" lIns="0" tIns="0" rIns="0" bIns="0" anchor="ctr">
            <a:spAutoFit/>
          </a:bodyPr>
          <a:lstStyle/>
          <a:p>
            <a:pPr defTabSz="685306" fontAlgn="base">
              <a:spcBef>
                <a:spcPct val="0"/>
              </a:spcBef>
              <a:spcAft>
                <a:spcPct val="0"/>
              </a:spcAft>
              <a:defRPr/>
            </a:pPr>
            <a:r>
              <a:rPr lang="en-GB" sz="788">
                <a:solidFill>
                  <a:srgbClr val="505050"/>
                </a:solidFill>
                <a:latin typeface="Segoe UI"/>
                <a:ea typeface="Segoe UI" panose="020B0502040204020203" pitchFamily="34" charset="0"/>
                <a:cs typeface="Segoe UI"/>
              </a:rPr>
              <a:t>Field Technicians work queue is logged with status updates for visibility</a:t>
            </a:r>
          </a:p>
        </p:txBody>
      </p:sp>
      <p:pic>
        <p:nvPicPr>
          <p:cNvPr id="85" name="Picture 84" descr="\\MAGNUM\Projects\Microsoft\Cloud Power FY12\Design\Icons\PNGs\Pooled.png">
            <a:extLst>
              <a:ext uri="{FF2B5EF4-FFF2-40B4-BE49-F238E27FC236}">
                <a16:creationId xmlns:a16="http://schemas.microsoft.com/office/drawing/2014/main" id="{3EBD5B87-D14F-41A3-8358-9846801BF873}"/>
              </a:ext>
            </a:extLst>
          </p:cNvPr>
          <p:cNvPicPr>
            <a:picLocks noChangeAspect="1" noChangeArrowheads="1"/>
          </p:cNvPicPr>
          <p:nvPr/>
        </p:nvPicPr>
        <p:blipFill>
          <a:blip r:embed="rId13" cstate="screen">
            <a:duotone>
              <a:prstClr val="black"/>
              <a:srgbClr val="2E4058">
                <a:tint val="45000"/>
                <a:satMod val="400000"/>
              </a:srgbClr>
            </a:duotone>
            <a:extLst>
              <a:ext uri="{BEBA8EAE-BF5A-486C-A8C5-ECC9F3942E4B}">
                <a14:imgProps xmlns:a14="http://schemas.microsoft.com/office/drawing/2010/main">
                  <a14:imgLayer r:embed="rId14">
                    <a14:imgEffect>
                      <a14:saturation sat="33000"/>
                    </a14:imgEffect>
                  </a14:imgLayer>
                </a14:imgProps>
              </a:ext>
              <a:ext uri="{28A0092B-C50C-407E-A947-70E740481C1C}">
                <a14:useLocalDpi xmlns:a14="http://schemas.microsoft.com/office/drawing/2010/main"/>
              </a:ext>
            </a:extLst>
          </a:blip>
          <a:stretch>
            <a:fillRect/>
          </a:stretch>
        </p:blipFill>
        <p:spPr bwMode="auto">
          <a:xfrm>
            <a:off x="5623252" y="3566519"/>
            <a:ext cx="697542" cy="697542"/>
          </a:xfrm>
          <a:prstGeom prst="rect">
            <a:avLst/>
          </a:prstGeom>
          <a:noFill/>
        </p:spPr>
      </p:pic>
      <p:grpSp>
        <p:nvGrpSpPr>
          <p:cNvPr id="2" name="Group 1">
            <a:extLst>
              <a:ext uri="{FF2B5EF4-FFF2-40B4-BE49-F238E27FC236}">
                <a16:creationId xmlns:a16="http://schemas.microsoft.com/office/drawing/2014/main" id="{098B623C-D59E-42FD-A6A0-5FD277C591D5}"/>
              </a:ext>
            </a:extLst>
          </p:cNvPr>
          <p:cNvGrpSpPr/>
          <p:nvPr/>
        </p:nvGrpSpPr>
        <p:grpSpPr>
          <a:xfrm>
            <a:off x="5874221" y="3569000"/>
            <a:ext cx="210022" cy="203657"/>
            <a:chOff x="6505072" y="5349085"/>
            <a:chExt cx="419100" cy="406400"/>
          </a:xfrm>
        </p:grpSpPr>
        <p:sp>
          <p:nvSpPr>
            <p:cNvPr id="160" name="AutoShape 116">
              <a:extLst>
                <a:ext uri="{FF2B5EF4-FFF2-40B4-BE49-F238E27FC236}">
                  <a16:creationId xmlns:a16="http://schemas.microsoft.com/office/drawing/2014/main" id="{CB283379-B46A-49F7-A005-9E2A8F7E5A5F}"/>
                </a:ext>
              </a:extLst>
            </p:cNvPr>
            <p:cNvSpPr>
              <a:spLocks noChangeAspect="1" noChangeArrowheads="1" noTextEdit="1"/>
            </p:cNvSpPr>
            <p:nvPr/>
          </p:nvSpPr>
          <p:spPr bwMode="auto">
            <a:xfrm>
              <a:off x="6505072" y="5349085"/>
              <a:ext cx="406400" cy="406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99557">
                <a:defRPr/>
              </a:pPr>
              <a:endParaRPr lang="en-US" sz="1350" kern="0">
                <a:solidFill>
                  <a:srgbClr val="3C3C41"/>
                </a:solidFill>
              </a:endParaRPr>
            </a:p>
          </p:txBody>
        </p:sp>
        <p:sp>
          <p:nvSpPr>
            <p:cNvPr id="161" name="Freeform 118">
              <a:extLst>
                <a:ext uri="{FF2B5EF4-FFF2-40B4-BE49-F238E27FC236}">
                  <a16:creationId xmlns:a16="http://schemas.microsoft.com/office/drawing/2014/main" id="{09F01456-A1AA-4C22-AD8B-8E58FB7271AA}"/>
                </a:ext>
              </a:extLst>
            </p:cNvPr>
            <p:cNvSpPr>
              <a:spLocks noEditPoints="1"/>
            </p:cNvSpPr>
            <p:nvPr/>
          </p:nvSpPr>
          <p:spPr bwMode="auto">
            <a:xfrm>
              <a:off x="6505072" y="5357023"/>
              <a:ext cx="419100" cy="393700"/>
            </a:xfrm>
            <a:custGeom>
              <a:avLst/>
              <a:gdLst>
                <a:gd name="T0" fmla="*/ 320 w 426"/>
                <a:gd name="T1" fmla="*/ 0 h 400"/>
                <a:gd name="T2" fmla="*/ 106 w 426"/>
                <a:gd name="T3" fmla="*/ 27 h 400"/>
                <a:gd name="T4" fmla="*/ 80 w 426"/>
                <a:gd name="T5" fmla="*/ 0 h 400"/>
                <a:gd name="T6" fmla="*/ 0 w 426"/>
                <a:gd name="T7" fmla="*/ 27 h 400"/>
                <a:gd name="T8" fmla="*/ 426 w 426"/>
                <a:gd name="T9" fmla="*/ 400 h 400"/>
                <a:gd name="T10" fmla="*/ 346 w 426"/>
                <a:gd name="T11" fmla="*/ 27 h 400"/>
                <a:gd name="T12" fmla="*/ 320 w 426"/>
                <a:gd name="T13" fmla="*/ 0 h 400"/>
                <a:gd name="T14" fmla="*/ 346 w 426"/>
                <a:gd name="T15" fmla="*/ 80 h 400"/>
                <a:gd name="T16" fmla="*/ 399 w 426"/>
                <a:gd name="T17" fmla="*/ 54 h 400"/>
                <a:gd name="T18" fmla="*/ 26 w 426"/>
                <a:gd name="T19" fmla="*/ 107 h 400"/>
                <a:gd name="T20" fmla="*/ 80 w 426"/>
                <a:gd name="T21" fmla="*/ 54 h 400"/>
                <a:gd name="T22" fmla="*/ 106 w 426"/>
                <a:gd name="T23" fmla="*/ 80 h 400"/>
                <a:gd name="T24" fmla="*/ 320 w 426"/>
                <a:gd name="T25" fmla="*/ 54 h 400"/>
                <a:gd name="T26" fmla="*/ 346 w 426"/>
                <a:gd name="T27" fmla="*/ 80 h 400"/>
                <a:gd name="T28" fmla="*/ 320 w 426"/>
                <a:gd name="T29" fmla="*/ 160 h 400"/>
                <a:gd name="T30" fmla="*/ 346 w 426"/>
                <a:gd name="T31" fmla="*/ 187 h 400"/>
                <a:gd name="T32" fmla="*/ 320 w 426"/>
                <a:gd name="T33" fmla="*/ 160 h 400"/>
                <a:gd name="T34" fmla="*/ 240 w 426"/>
                <a:gd name="T35" fmla="*/ 160 h 400"/>
                <a:gd name="T36" fmla="*/ 266 w 426"/>
                <a:gd name="T37" fmla="*/ 187 h 400"/>
                <a:gd name="T38" fmla="*/ 240 w 426"/>
                <a:gd name="T39" fmla="*/ 160 h 400"/>
                <a:gd name="T40" fmla="*/ 159 w 426"/>
                <a:gd name="T41" fmla="*/ 160 h 400"/>
                <a:gd name="T42" fmla="*/ 186 w 426"/>
                <a:gd name="T43" fmla="*/ 187 h 400"/>
                <a:gd name="T44" fmla="*/ 159 w 426"/>
                <a:gd name="T45" fmla="*/ 160 h 400"/>
                <a:gd name="T46" fmla="*/ 320 w 426"/>
                <a:gd name="T47" fmla="*/ 213 h 400"/>
                <a:gd name="T48" fmla="*/ 346 w 426"/>
                <a:gd name="T49" fmla="*/ 240 h 400"/>
                <a:gd name="T50" fmla="*/ 320 w 426"/>
                <a:gd name="T51" fmla="*/ 213 h 400"/>
                <a:gd name="T52" fmla="*/ 240 w 426"/>
                <a:gd name="T53" fmla="*/ 213 h 400"/>
                <a:gd name="T54" fmla="*/ 266 w 426"/>
                <a:gd name="T55" fmla="*/ 240 h 400"/>
                <a:gd name="T56" fmla="*/ 240 w 426"/>
                <a:gd name="T57" fmla="*/ 213 h 400"/>
                <a:gd name="T58" fmla="*/ 159 w 426"/>
                <a:gd name="T59" fmla="*/ 213 h 400"/>
                <a:gd name="T60" fmla="*/ 186 w 426"/>
                <a:gd name="T61" fmla="*/ 240 h 400"/>
                <a:gd name="T62" fmla="*/ 159 w 426"/>
                <a:gd name="T63" fmla="*/ 213 h 400"/>
                <a:gd name="T64" fmla="*/ 80 w 426"/>
                <a:gd name="T65" fmla="*/ 213 h 400"/>
                <a:gd name="T66" fmla="*/ 106 w 426"/>
                <a:gd name="T67" fmla="*/ 240 h 400"/>
                <a:gd name="T68" fmla="*/ 80 w 426"/>
                <a:gd name="T69" fmla="*/ 213 h 400"/>
                <a:gd name="T70" fmla="*/ 320 w 426"/>
                <a:gd name="T71" fmla="*/ 267 h 400"/>
                <a:gd name="T72" fmla="*/ 346 w 426"/>
                <a:gd name="T73" fmla="*/ 294 h 400"/>
                <a:gd name="T74" fmla="*/ 320 w 426"/>
                <a:gd name="T75" fmla="*/ 267 h 400"/>
                <a:gd name="T76" fmla="*/ 240 w 426"/>
                <a:gd name="T77" fmla="*/ 267 h 400"/>
                <a:gd name="T78" fmla="*/ 266 w 426"/>
                <a:gd name="T79" fmla="*/ 294 h 400"/>
                <a:gd name="T80" fmla="*/ 240 w 426"/>
                <a:gd name="T81" fmla="*/ 267 h 400"/>
                <a:gd name="T82" fmla="*/ 159 w 426"/>
                <a:gd name="T83" fmla="*/ 267 h 400"/>
                <a:gd name="T84" fmla="*/ 186 w 426"/>
                <a:gd name="T85" fmla="*/ 294 h 400"/>
                <a:gd name="T86" fmla="*/ 159 w 426"/>
                <a:gd name="T87" fmla="*/ 267 h 400"/>
                <a:gd name="T88" fmla="*/ 80 w 426"/>
                <a:gd name="T89" fmla="*/ 267 h 400"/>
                <a:gd name="T90" fmla="*/ 106 w 426"/>
                <a:gd name="T91" fmla="*/ 294 h 400"/>
                <a:gd name="T92" fmla="*/ 80 w 426"/>
                <a:gd name="T93" fmla="*/ 267 h 400"/>
                <a:gd name="T94" fmla="*/ 240 w 426"/>
                <a:gd name="T95" fmla="*/ 320 h 400"/>
                <a:gd name="T96" fmla="*/ 266 w 426"/>
                <a:gd name="T97" fmla="*/ 347 h 400"/>
                <a:gd name="T98" fmla="*/ 240 w 426"/>
                <a:gd name="T99" fmla="*/ 320 h 400"/>
                <a:gd name="T100" fmla="*/ 159 w 426"/>
                <a:gd name="T101" fmla="*/ 320 h 400"/>
                <a:gd name="T102" fmla="*/ 186 w 426"/>
                <a:gd name="T103" fmla="*/ 347 h 400"/>
                <a:gd name="T104" fmla="*/ 159 w 426"/>
                <a:gd name="T105" fmla="*/ 320 h 400"/>
                <a:gd name="T106" fmla="*/ 80 w 426"/>
                <a:gd name="T107" fmla="*/ 320 h 400"/>
                <a:gd name="T108" fmla="*/ 106 w 426"/>
                <a:gd name="T109" fmla="*/ 347 h 400"/>
                <a:gd name="T110" fmla="*/ 80 w 426"/>
                <a:gd name="T111" fmla="*/ 320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26" h="400">
                  <a:moveTo>
                    <a:pt x="320" y="0"/>
                  </a:moveTo>
                  <a:lnTo>
                    <a:pt x="320" y="0"/>
                  </a:lnTo>
                  <a:lnTo>
                    <a:pt x="320" y="27"/>
                  </a:lnTo>
                  <a:lnTo>
                    <a:pt x="106" y="27"/>
                  </a:lnTo>
                  <a:lnTo>
                    <a:pt x="106" y="0"/>
                  </a:lnTo>
                  <a:lnTo>
                    <a:pt x="80" y="0"/>
                  </a:lnTo>
                  <a:lnTo>
                    <a:pt x="80" y="27"/>
                  </a:lnTo>
                  <a:lnTo>
                    <a:pt x="0" y="27"/>
                  </a:lnTo>
                  <a:lnTo>
                    <a:pt x="0" y="400"/>
                  </a:lnTo>
                  <a:lnTo>
                    <a:pt x="426" y="400"/>
                  </a:lnTo>
                  <a:lnTo>
                    <a:pt x="426" y="27"/>
                  </a:lnTo>
                  <a:lnTo>
                    <a:pt x="346" y="27"/>
                  </a:lnTo>
                  <a:lnTo>
                    <a:pt x="346" y="0"/>
                  </a:lnTo>
                  <a:lnTo>
                    <a:pt x="320" y="0"/>
                  </a:lnTo>
                  <a:close/>
                  <a:moveTo>
                    <a:pt x="346" y="80"/>
                  </a:moveTo>
                  <a:lnTo>
                    <a:pt x="346" y="80"/>
                  </a:lnTo>
                  <a:lnTo>
                    <a:pt x="346" y="54"/>
                  </a:lnTo>
                  <a:lnTo>
                    <a:pt x="399" y="54"/>
                  </a:lnTo>
                  <a:lnTo>
                    <a:pt x="399" y="107"/>
                  </a:lnTo>
                  <a:lnTo>
                    <a:pt x="26" y="107"/>
                  </a:lnTo>
                  <a:lnTo>
                    <a:pt x="26" y="54"/>
                  </a:lnTo>
                  <a:lnTo>
                    <a:pt x="80" y="54"/>
                  </a:lnTo>
                  <a:lnTo>
                    <a:pt x="80" y="80"/>
                  </a:lnTo>
                  <a:lnTo>
                    <a:pt x="106" y="80"/>
                  </a:lnTo>
                  <a:lnTo>
                    <a:pt x="106" y="54"/>
                  </a:lnTo>
                  <a:lnTo>
                    <a:pt x="320" y="54"/>
                  </a:lnTo>
                  <a:lnTo>
                    <a:pt x="320" y="80"/>
                  </a:lnTo>
                  <a:lnTo>
                    <a:pt x="346" y="80"/>
                  </a:lnTo>
                  <a:close/>
                  <a:moveTo>
                    <a:pt x="320" y="160"/>
                  </a:moveTo>
                  <a:lnTo>
                    <a:pt x="320" y="160"/>
                  </a:lnTo>
                  <a:lnTo>
                    <a:pt x="346" y="160"/>
                  </a:lnTo>
                  <a:lnTo>
                    <a:pt x="346" y="187"/>
                  </a:lnTo>
                  <a:lnTo>
                    <a:pt x="320" y="187"/>
                  </a:lnTo>
                  <a:lnTo>
                    <a:pt x="320" y="160"/>
                  </a:lnTo>
                  <a:close/>
                  <a:moveTo>
                    <a:pt x="240" y="160"/>
                  </a:moveTo>
                  <a:lnTo>
                    <a:pt x="240" y="160"/>
                  </a:lnTo>
                  <a:lnTo>
                    <a:pt x="266" y="160"/>
                  </a:lnTo>
                  <a:lnTo>
                    <a:pt x="266" y="187"/>
                  </a:lnTo>
                  <a:lnTo>
                    <a:pt x="240" y="187"/>
                  </a:lnTo>
                  <a:lnTo>
                    <a:pt x="240" y="160"/>
                  </a:lnTo>
                  <a:close/>
                  <a:moveTo>
                    <a:pt x="159" y="160"/>
                  </a:moveTo>
                  <a:lnTo>
                    <a:pt x="159" y="160"/>
                  </a:lnTo>
                  <a:lnTo>
                    <a:pt x="186" y="160"/>
                  </a:lnTo>
                  <a:lnTo>
                    <a:pt x="186" y="187"/>
                  </a:lnTo>
                  <a:lnTo>
                    <a:pt x="159" y="187"/>
                  </a:lnTo>
                  <a:lnTo>
                    <a:pt x="159" y="160"/>
                  </a:lnTo>
                  <a:close/>
                  <a:moveTo>
                    <a:pt x="320" y="213"/>
                  </a:moveTo>
                  <a:lnTo>
                    <a:pt x="320" y="213"/>
                  </a:lnTo>
                  <a:lnTo>
                    <a:pt x="346" y="213"/>
                  </a:lnTo>
                  <a:lnTo>
                    <a:pt x="346" y="240"/>
                  </a:lnTo>
                  <a:lnTo>
                    <a:pt x="320" y="240"/>
                  </a:lnTo>
                  <a:lnTo>
                    <a:pt x="320" y="213"/>
                  </a:lnTo>
                  <a:close/>
                  <a:moveTo>
                    <a:pt x="240" y="213"/>
                  </a:moveTo>
                  <a:lnTo>
                    <a:pt x="240" y="213"/>
                  </a:lnTo>
                  <a:lnTo>
                    <a:pt x="266" y="213"/>
                  </a:lnTo>
                  <a:lnTo>
                    <a:pt x="266" y="240"/>
                  </a:lnTo>
                  <a:lnTo>
                    <a:pt x="240" y="240"/>
                  </a:lnTo>
                  <a:lnTo>
                    <a:pt x="240" y="213"/>
                  </a:lnTo>
                  <a:close/>
                  <a:moveTo>
                    <a:pt x="159" y="213"/>
                  </a:moveTo>
                  <a:lnTo>
                    <a:pt x="159" y="213"/>
                  </a:lnTo>
                  <a:lnTo>
                    <a:pt x="186" y="213"/>
                  </a:lnTo>
                  <a:lnTo>
                    <a:pt x="186" y="240"/>
                  </a:lnTo>
                  <a:lnTo>
                    <a:pt x="159" y="240"/>
                  </a:lnTo>
                  <a:lnTo>
                    <a:pt x="159" y="213"/>
                  </a:lnTo>
                  <a:close/>
                  <a:moveTo>
                    <a:pt x="80" y="213"/>
                  </a:moveTo>
                  <a:lnTo>
                    <a:pt x="80" y="213"/>
                  </a:lnTo>
                  <a:lnTo>
                    <a:pt x="106" y="213"/>
                  </a:lnTo>
                  <a:lnTo>
                    <a:pt x="106" y="240"/>
                  </a:lnTo>
                  <a:lnTo>
                    <a:pt x="80" y="240"/>
                  </a:lnTo>
                  <a:lnTo>
                    <a:pt x="80" y="213"/>
                  </a:lnTo>
                  <a:close/>
                  <a:moveTo>
                    <a:pt x="320" y="267"/>
                  </a:moveTo>
                  <a:lnTo>
                    <a:pt x="320" y="267"/>
                  </a:lnTo>
                  <a:lnTo>
                    <a:pt x="346" y="267"/>
                  </a:lnTo>
                  <a:lnTo>
                    <a:pt x="346" y="294"/>
                  </a:lnTo>
                  <a:lnTo>
                    <a:pt x="320" y="294"/>
                  </a:lnTo>
                  <a:lnTo>
                    <a:pt x="320" y="267"/>
                  </a:lnTo>
                  <a:close/>
                  <a:moveTo>
                    <a:pt x="240" y="267"/>
                  </a:moveTo>
                  <a:lnTo>
                    <a:pt x="240" y="267"/>
                  </a:lnTo>
                  <a:lnTo>
                    <a:pt x="266" y="267"/>
                  </a:lnTo>
                  <a:lnTo>
                    <a:pt x="266" y="294"/>
                  </a:lnTo>
                  <a:lnTo>
                    <a:pt x="240" y="294"/>
                  </a:lnTo>
                  <a:lnTo>
                    <a:pt x="240" y="267"/>
                  </a:lnTo>
                  <a:close/>
                  <a:moveTo>
                    <a:pt x="159" y="267"/>
                  </a:moveTo>
                  <a:lnTo>
                    <a:pt x="159" y="267"/>
                  </a:lnTo>
                  <a:lnTo>
                    <a:pt x="186" y="267"/>
                  </a:lnTo>
                  <a:lnTo>
                    <a:pt x="186" y="294"/>
                  </a:lnTo>
                  <a:lnTo>
                    <a:pt x="159" y="294"/>
                  </a:lnTo>
                  <a:lnTo>
                    <a:pt x="159" y="267"/>
                  </a:lnTo>
                  <a:close/>
                  <a:moveTo>
                    <a:pt x="80" y="267"/>
                  </a:moveTo>
                  <a:lnTo>
                    <a:pt x="80" y="267"/>
                  </a:lnTo>
                  <a:lnTo>
                    <a:pt x="106" y="267"/>
                  </a:lnTo>
                  <a:lnTo>
                    <a:pt x="106" y="294"/>
                  </a:lnTo>
                  <a:lnTo>
                    <a:pt x="80" y="294"/>
                  </a:lnTo>
                  <a:lnTo>
                    <a:pt x="80" y="267"/>
                  </a:lnTo>
                  <a:close/>
                  <a:moveTo>
                    <a:pt x="240" y="320"/>
                  </a:moveTo>
                  <a:lnTo>
                    <a:pt x="240" y="320"/>
                  </a:lnTo>
                  <a:lnTo>
                    <a:pt x="266" y="320"/>
                  </a:lnTo>
                  <a:lnTo>
                    <a:pt x="266" y="347"/>
                  </a:lnTo>
                  <a:lnTo>
                    <a:pt x="240" y="347"/>
                  </a:lnTo>
                  <a:lnTo>
                    <a:pt x="240" y="320"/>
                  </a:lnTo>
                  <a:close/>
                  <a:moveTo>
                    <a:pt x="159" y="320"/>
                  </a:moveTo>
                  <a:lnTo>
                    <a:pt x="159" y="320"/>
                  </a:lnTo>
                  <a:lnTo>
                    <a:pt x="186" y="320"/>
                  </a:lnTo>
                  <a:lnTo>
                    <a:pt x="186" y="347"/>
                  </a:lnTo>
                  <a:lnTo>
                    <a:pt x="159" y="347"/>
                  </a:lnTo>
                  <a:lnTo>
                    <a:pt x="159" y="320"/>
                  </a:lnTo>
                  <a:close/>
                  <a:moveTo>
                    <a:pt x="80" y="320"/>
                  </a:moveTo>
                  <a:lnTo>
                    <a:pt x="80" y="320"/>
                  </a:lnTo>
                  <a:lnTo>
                    <a:pt x="106" y="320"/>
                  </a:lnTo>
                  <a:lnTo>
                    <a:pt x="106" y="347"/>
                  </a:lnTo>
                  <a:lnTo>
                    <a:pt x="80" y="347"/>
                  </a:lnTo>
                  <a:lnTo>
                    <a:pt x="80" y="320"/>
                  </a:lnTo>
                  <a:close/>
                </a:path>
              </a:pathLst>
            </a:custGeom>
            <a:solidFill>
              <a:srgbClr val="2E4058"/>
            </a:solidFill>
            <a:ln w="0">
              <a:noFill/>
              <a:prstDash val="solid"/>
              <a:round/>
              <a:headEnd/>
              <a:tailEnd/>
            </a:ln>
          </p:spPr>
          <p:txBody>
            <a:bodyPr vert="horz" wrap="square" lIns="68580" tIns="34290" rIns="68580" bIns="34290" numCol="1" anchor="t" anchorCtr="0" compatLnSpc="1">
              <a:prstTxWarp prst="textNoShape">
                <a:avLst/>
              </a:prstTxWarp>
            </a:bodyPr>
            <a:lstStyle/>
            <a:p>
              <a:pPr defTabSz="699557">
                <a:defRPr/>
              </a:pPr>
              <a:endParaRPr lang="en-US" sz="1350" kern="0">
                <a:solidFill>
                  <a:srgbClr val="3C3C41"/>
                </a:solidFill>
              </a:endParaRPr>
            </a:p>
          </p:txBody>
        </p:sp>
        <p:sp>
          <p:nvSpPr>
            <p:cNvPr id="162" name="Freeform 119">
              <a:extLst>
                <a:ext uri="{FF2B5EF4-FFF2-40B4-BE49-F238E27FC236}">
                  <a16:creationId xmlns:a16="http://schemas.microsoft.com/office/drawing/2014/main" id="{0A77C28A-53D6-4CB9-AC77-7A8D379A4F50}"/>
                </a:ext>
              </a:extLst>
            </p:cNvPr>
            <p:cNvSpPr>
              <a:spLocks/>
            </p:cNvSpPr>
            <p:nvPr/>
          </p:nvSpPr>
          <p:spPr bwMode="auto">
            <a:xfrm>
              <a:off x="6582860" y="5672935"/>
              <a:ext cx="26988" cy="25400"/>
            </a:xfrm>
            <a:custGeom>
              <a:avLst/>
              <a:gdLst>
                <a:gd name="T0" fmla="*/ 0 w 27"/>
                <a:gd name="T1" fmla="*/ 27 h 27"/>
                <a:gd name="T2" fmla="*/ 0 w 27"/>
                <a:gd name="T3" fmla="*/ 27 h 27"/>
                <a:gd name="T4" fmla="*/ 27 w 27"/>
                <a:gd name="T5" fmla="*/ 27 h 27"/>
                <a:gd name="T6" fmla="*/ 27 w 27"/>
                <a:gd name="T7" fmla="*/ 0 h 27"/>
                <a:gd name="T8" fmla="*/ 0 w 27"/>
                <a:gd name="T9" fmla="*/ 0 h 27"/>
                <a:gd name="T10" fmla="*/ 0 w 27"/>
                <a:gd name="T11" fmla="*/ 27 h 27"/>
              </a:gdLst>
              <a:ahLst/>
              <a:cxnLst>
                <a:cxn ang="0">
                  <a:pos x="T0" y="T1"/>
                </a:cxn>
                <a:cxn ang="0">
                  <a:pos x="T2" y="T3"/>
                </a:cxn>
                <a:cxn ang="0">
                  <a:pos x="T4" y="T5"/>
                </a:cxn>
                <a:cxn ang="0">
                  <a:pos x="T6" y="T7"/>
                </a:cxn>
                <a:cxn ang="0">
                  <a:pos x="T8" y="T9"/>
                </a:cxn>
                <a:cxn ang="0">
                  <a:pos x="T10" y="T11"/>
                </a:cxn>
              </a:cxnLst>
              <a:rect l="0" t="0" r="r" b="b"/>
              <a:pathLst>
                <a:path w="27" h="27">
                  <a:moveTo>
                    <a:pt x="0" y="27"/>
                  </a:moveTo>
                  <a:lnTo>
                    <a:pt x="0" y="27"/>
                  </a:lnTo>
                  <a:lnTo>
                    <a:pt x="27" y="27"/>
                  </a:lnTo>
                  <a:lnTo>
                    <a:pt x="27" y="0"/>
                  </a:lnTo>
                  <a:lnTo>
                    <a:pt x="0" y="0"/>
                  </a:lnTo>
                  <a:lnTo>
                    <a:pt x="0" y="27"/>
                  </a:lnTo>
                  <a:close/>
                </a:path>
              </a:pathLst>
            </a:custGeom>
            <a:solidFill>
              <a:srgbClr val="577AA9"/>
            </a:solidFill>
            <a:ln w="0">
              <a:solidFill>
                <a:srgbClr val="30E5D0"/>
              </a:solidFill>
              <a:prstDash val="solid"/>
              <a:round/>
              <a:headEnd/>
              <a:tailEnd/>
            </a:ln>
          </p:spPr>
          <p:txBody>
            <a:bodyPr vert="horz" wrap="square" lIns="68580" tIns="34290" rIns="68580" bIns="34290" numCol="1" anchor="t" anchorCtr="0" compatLnSpc="1">
              <a:prstTxWarp prst="textNoShape">
                <a:avLst/>
              </a:prstTxWarp>
            </a:bodyPr>
            <a:lstStyle/>
            <a:p>
              <a:pPr defTabSz="699557">
                <a:defRPr/>
              </a:pPr>
              <a:endParaRPr lang="en-US" sz="1350" kern="0">
                <a:solidFill>
                  <a:srgbClr val="3C3C41"/>
                </a:solidFill>
              </a:endParaRPr>
            </a:p>
          </p:txBody>
        </p:sp>
        <p:sp>
          <p:nvSpPr>
            <p:cNvPr id="163" name="Freeform 120">
              <a:extLst>
                <a:ext uri="{FF2B5EF4-FFF2-40B4-BE49-F238E27FC236}">
                  <a16:creationId xmlns:a16="http://schemas.microsoft.com/office/drawing/2014/main" id="{E7B73A71-8FE0-4CDB-8400-1E0BD9AB33E1}"/>
                </a:ext>
              </a:extLst>
            </p:cNvPr>
            <p:cNvSpPr>
              <a:spLocks/>
            </p:cNvSpPr>
            <p:nvPr/>
          </p:nvSpPr>
          <p:spPr bwMode="auto">
            <a:xfrm>
              <a:off x="6662235" y="5672935"/>
              <a:ext cx="25400" cy="25400"/>
            </a:xfrm>
            <a:custGeom>
              <a:avLst/>
              <a:gdLst>
                <a:gd name="T0" fmla="*/ 0 w 27"/>
                <a:gd name="T1" fmla="*/ 27 h 27"/>
                <a:gd name="T2" fmla="*/ 0 w 27"/>
                <a:gd name="T3" fmla="*/ 27 h 27"/>
                <a:gd name="T4" fmla="*/ 27 w 27"/>
                <a:gd name="T5" fmla="*/ 27 h 27"/>
                <a:gd name="T6" fmla="*/ 27 w 27"/>
                <a:gd name="T7" fmla="*/ 0 h 27"/>
                <a:gd name="T8" fmla="*/ 0 w 27"/>
                <a:gd name="T9" fmla="*/ 0 h 27"/>
                <a:gd name="T10" fmla="*/ 0 w 27"/>
                <a:gd name="T11" fmla="*/ 27 h 27"/>
              </a:gdLst>
              <a:ahLst/>
              <a:cxnLst>
                <a:cxn ang="0">
                  <a:pos x="T0" y="T1"/>
                </a:cxn>
                <a:cxn ang="0">
                  <a:pos x="T2" y="T3"/>
                </a:cxn>
                <a:cxn ang="0">
                  <a:pos x="T4" y="T5"/>
                </a:cxn>
                <a:cxn ang="0">
                  <a:pos x="T6" y="T7"/>
                </a:cxn>
                <a:cxn ang="0">
                  <a:pos x="T8" y="T9"/>
                </a:cxn>
                <a:cxn ang="0">
                  <a:pos x="T10" y="T11"/>
                </a:cxn>
              </a:cxnLst>
              <a:rect l="0" t="0" r="r" b="b"/>
              <a:pathLst>
                <a:path w="27" h="27">
                  <a:moveTo>
                    <a:pt x="0" y="27"/>
                  </a:moveTo>
                  <a:lnTo>
                    <a:pt x="0" y="27"/>
                  </a:lnTo>
                  <a:lnTo>
                    <a:pt x="27" y="27"/>
                  </a:lnTo>
                  <a:lnTo>
                    <a:pt x="27" y="0"/>
                  </a:lnTo>
                  <a:lnTo>
                    <a:pt x="0" y="0"/>
                  </a:lnTo>
                  <a:lnTo>
                    <a:pt x="0" y="27"/>
                  </a:lnTo>
                  <a:close/>
                </a:path>
              </a:pathLst>
            </a:custGeom>
            <a:solidFill>
              <a:srgbClr val="577AA9"/>
            </a:solidFill>
            <a:ln w="0">
              <a:solidFill>
                <a:srgbClr val="30E5D0"/>
              </a:solidFill>
              <a:prstDash val="solid"/>
              <a:round/>
              <a:headEnd/>
              <a:tailEnd/>
            </a:ln>
          </p:spPr>
          <p:txBody>
            <a:bodyPr vert="horz" wrap="square" lIns="68580" tIns="34290" rIns="68580" bIns="34290" numCol="1" anchor="t" anchorCtr="0" compatLnSpc="1">
              <a:prstTxWarp prst="textNoShape">
                <a:avLst/>
              </a:prstTxWarp>
            </a:bodyPr>
            <a:lstStyle/>
            <a:p>
              <a:pPr defTabSz="699557">
                <a:defRPr/>
              </a:pPr>
              <a:endParaRPr lang="en-US" sz="1350" kern="0">
                <a:solidFill>
                  <a:srgbClr val="3C3C41"/>
                </a:solidFill>
              </a:endParaRPr>
            </a:p>
          </p:txBody>
        </p:sp>
        <p:sp>
          <p:nvSpPr>
            <p:cNvPr id="164" name="Freeform 121">
              <a:extLst>
                <a:ext uri="{FF2B5EF4-FFF2-40B4-BE49-F238E27FC236}">
                  <a16:creationId xmlns:a16="http://schemas.microsoft.com/office/drawing/2014/main" id="{3FD69FD7-F6FC-4C01-ABAB-66CE90FFD965}"/>
                </a:ext>
              </a:extLst>
            </p:cNvPr>
            <p:cNvSpPr>
              <a:spLocks/>
            </p:cNvSpPr>
            <p:nvPr/>
          </p:nvSpPr>
          <p:spPr bwMode="auto">
            <a:xfrm>
              <a:off x="6740022" y="5672935"/>
              <a:ext cx="26988" cy="25400"/>
            </a:xfrm>
            <a:custGeom>
              <a:avLst/>
              <a:gdLst>
                <a:gd name="T0" fmla="*/ 0 w 27"/>
                <a:gd name="T1" fmla="*/ 27 h 27"/>
                <a:gd name="T2" fmla="*/ 0 w 27"/>
                <a:gd name="T3" fmla="*/ 27 h 27"/>
                <a:gd name="T4" fmla="*/ 27 w 27"/>
                <a:gd name="T5" fmla="*/ 27 h 27"/>
                <a:gd name="T6" fmla="*/ 27 w 27"/>
                <a:gd name="T7" fmla="*/ 0 h 27"/>
                <a:gd name="T8" fmla="*/ 0 w 27"/>
                <a:gd name="T9" fmla="*/ 0 h 27"/>
                <a:gd name="T10" fmla="*/ 0 w 27"/>
                <a:gd name="T11" fmla="*/ 27 h 27"/>
              </a:gdLst>
              <a:ahLst/>
              <a:cxnLst>
                <a:cxn ang="0">
                  <a:pos x="T0" y="T1"/>
                </a:cxn>
                <a:cxn ang="0">
                  <a:pos x="T2" y="T3"/>
                </a:cxn>
                <a:cxn ang="0">
                  <a:pos x="T4" y="T5"/>
                </a:cxn>
                <a:cxn ang="0">
                  <a:pos x="T6" y="T7"/>
                </a:cxn>
                <a:cxn ang="0">
                  <a:pos x="T8" y="T9"/>
                </a:cxn>
                <a:cxn ang="0">
                  <a:pos x="T10" y="T11"/>
                </a:cxn>
              </a:cxnLst>
              <a:rect l="0" t="0" r="r" b="b"/>
              <a:pathLst>
                <a:path w="27" h="27">
                  <a:moveTo>
                    <a:pt x="0" y="27"/>
                  </a:moveTo>
                  <a:lnTo>
                    <a:pt x="0" y="27"/>
                  </a:lnTo>
                  <a:lnTo>
                    <a:pt x="27" y="27"/>
                  </a:lnTo>
                  <a:lnTo>
                    <a:pt x="27" y="0"/>
                  </a:lnTo>
                  <a:lnTo>
                    <a:pt x="0" y="0"/>
                  </a:lnTo>
                  <a:lnTo>
                    <a:pt x="0" y="27"/>
                  </a:lnTo>
                  <a:close/>
                </a:path>
              </a:pathLst>
            </a:custGeom>
            <a:solidFill>
              <a:srgbClr val="577AA9"/>
            </a:solidFill>
            <a:ln w="0">
              <a:solidFill>
                <a:srgbClr val="30E5D0"/>
              </a:solidFill>
              <a:prstDash val="solid"/>
              <a:round/>
              <a:headEnd/>
              <a:tailEnd/>
            </a:ln>
          </p:spPr>
          <p:txBody>
            <a:bodyPr vert="horz" wrap="square" lIns="68580" tIns="34290" rIns="68580" bIns="34290" numCol="1" anchor="t" anchorCtr="0" compatLnSpc="1">
              <a:prstTxWarp prst="textNoShape">
                <a:avLst/>
              </a:prstTxWarp>
            </a:bodyPr>
            <a:lstStyle/>
            <a:p>
              <a:pPr defTabSz="699557">
                <a:defRPr/>
              </a:pPr>
              <a:endParaRPr lang="en-US" sz="1350" kern="0">
                <a:solidFill>
                  <a:srgbClr val="3C3C41"/>
                </a:solidFill>
              </a:endParaRPr>
            </a:p>
          </p:txBody>
        </p:sp>
        <p:sp>
          <p:nvSpPr>
            <p:cNvPr id="165" name="Freeform 122">
              <a:extLst>
                <a:ext uri="{FF2B5EF4-FFF2-40B4-BE49-F238E27FC236}">
                  <a16:creationId xmlns:a16="http://schemas.microsoft.com/office/drawing/2014/main" id="{F55E2240-176E-4205-9B38-7DBA54C9663F}"/>
                </a:ext>
              </a:extLst>
            </p:cNvPr>
            <p:cNvSpPr>
              <a:spLocks/>
            </p:cNvSpPr>
            <p:nvPr/>
          </p:nvSpPr>
          <p:spPr bwMode="auto">
            <a:xfrm>
              <a:off x="6662235" y="5620548"/>
              <a:ext cx="25400" cy="25400"/>
            </a:xfrm>
            <a:custGeom>
              <a:avLst/>
              <a:gdLst>
                <a:gd name="T0" fmla="*/ 0 w 27"/>
                <a:gd name="T1" fmla="*/ 27 h 27"/>
                <a:gd name="T2" fmla="*/ 0 w 27"/>
                <a:gd name="T3" fmla="*/ 27 h 27"/>
                <a:gd name="T4" fmla="*/ 27 w 27"/>
                <a:gd name="T5" fmla="*/ 27 h 27"/>
                <a:gd name="T6" fmla="*/ 27 w 27"/>
                <a:gd name="T7" fmla="*/ 0 h 27"/>
                <a:gd name="T8" fmla="*/ 0 w 27"/>
                <a:gd name="T9" fmla="*/ 0 h 27"/>
                <a:gd name="T10" fmla="*/ 0 w 27"/>
                <a:gd name="T11" fmla="*/ 27 h 27"/>
              </a:gdLst>
              <a:ahLst/>
              <a:cxnLst>
                <a:cxn ang="0">
                  <a:pos x="T0" y="T1"/>
                </a:cxn>
                <a:cxn ang="0">
                  <a:pos x="T2" y="T3"/>
                </a:cxn>
                <a:cxn ang="0">
                  <a:pos x="T4" y="T5"/>
                </a:cxn>
                <a:cxn ang="0">
                  <a:pos x="T6" y="T7"/>
                </a:cxn>
                <a:cxn ang="0">
                  <a:pos x="T8" y="T9"/>
                </a:cxn>
                <a:cxn ang="0">
                  <a:pos x="T10" y="T11"/>
                </a:cxn>
              </a:cxnLst>
              <a:rect l="0" t="0" r="r" b="b"/>
              <a:pathLst>
                <a:path w="27" h="27">
                  <a:moveTo>
                    <a:pt x="0" y="27"/>
                  </a:moveTo>
                  <a:lnTo>
                    <a:pt x="0" y="27"/>
                  </a:lnTo>
                  <a:lnTo>
                    <a:pt x="27" y="27"/>
                  </a:lnTo>
                  <a:lnTo>
                    <a:pt x="27" y="0"/>
                  </a:lnTo>
                  <a:lnTo>
                    <a:pt x="0" y="0"/>
                  </a:lnTo>
                  <a:lnTo>
                    <a:pt x="0" y="27"/>
                  </a:lnTo>
                  <a:close/>
                </a:path>
              </a:pathLst>
            </a:custGeom>
            <a:solidFill>
              <a:srgbClr val="577AA9"/>
            </a:solidFill>
            <a:ln w="0">
              <a:solidFill>
                <a:srgbClr val="30E5D0"/>
              </a:solidFill>
              <a:prstDash val="solid"/>
              <a:round/>
              <a:headEnd/>
              <a:tailEnd/>
            </a:ln>
          </p:spPr>
          <p:txBody>
            <a:bodyPr vert="horz" wrap="square" lIns="68580" tIns="34290" rIns="68580" bIns="34290" numCol="1" anchor="t" anchorCtr="0" compatLnSpc="1">
              <a:prstTxWarp prst="textNoShape">
                <a:avLst/>
              </a:prstTxWarp>
            </a:bodyPr>
            <a:lstStyle/>
            <a:p>
              <a:pPr defTabSz="699557">
                <a:defRPr/>
              </a:pPr>
              <a:endParaRPr lang="en-US" sz="1350" kern="0">
                <a:solidFill>
                  <a:srgbClr val="3C3C41"/>
                </a:solidFill>
              </a:endParaRPr>
            </a:p>
          </p:txBody>
        </p:sp>
        <p:sp>
          <p:nvSpPr>
            <p:cNvPr id="166" name="Freeform 123">
              <a:extLst>
                <a:ext uri="{FF2B5EF4-FFF2-40B4-BE49-F238E27FC236}">
                  <a16:creationId xmlns:a16="http://schemas.microsoft.com/office/drawing/2014/main" id="{B8E7A27A-AC8E-46C4-ACC1-0DAAC136E173}"/>
                </a:ext>
              </a:extLst>
            </p:cNvPr>
            <p:cNvSpPr>
              <a:spLocks/>
            </p:cNvSpPr>
            <p:nvPr/>
          </p:nvSpPr>
          <p:spPr bwMode="auto">
            <a:xfrm>
              <a:off x="6662235" y="5568160"/>
              <a:ext cx="25400" cy="25400"/>
            </a:xfrm>
            <a:custGeom>
              <a:avLst/>
              <a:gdLst>
                <a:gd name="T0" fmla="*/ 0 w 27"/>
                <a:gd name="T1" fmla="*/ 26 h 26"/>
                <a:gd name="T2" fmla="*/ 0 w 27"/>
                <a:gd name="T3" fmla="*/ 26 h 26"/>
                <a:gd name="T4" fmla="*/ 27 w 27"/>
                <a:gd name="T5" fmla="*/ 26 h 26"/>
                <a:gd name="T6" fmla="*/ 27 w 27"/>
                <a:gd name="T7" fmla="*/ 0 h 26"/>
                <a:gd name="T8" fmla="*/ 0 w 27"/>
                <a:gd name="T9" fmla="*/ 0 h 26"/>
                <a:gd name="T10" fmla="*/ 0 w 27"/>
                <a:gd name="T11" fmla="*/ 26 h 26"/>
              </a:gdLst>
              <a:ahLst/>
              <a:cxnLst>
                <a:cxn ang="0">
                  <a:pos x="T0" y="T1"/>
                </a:cxn>
                <a:cxn ang="0">
                  <a:pos x="T2" y="T3"/>
                </a:cxn>
                <a:cxn ang="0">
                  <a:pos x="T4" y="T5"/>
                </a:cxn>
                <a:cxn ang="0">
                  <a:pos x="T6" y="T7"/>
                </a:cxn>
                <a:cxn ang="0">
                  <a:pos x="T8" y="T9"/>
                </a:cxn>
                <a:cxn ang="0">
                  <a:pos x="T10" y="T11"/>
                </a:cxn>
              </a:cxnLst>
              <a:rect l="0" t="0" r="r" b="b"/>
              <a:pathLst>
                <a:path w="27" h="26">
                  <a:moveTo>
                    <a:pt x="0" y="26"/>
                  </a:moveTo>
                  <a:lnTo>
                    <a:pt x="0" y="26"/>
                  </a:lnTo>
                  <a:lnTo>
                    <a:pt x="27" y="26"/>
                  </a:lnTo>
                  <a:lnTo>
                    <a:pt x="27" y="0"/>
                  </a:lnTo>
                  <a:lnTo>
                    <a:pt x="0" y="0"/>
                  </a:lnTo>
                  <a:lnTo>
                    <a:pt x="0" y="26"/>
                  </a:lnTo>
                  <a:close/>
                </a:path>
              </a:pathLst>
            </a:custGeom>
            <a:solidFill>
              <a:srgbClr val="577AA9"/>
            </a:solidFill>
            <a:ln w="0">
              <a:solidFill>
                <a:srgbClr val="30E5D0"/>
              </a:solidFill>
              <a:prstDash val="solid"/>
              <a:round/>
              <a:headEnd/>
              <a:tailEnd/>
            </a:ln>
          </p:spPr>
          <p:txBody>
            <a:bodyPr vert="horz" wrap="square" lIns="68580" tIns="34290" rIns="68580" bIns="34290" numCol="1" anchor="t" anchorCtr="0" compatLnSpc="1">
              <a:prstTxWarp prst="textNoShape">
                <a:avLst/>
              </a:prstTxWarp>
            </a:bodyPr>
            <a:lstStyle/>
            <a:p>
              <a:pPr defTabSz="699557">
                <a:defRPr/>
              </a:pPr>
              <a:endParaRPr lang="en-US" sz="1350" kern="0">
                <a:solidFill>
                  <a:srgbClr val="3C3C41"/>
                </a:solidFill>
              </a:endParaRPr>
            </a:p>
          </p:txBody>
        </p:sp>
        <p:sp>
          <p:nvSpPr>
            <p:cNvPr id="167" name="Freeform 124">
              <a:extLst>
                <a:ext uri="{FF2B5EF4-FFF2-40B4-BE49-F238E27FC236}">
                  <a16:creationId xmlns:a16="http://schemas.microsoft.com/office/drawing/2014/main" id="{37173819-EF3B-4F23-95D6-B0373132D607}"/>
                </a:ext>
              </a:extLst>
            </p:cNvPr>
            <p:cNvSpPr>
              <a:spLocks/>
            </p:cNvSpPr>
            <p:nvPr/>
          </p:nvSpPr>
          <p:spPr bwMode="auto">
            <a:xfrm>
              <a:off x="6662235" y="5514185"/>
              <a:ext cx="25400" cy="26988"/>
            </a:xfrm>
            <a:custGeom>
              <a:avLst/>
              <a:gdLst>
                <a:gd name="T0" fmla="*/ 0 w 27"/>
                <a:gd name="T1" fmla="*/ 27 h 27"/>
                <a:gd name="T2" fmla="*/ 0 w 27"/>
                <a:gd name="T3" fmla="*/ 27 h 27"/>
                <a:gd name="T4" fmla="*/ 27 w 27"/>
                <a:gd name="T5" fmla="*/ 27 h 27"/>
                <a:gd name="T6" fmla="*/ 27 w 27"/>
                <a:gd name="T7" fmla="*/ 0 h 27"/>
                <a:gd name="T8" fmla="*/ 0 w 27"/>
                <a:gd name="T9" fmla="*/ 0 h 27"/>
                <a:gd name="T10" fmla="*/ 0 w 27"/>
                <a:gd name="T11" fmla="*/ 27 h 27"/>
              </a:gdLst>
              <a:ahLst/>
              <a:cxnLst>
                <a:cxn ang="0">
                  <a:pos x="T0" y="T1"/>
                </a:cxn>
                <a:cxn ang="0">
                  <a:pos x="T2" y="T3"/>
                </a:cxn>
                <a:cxn ang="0">
                  <a:pos x="T4" y="T5"/>
                </a:cxn>
                <a:cxn ang="0">
                  <a:pos x="T6" y="T7"/>
                </a:cxn>
                <a:cxn ang="0">
                  <a:pos x="T8" y="T9"/>
                </a:cxn>
                <a:cxn ang="0">
                  <a:pos x="T10" y="T11"/>
                </a:cxn>
              </a:cxnLst>
              <a:rect l="0" t="0" r="r" b="b"/>
              <a:pathLst>
                <a:path w="27" h="27">
                  <a:moveTo>
                    <a:pt x="0" y="27"/>
                  </a:moveTo>
                  <a:lnTo>
                    <a:pt x="0" y="27"/>
                  </a:lnTo>
                  <a:lnTo>
                    <a:pt x="27" y="27"/>
                  </a:lnTo>
                  <a:lnTo>
                    <a:pt x="27" y="0"/>
                  </a:lnTo>
                  <a:lnTo>
                    <a:pt x="0" y="0"/>
                  </a:lnTo>
                  <a:lnTo>
                    <a:pt x="0" y="27"/>
                  </a:lnTo>
                  <a:close/>
                </a:path>
              </a:pathLst>
            </a:custGeom>
            <a:solidFill>
              <a:srgbClr val="577AA9"/>
            </a:solidFill>
            <a:ln w="0">
              <a:solidFill>
                <a:srgbClr val="30E5D0"/>
              </a:solidFill>
              <a:prstDash val="solid"/>
              <a:round/>
              <a:headEnd/>
              <a:tailEnd/>
            </a:ln>
          </p:spPr>
          <p:txBody>
            <a:bodyPr vert="horz" wrap="square" lIns="68580" tIns="34290" rIns="68580" bIns="34290" numCol="1" anchor="t" anchorCtr="0" compatLnSpc="1">
              <a:prstTxWarp prst="textNoShape">
                <a:avLst/>
              </a:prstTxWarp>
            </a:bodyPr>
            <a:lstStyle/>
            <a:p>
              <a:pPr defTabSz="699557">
                <a:defRPr/>
              </a:pPr>
              <a:endParaRPr lang="en-US" sz="1350" kern="0">
                <a:solidFill>
                  <a:srgbClr val="3C3C41"/>
                </a:solidFill>
              </a:endParaRPr>
            </a:p>
          </p:txBody>
        </p:sp>
        <p:sp>
          <p:nvSpPr>
            <p:cNvPr id="168" name="Freeform 125">
              <a:extLst>
                <a:ext uri="{FF2B5EF4-FFF2-40B4-BE49-F238E27FC236}">
                  <a16:creationId xmlns:a16="http://schemas.microsoft.com/office/drawing/2014/main" id="{B2307B6A-E9B7-475A-876E-776C5D4FEC98}"/>
                </a:ext>
              </a:extLst>
            </p:cNvPr>
            <p:cNvSpPr>
              <a:spLocks/>
            </p:cNvSpPr>
            <p:nvPr/>
          </p:nvSpPr>
          <p:spPr bwMode="auto">
            <a:xfrm>
              <a:off x="6819397" y="5514185"/>
              <a:ext cx="26988" cy="26988"/>
            </a:xfrm>
            <a:custGeom>
              <a:avLst/>
              <a:gdLst>
                <a:gd name="T0" fmla="*/ 0 w 27"/>
                <a:gd name="T1" fmla="*/ 27 h 27"/>
                <a:gd name="T2" fmla="*/ 0 w 27"/>
                <a:gd name="T3" fmla="*/ 27 h 27"/>
                <a:gd name="T4" fmla="*/ 27 w 27"/>
                <a:gd name="T5" fmla="*/ 27 h 27"/>
                <a:gd name="T6" fmla="*/ 27 w 27"/>
                <a:gd name="T7" fmla="*/ 0 h 27"/>
                <a:gd name="T8" fmla="*/ 0 w 27"/>
                <a:gd name="T9" fmla="*/ 0 h 27"/>
                <a:gd name="T10" fmla="*/ 0 w 27"/>
                <a:gd name="T11" fmla="*/ 27 h 27"/>
              </a:gdLst>
              <a:ahLst/>
              <a:cxnLst>
                <a:cxn ang="0">
                  <a:pos x="T0" y="T1"/>
                </a:cxn>
                <a:cxn ang="0">
                  <a:pos x="T2" y="T3"/>
                </a:cxn>
                <a:cxn ang="0">
                  <a:pos x="T4" y="T5"/>
                </a:cxn>
                <a:cxn ang="0">
                  <a:pos x="T6" y="T7"/>
                </a:cxn>
                <a:cxn ang="0">
                  <a:pos x="T8" y="T9"/>
                </a:cxn>
                <a:cxn ang="0">
                  <a:pos x="T10" y="T11"/>
                </a:cxn>
              </a:cxnLst>
              <a:rect l="0" t="0" r="r" b="b"/>
              <a:pathLst>
                <a:path w="27" h="27">
                  <a:moveTo>
                    <a:pt x="0" y="27"/>
                  </a:moveTo>
                  <a:lnTo>
                    <a:pt x="0" y="27"/>
                  </a:lnTo>
                  <a:lnTo>
                    <a:pt x="27" y="27"/>
                  </a:lnTo>
                  <a:lnTo>
                    <a:pt x="27" y="0"/>
                  </a:lnTo>
                  <a:lnTo>
                    <a:pt x="0" y="0"/>
                  </a:lnTo>
                  <a:lnTo>
                    <a:pt x="0" y="27"/>
                  </a:lnTo>
                  <a:close/>
                </a:path>
              </a:pathLst>
            </a:custGeom>
            <a:solidFill>
              <a:srgbClr val="577AA9"/>
            </a:solidFill>
            <a:ln w="0">
              <a:solidFill>
                <a:srgbClr val="30E5D0"/>
              </a:solidFill>
              <a:prstDash val="solid"/>
              <a:round/>
              <a:headEnd/>
              <a:tailEnd/>
            </a:ln>
          </p:spPr>
          <p:txBody>
            <a:bodyPr vert="horz" wrap="square" lIns="68580" tIns="34290" rIns="68580" bIns="34290" numCol="1" anchor="t" anchorCtr="0" compatLnSpc="1">
              <a:prstTxWarp prst="textNoShape">
                <a:avLst/>
              </a:prstTxWarp>
            </a:bodyPr>
            <a:lstStyle/>
            <a:p>
              <a:pPr defTabSz="699557">
                <a:defRPr/>
              </a:pPr>
              <a:endParaRPr lang="en-US" sz="1350" kern="0">
                <a:solidFill>
                  <a:srgbClr val="3C3C41"/>
                </a:solidFill>
              </a:endParaRPr>
            </a:p>
          </p:txBody>
        </p:sp>
      </p:grpSp>
      <p:sp>
        <p:nvSpPr>
          <p:cNvPr id="169" name="Freeform 61">
            <a:extLst>
              <a:ext uri="{FF2B5EF4-FFF2-40B4-BE49-F238E27FC236}">
                <a16:creationId xmlns:a16="http://schemas.microsoft.com/office/drawing/2014/main" id="{12383910-8F68-4BC4-A2FF-346D3EF850CF}"/>
              </a:ext>
            </a:extLst>
          </p:cNvPr>
          <p:cNvSpPr>
            <a:spLocks noChangeAspect="1" noEditPoints="1"/>
          </p:cNvSpPr>
          <p:nvPr/>
        </p:nvSpPr>
        <p:spPr bwMode="black">
          <a:xfrm>
            <a:off x="5738581" y="2240383"/>
            <a:ext cx="194522" cy="243725"/>
          </a:xfrm>
          <a:custGeom>
            <a:avLst/>
            <a:gdLst>
              <a:gd name="T0" fmla="*/ 91 w 162"/>
              <a:gd name="T1" fmla="*/ 100 h 203"/>
              <a:gd name="T2" fmla="*/ 128 w 162"/>
              <a:gd name="T3" fmla="*/ 203 h 203"/>
              <a:gd name="T4" fmla="*/ 108 w 162"/>
              <a:gd name="T5" fmla="*/ 203 h 203"/>
              <a:gd name="T6" fmla="*/ 81 w 162"/>
              <a:gd name="T7" fmla="*/ 180 h 203"/>
              <a:gd name="T8" fmla="*/ 54 w 162"/>
              <a:gd name="T9" fmla="*/ 203 h 203"/>
              <a:gd name="T10" fmla="*/ 34 w 162"/>
              <a:gd name="T11" fmla="*/ 203 h 203"/>
              <a:gd name="T12" fmla="*/ 71 w 162"/>
              <a:gd name="T13" fmla="*/ 100 h 203"/>
              <a:gd name="T14" fmla="*/ 64 w 162"/>
              <a:gd name="T15" fmla="*/ 86 h 203"/>
              <a:gd name="T16" fmla="*/ 81 w 162"/>
              <a:gd name="T17" fmla="*/ 69 h 203"/>
              <a:gd name="T18" fmla="*/ 98 w 162"/>
              <a:gd name="T19" fmla="*/ 86 h 203"/>
              <a:gd name="T20" fmla="*/ 91 w 162"/>
              <a:gd name="T21" fmla="*/ 100 h 203"/>
              <a:gd name="T22" fmla="*/ 81 w 162"/>
              <a:gd name="T23" fmla="*/ 34 h 203"/>
              <a:gd name="T24" fmla="*/ 130 w 162"/>
              <a:gd name="T25" fmla="*/ 83 h 203"/>
              <a:gd name="T26" fmla="*/ 107 w 162"/>
              <a:gd name="T27" fmla="*/ 123 h 203"/>
              <a:gd name="T28" fmla="*/ 106 w 162"/>
              <a:gd name="T29" fmla="*/ 117 h 203"/>
              <a:gd name="T30" fmla="*/ 121 w 162"/>
              <a:gd name="T31" fmla="*/ 86 h 203"/>
              <a:gd name="T32" fmla="*/ 81 w 162"/>
              <a:gd name="T33" fmla="*/ 47 h 203"/>
              <a:gd name="T34" fmla="*/ 42 w 162"/>
              <a:gd name="T35" fmla="*/ 86 h 203"/>
              <a:gd name="T36" fmla="*/ 56 w 162"/>
              <a:gd name="T37" fmla="*/ 117 h 203"/>
              <a:gd name="T38" fmla="*/ 55 w 162"/>
              <a:gd name="T39" fmla="*/ 123 h 203"/>
              <a:gd name="T40" fmla="*/ 33 w 162"/>
              <a:gd name="T41" fmla="*/ 83 h 203"/>
              <a:gd name="T42" fmla="*/ 81 w 162"/>
              <a:gd name="T43" fmla="*/ 34 h 203"/>
              <a:gd name="T44" fmla="*/ 81 w 162"/>
              <a:gd name="T45" fmla="*/ 0 h 203"/>
              <a:gd name="T46" fmla="*/ 162 w 162"/>
              <a:gd name="T47" fmla="*/ 81 h 203"/>
              <a:gd name="T48" fmla="*/ 118 w 162"/>
              <a:gd name="T49" fmla="*/ 154 h 203"/>
              <a:gd name="T50" fmla="*/ 115 w 162"/>
              <a:gd name="T51" fmla="*/ 148 h 203"/>
              <a:gd name="T52" fmla="*/ 153 w 162"/>
              <a:gd name="T53" fmla="*/ 85 h 203"/>
              <a:gd name="T54" fmla="*/ 81 w 162"/>
              <a:gd name="T55" fmla="*/ 13 h 203"/>
              <a:gd name="T56" fmla="*/ 10 w 162"/>
              <a:gd name="T57" fmla="*/ 85 h 203"/>
              <a:gd name="T58" fmla="*/ 47 w 162"/>
              <a:gd name="T59" fmla="*/ 148 h 203"/>
              <a:gd name="T60" fmla="*/ 45 w 162"/>
              <a:gd name="T61" fmla="*/ 154 h 203"/>
              <a:gd name="T62" fmla="*/ 0 w 162"/>
              <a:gd name="T63" fmla="*/ 81 h 203"/>
              <a:gd name="T64" fmla="*/ 81 w 162"/>
              <a:gd name="T65" fmla="*/ 0 h 203"/>
              <a:gd name="T66" fmla="*/ 81 w 162"/>
              <a:gd name="T67" fmla="*/ 124 h 203"/>
              <a:gd name="T68" fmla="*/ 89 w 162"/>
              <a:gd name="T69" fmla="*/ 132 h 203"/>
              <a:gd name="T70" fmla="*/ 81 w 162"/>
              <a:gd name="T71" fmla="*/ 139 h 203"/>
              <a:gd name="T72" fmla="*/ 73 w 162"/>
              <a:gd name="T73" fmla="*/ 132 h 203"/>
              <a:gd name="T74" fmla="*/ 81 w 162"/>
              <a:gd name="T75" fmla="*/ 124 h 203"/>
              <a:gd name="T76" fmla="*/ 81 w 162"/>
              <a:gd name="T77" fmla="*/ 171 h 203"/>
              <a:gd name="T78" fmla="*/ 95 w 162"/>
              <a:gd name="T79" fmla="*/ 160 h 203"/>
              <a:gd name="T80" fmla="*/ 81 w 162"/>
              <a:gd name="T81" fmla="*/ 149 h 203"/>
              <a:gd name="T82" fmla="*/ 68 w 162"/>
              <a:gd name="T83" fmla="*/ 160 h 203"/>
              <a:gd name="T84" fmla="*/ 81 w 162"/>
              <a:gd name="T85" fmla="*/ 171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2" h="203">
                <a:moveTo>
                  <a:pt x="91" y="100"/>
                </a:moveTo>
                <a:cubicBezTo>
                  <a:pt x="98" y="144"/>
                  <a:pt x="114" y="181"/>
                  <a:pt x="128" y="203"/>
                </a:cubicBezTo>
                <a:cubicBezTo>
                  <a:pt x="108" y="203"/>
                  <a:pt x="108" y="203"/>
                  <a:pt x="108" y="203"/>
                </a:cubicBezTo>
                <a:cubicBezTo>
                  <a:pt x="108" y="190"/>
                  <a:pt x="100" y="180"/>
                  <a:pt x="81" y="180"/>
                </a:cubicBezTo>
                <a:cubicBezTo>
                  <a:pt x="63" y="180"/>
                  <a:pt x="55" y="190"/>
                  <a:pt x="54" y="203"/>
                </a:cubicBezTo>
                <a:cubicBezTo>
                  <a:pt x="34" y="203"/>
                  <a:pt x="34" y="203"/>
                  <a:pt x="34" y="203"/>
                </a:cubicBezTo>
                <a:cubicBezTo>
                  <a:pt x="49" y="181"/>
                  <a:pt x="64" y="144"/>
                  <a:pt x="71" y="100"/>
                </a:cubicBezTo>
                <a:cubicBezTo>
                  <a:pt x="67" y="97"/>
                  <a:pt x="64" y="92"/>
                  <a:pt x="64" y="86"/>
                </a:cubicBezTo>
                <a:cubicBezTo>
                  <a:pt x="64" y="77"/>
                  <a:pt x="72" y="69"/>
                  <a:pt x="81" y="69"/>
                </a:cubicBezTo>
                <a:cubicBezTo>
                  <a:pt x="91" y="69"/>
                  <a:pt x="98" y="77"/>
                  <a:pt x="98" y="86"/>
                </a:cubicBezTo>
                <a:cubicBezTo>
                  <a:pt x="98" y="92"/>
                  <a:pt x="96" y="97"/>
                  <a:pt x="91" y="100"/>
                </a:cubicBezTo>
                <a:close/>
                <a:moveTo>
                  <a:pt x="81" y="34"/>
                </a:moveTo>
                <a:cubicBezTo>
                  <a:pt x="108" y="34"/>
                  <a:pt x="130" y="56"/>
                  <a:pt x="130" y="83"/>
                </a:cubicBezTo>
                <a:cubicBezTo>
                  <a:pt x="130" y="100"/>
                  <a:pt x="121" y="115"/>
                  <a:pt x="107" y="123"/>
                </a:cubicBezTo>
                <a:cubicBezTo>
                  <a:pt x="107" y="121"/>
                  <a:pt x="106" y="119"/>
                  <a:pt x="106" y="117"/>
                </a:cubicBezTo>
                <a:cubicBezTo>
                  <a:pt x="115" y="110"/>
                  <a:pt x="121" y="99"/>
                  <a:pt x="121" y="86"/>
                </a:cubicBezTo>
                <a:cubicBezTo>
                  <a:pt x="121" y="64"/>
                  <a:pt x="103" y="47"/>
                  <a:pt x="81" y="47"/>
                </a:cubicBezTo>
                <a:cubicBezTo>
                  <a:pt x="59" y="47"/>
                  <a:pt x="42" y="64"/>
                  <a:pt x="42" y="86"/>
                </a:cubicBezTo>
                <a:cubicBezTo>
                  <a:pt x="42" y="99"/>
                  <a:pt x="47" y="110"/>
                  <a:pt x="56" y="117"/>
                </a:cubicBezTo>
                <a:cubicBezTo>
                  <a:pt x="56" y="119"/>
                  <a:pt x="55" y="121"/>
                  <a:pt x="55" y="123"/>
                </a:cubicBezTo>
                <a:cubicBezTo>
                  <a:pt x="42" y="115"/>
                  <a:pt x="33" y="100"/>
                  <a:pt x="33" y="83"/>
                </a:cubicBezTo>
                <a:cubicBezTo>
                  <a:pt x="33" y="56"/>
                  <a:pt x="54" y="34"/>
                  <a:pt x="81" y="34"/>
                </a:cubicBezTo>
                <a:close/>
                <a:moveTo>
                  <a:pt x="81" y="0"/>
                </a:moveTo>
                <a:cubicBezTo>
                  <a:pt x="126" y="0"/>
                  <a:pt x="162" y="37"/>
                  <a:pt x="162" y="81"/>
                </a:cubicBezTo>
                <a:cubicBezTo>
                  <a:pt x="162" y="113"/>
                  <a:pt x="144" y="141"/>
                  <a:pt x="118" y="154"/>
                </a:cubicBezTo>
                <a:cubicBezTo>
                  <a:pt x="117" y="152"/>
                  <a:pt x="116" y="150"/>
                  <a:pt x="115" y="148"/>
                </a:cubicBezTo>
                <a:cubicBezTo>
                  <a:pt x="138" y="136"/>
                  <a:pt x="153" y="112"/>
                  <a:pt x="153" y="85"/>
                </a:cubicBezTo>
                <a:cubicBezTo>
                  <a:pt x="153" y="45"/>
                  <a:pt x="121" y="13"/>
                  <a:pt x="81" y="13"/>
                </a:cubicBezTo>
                <a:cubicBezTo>
                  <a:pt x="42" y="13"/>
                  <a:pt x="10" y="45"/>
                  <a:pt x="10" y="85"/>
                </a:cubicBezTo>
                <a:cubicBezTo>
                  <a:pt x="10" y="112"/>
                  <a:pt x="25" y="136"/>
                  <a:pt x="47" y="148"/>
                </a:cubicBezTo>
                <a:cubicBezTo>
                  <a:pt x="46" y="150"/>
                  <a:pt x="46" y="152"/>
                  <a:pt x="45" y="154"/>
                </a:cubicBezTo>
                <a:cubicBezTo>
                  <a:pt x="18" y="141"/>
                  <a:pt x="0" y="113"/>
                  <a:pt x="0" y="81"/>
                </a:cubicBezTo>
                <a:cubicBezTo>
                  <a:pt x="0" y="37"/>
                  <a:pt x="36" y="0"/>
                  <a:pt x="81" y="0"/>
                </a:cubicBezTo>
                <a:close/>
                <a:moveTo>
                  <a:pt x="81" y="124"/>
                </a:moveTo>
                <a:cubicBezTo>
                  <a:pt x="87" y="124"/>
                  <a:pt x="89" y="128"/>
                  <a:pt x="89" y="132"/>
                </a:cubicBezTo>
                <a:cubicBezTo>
                  <a:pt x="89" y="135"/>
                  <a:pt x="87" y="139"/>
                  <a:pt x="81" y="139"/>
                </a:cubicBezTo>
                <a:cubicBezTo>
                  <a:pt x="75" y="139"/>
                  <a:pt x="73" y="135"/>
                  <a:pt x="73" y="132"/>
                </a:cubicBezTo>
                <a:cubicBezTo>
                  <a:pt x="73" y="128"/>
                  <a:pt x="75" y="124"/>
                  <a:pt x="81" y="124"/>
                </a:cubicBezTo>
                <a:close/>
                <a:moveTo>
                  <a:pt x="81" y="171"/>
                </a:moveTo>
                <a:cubicBezTo>
                  <a:pt x="91" y="171"/>
                  <a:pt x="95" y="166"/>
                  <a:pt x="95" y="160"/>
                </a:cubicBezTo>
                <a:cubicBezTo>
                  <a:pt x="95" y="154"/>
                  <a:pt x="91" y="149"/>
                  <a:pt x="81" y="149"/>
                </a:cubicBezTo>
                <a:cubicBezTo>
                  <a:pt x="71" y="149"/>
                  <a:pt x="68" y="154"/>
                  <a:pt x="68" y="160"/>
                </a:cubicBezTo>
                <a:cubicBezTo>
                  <a:pt x="68" y="166"/>
                  <a:pt x="71" y="171"/>
                  <a:pt x="81" y="171"/>
                </a:cubicBezTo>
                <a:close/>
              </a:path>
            </a:pathLst>
          </a:custGeom>
          <a:solidFill>
            <a:schemeClr val="bg1">
              <a:lumMod val="50000"/>
            </a:schemeClr>
          </a:solidFill>
          <a:ln>
            <a:noFill/>
          </a:ln>
        </p:spPr>
        <p:txBody>
          <a:bodyPr vert="horz" wrap="square" lIns="61729" tIns="30865" rIns="61729" bIns="30865" numCol="1" anchor="t" anchorCtr="0" compatLnSpc="1">
            <a:prstTxWarp prst="textNoShape">
              <a:avLst/>
            </a:prstTxWarp>
          </a:bodyPr>
          <a:lstStyle/>
          <a:p>
            <a:pPr defTabSz="685800">
              <a:defRPr/>
            </a:pPr>
            <a:endParaRPr lang="en-US" sz="1200">
              <a:solidFill>
                <a:srgbClr val="505050"/>
              </a:solidFill>
              <a:latin typeface="Segoe UI"/>
            </a:endParaRPr>
          </a:p>
        </p:txBody>
      </p:sp>
      <p:pic>
        <p:nvPicPr>
          <p:cNvPr id="171" name="Picture 2" descr="\\MAGNUM\Projects\Microsoft\Cloud Power FY12\Design\ICONS_PNG\Devices.png">
            <a:extLst>
              <a:ext uri="{FF2B5EF4-FFF2-40B4-BE49-F238E27FC236}">
                <a16:creationId xmlns:a16="http://schemas.microsoft.com/office/drawing/2014/main" id="{59A2730E-2BD7-49E5-A1FE-54C0941FF74F}"/>
              </a:ext>
            </a:extLst>
          </p:cNvPr>
          <p:cNvPicPr>
            <a:picLocks noChangeAspect="1" noChangeArrowheads="1"/>
          </p:cNvPicPr>
          <p:nvPr/>
        </p:nvPicPr>
        <p:blipFill>
          <a:blip r:embed="rId15" cstate="print">
            <a:duotone>
              <a:prstClr val="black"/>
              <a:srgbClr val="3F3F3F">
                <a:tint val="45000"/>
                <a:satMod val="400000"/>
              </a:srgbClr>
            </a:duotone>
          </a:blip>
          <a:srcRect/>
          <a:stretch>
            <a:fillRect/>
          </a:stretch>
        </p:blipFill>
        <p:spPr bwMode="auto">
          <a:xfrm>
            <a:off x="4939727" y="2321941"/>
            <a:ext cx="355704" cy="355703"/>
          </a:xfrm>
          <a:prstGeom prst="rect">
            <a:avLst/>
          </a:prstGeom>
          <a:noFill/>
        </p:spPr>
      </p:pic>
      <p:pic>
        <p:nvPicPr>
          <p:cNvPr id="172" name="Picture 5" descr="\\MAGNUM\Projects\Microsoft\Cloud Power FY12\Design\ICONS_PNG\Increase.png">
            <a:extLst>
              <a:ext uri="{FF2B5EF4-FFF2-40B4-BE49-F238E27FC236}">
                <a16:creationId xmlns:a16="http://schemas.microsoft.com/office/drawing/2014/main" id="{A91F1361-A61F-4F87-A1A8-CB5FD62118C8}"/>
              </a:ext>
            </a:extLst>
          </p:cNvPr>
          <p:cNvPicPr>
            <a:picLocks noChangeAspect="1" noChangeArrowheads="1"/>
          </p:cNvPicPr>
          <p:nvPr/>
        </p:nvPicPr>
        <p:blipFill>
          <a:blip r:embed="rId16" cstate="print">
            <a:duotone>
              <a:prstClr val="black"/>
              <a:srgbClr val="3F3F3F">
                <a:tint val="45000"/>
                <a:satMod val="400000"/>
              </a:srgbClr>
            </a:duotone>
          </a:blip>
          <a:srcRect/>
          <a:stretch>
            <a:fillRect/>
          </a:stretch>
        </p:blipFill>
        <p:spPr bwMode="auto">
          <a:xfrm>
            <a:off x="7143436" y="3897567"/>
            <a:ext cx="528143" cy="528143"/>
          </a:xfrm>
          <a:prstGeom prst="rect">
            <a:avLst/>
          </a:prstGeom>
          <a:noFill/>
        </p:spPr>
      </p:pic>
      <p:grpSp>
        <p:nvGrpSpPr>
          <p:cNvPr id="173" name="Group 172">
            <a:extLst>
              <a:ext uri="{FF2B5EF4-FFF2-40B4-BE49-F238E27FC236}">
                <a16:creationId xmlns:a16="http://schemas.microsoft.com/office/drawing/2014/main" id="{08795790-5253-4996-AB91-8B2A3140E0E0}"/>
              </a:ext>
            </a:extLst>
          </p:cNvPr>
          <p:cNvGrpSpPr/>
          <p:nvPr/>
        </p:nvGrpSpPr>
        <p:grpSpPr bwMode="black">
          <a:xfrm>
            <a:off x="8735608" y="2355042"/>
            <a:ext cx="201044" cy="387871"/>
            <a:chOff x="3360738" y="989012"/>
            <a:chExt cx="746125" cy="1439864"/>
          </a:xfrm>
          <a:solidFill>
            <a:schemeClr val="bg1">
              <a:lumMod val="50000"/>
            </a:schemeClr>
          </a:solidFill>
        </p:grpSpPr>
        <p:sp>
          <p:nvSpPr>
            <p:cNvPr id="174" name="Freeform 36">
              <a:extLst>
                <a:ext uri="{FF2B5EF4-FFF2-40B4-BE49-F238E27FC236}">
                  <a16:creationId xmlns:a16="http://schemas.microsoft.com/office/drawing/2014/main" id="{84E466C9-5066-4AD8-A436-8E12A27F5D06}"/>
                </a:ext>
              </a:extLst>
            </p:cNvPr>
            <p:cNvSpPr>
              <a:spLocks/>
            </p:cNvSpPr>
            <p:nvPr/>
          </p:nvSpPr>
          <p:spPr bwMode="black">
            <a:xfrm>
              <a:off x="3360738" y="1255713"/>
              <a:ext cx="525463" cy="1173163"/>
            </a:xfrm>
            <a:custGeom>
              <a:avLst/>
              <a:gdLst>
                <a:gd name="T0" fmla="*/ 252 w 562"/>
                <a:gd name="T1" fmla="*/ 272 h 1256"/>
                <a:gd name="T2" fmla="*/ 234 w 562"/>
                <a:gd name="T3" fmla="*/ 192 h 1256"/>
                <a:gd name="T4" fmla="*/ 407 w 562"/>
                <a:gd name="T5" fmla="*/ 20 h 1256"/>
                <a:gd name="T6" fmla="*/ 534 w 562"/>
                <a:gd name="T7" fmla="*/ 76 h 1256"/>
                <a:gd name="T8" fmla="*/ 562 w 562"/>
                <a:gd name="T9" fmla="*/ 51 h 1256"/>
                <a:gd name="T10" fmla="*/ 443 w 562"/>
                <a:gd name="T11" fmla="*/ 0 h 1256"/>
                <a:gd name="T12" fmla="*/ 164 w 562"/>
                <a:gd name="T13" fmla="*/ 0 h 1256"/>
                <a:gd name="T14" fmla="*/ 0 w 562"/>
                <a:gd name="T15" fmla="*/ 163 h 1256"/>
                <a:gd name="T16" fmla="*/ 0 w 562"/>
                <a:gd name="T17" fmla="*/ 556 h 1256"/>
                <a:gd name="T18" fmla="*/ 55 w 562"/>
                <a:gd name="T19" fmla="*/ 612 h 1256"/>
                <a:gd name="T20" fmla="*/ 110 w 562"/>
                <a:gd name="T21" fmla="*/ 556 h 1256"/>
                <a:gd name="T22" fmla="*/ 110 w 562"/>
                <a:gd name="T23" fmla="*/ 201 h 1256"/>
                <a:gd name="T24" fmla="*/ 139 w 562"/>
                <a:gd name="T25" fmla="*/ 201 h 1256"/>
                <a:gd name="T26" fmla="*/ 139 w 562"/>
                <a:gd name="T27" fmla="*/ 1182 h 1256"/>
                <a:gd name="T28" fmla="*/ 214 w 562"/>
                <a:gd name="T29" fmla="*/ 1256 h 1256"/>
                <a:gd name="T30" fmla="*/ 288 w 562"/>
                <a:gd name="T31" fmla="*/ 1182 h 1256"/>
                <a:gd name="T32" fmla="*/ 288 w 562"/>
                <a:gd name="T33" fmla="*/ 615 h 1256"/>
                <a:gd name="T34" fmla="*/ 317 w 562"/>
                <a:gd name="T35" fmla="*/ 615 h 1256"/>
                <a:gd name="T36" fmla="*/ 317 w 562"/>
                <a:gd name="T37" fmla="*/ 1182 h 1256"/>
                <a:gd name="T38" fmla="*/ 392 w 562"/>
                <a:gd name="T39" fmla="*/ 1256 h 1256"/>
                <a:gd name="T40" fmla="*/ 467 w 562"/>
                <a:gd name="T41" fmla="*/ 1182 h 1256"/>
                <a:gd name="T42" fmla="*/ 467 w 562"/>
                <a:gd name="T43" fmla="*/ 516 h 1256"/>
                <a:gd name="T44" fmla="*/ 252 w 562"/>
                <a:gd name="T45" fmla="*/ 272 h 1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62" h="1256">
                  <a:moveTo>
                    <a:pt x="252" y="272"/>
                  </a:moveTo>
                  <a:cubicBezTo>
                    <a:pt x="248" y="262"/>
                    <a:pt x="234" y="225"/>
                    <a:pt x="234" y="192"/>
                  </a:cubicBezTo>
                  <a:cubicBezTo>
                    <a:pt x="234" y="97"/>
                    <a:pt x="312" y="20"/>
                    <a:pt x="407" y="20"/>
                  </a:cubicBezTo>
                  <a:cubicBezTo>
                    <a:pt x="456" y="20"/>
                    <a:pt x="501" y="41"/>
                    <a:pt x="534" y="76"/>
                  </a:cubicBezTo>
                  <a:cubicBezTo>
                    <a:pt x="542" y="66"/>
                    <a:pt x="551" y="58"/>
                    <a:pt x="562" y="51"/>
                  </a:cubicBezTo>
                  <a:cubicBezTo>
                    <a:pt x="532" y="20"/>
                    <a:pt x="490" y="0"/>
                    <a:pt x="443" y="0"/>
                  </a:cubicBezTo>
                  <a:cubicBezTo>
                    <a:pt x="164" y="0"/>
                    <a:pt x="164" y="0"/>
                    <a:pt x="164" y="0"/>
                  </a:cubicBezTo>
                  <a:cubicBezTo>
                    <a:pt x="73" y="0"/>
                    <a:pt x="0" y="73"/>
                    <a:pt x="0" y="163"/>
                  </a:cubicBezTo>
                  <a:cubicBezTo>
                    <a:pt x="0" y="556"/>
                    <a:pt x="0" y="556"/>
                    <a:pt x="0" y="556"/>
                  </a:cubicBezTo>
                  <a:cubicBezTo>
                    <a:pt x="0" y="587"/>
                    <a:pt x="25" y="612"/>
                    <a:pt x="55" y="612"/>
                  </a:cubicBezTo>
                  <a:cubicBezTo>
                    <a:pt x="86" y="612"/>
                    <a:pt x="110" y="587"/>
                    <a:pt x="110" y="556"/>
                  </a:cubicBezTo>
                  <a:cubicBezTo>
                    <a:pt x="110" y="201"/>
                    <a:pt x="110" y="201"/>
                    <a:pt x="110" y="201"/>
                  </a:cubicBezTo>
                  <a:cubicBezTo>
                    <a:pt x="139" y="201"/>
                    <a:pt x="139" y="201"/>
                    <a:pt x="139" y="201"/>
                  </a:cubicBezTo>
                  <a:cubicBezTo>
                    <a:pt x="139" y="1182"/>
                    <a:pt x="139" y="1182"/>
                    <a:pt x="139" y="1182"/>
                  </a:cubicBezTo>
                  <a:cubicBezTo>
                    <a:pt x="139" y="1223"/>
                    <a:pt x="173" y="1256"/>
                    <a:pt x="214" y="1256"/>
                  </a:cubicBezTo>
                  <a:cubicBezTo>
                    <a:pt x="255" y="1256"/>
                    <a:pt x="288" y="1223"/>
                    <a:pt x="288" y="1182"/>
                  </a:cubicBezTo>
                  <a:cubicBezTo>
                    <a:pt x="288" y="615"/>
                    <a:pt x="288" y="615"/>
                    <a:pt x="288" y="615"/>
                  </a:cubicBezTo>
                  <a:cubicBezTo>
                    <a:pt x="317" y="615"/>
                    <a:pt x="317" y="615"/>
                    <a:pt x="317" y="615"/>
                  </a:cubicBezTo>
                  <a:cubicBezTo>
                    <a:pt x="317" y="1182"/>
                    <a:pt x="317" y="1182"/>
                    <a:pt x="317" y="1182"/>
                  </a:cubicBezTo>
                  <a:cubicBezTo>
                    <a:pt x="317" y="1223"/>
                    <a:pt x="351" y="1256"/>
                    <a:pt x="392" y="1256"/>
                  </a:cubicBezTo>
                  <a:cubicBezTo>
                    <a:pt x="433" y="1256"/>
                    <a:pt x="467" y="1223"/>
                    <a:pt x="467" y="1182"/>
                  </a:cubicBezTo>
                  <a:cubicBezTo>
                    <a:pt x="467" y="516"/>
                    <a:pt x="467" y="516"/>
                    <a:pt x="467" y="516"/>
                  </a:cubicBezTo>
                  <a:cubicBezTo>
                    <a:pt x="398" y="459"/>
                    <a:pt x="284" y="354"/>
                    <a:pt x="252" y="27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defRPr/>
              </a:pPr>
              <a:endParaRPr lang="en-US" sz="1200">
                <a:solidFill>
                  <a:srgbClr val="505050"/>
                </a:solidFill>
                <a:latin typeface="Segoe UI"/>
              </a:endParaRPr>
            </a:p>
          </p:txBody>
        </p:sp>
        <p:sp>
          <p:nvSpPr>
            <p:cNvPr id="175" name="Freeform 37">
              <a:extLst>
                <a:ext uri="{FF2B5EF4-FFF2-40B4-BE49-F238E27FC236}">
                  <a16:creationId xmlns:a16="http://schemas.microsoft.com/office/drawing/2014/main" id="{5BA34BF5-0D2E-483F-83E2-A4E752FF3233}"/>
                </a:ext>
              </a:extLst>
            </p:cNvPr>
            <p:cNvSpPr>
              <a:spLocks/>
            </p:cNvSpPr>
            <p:nvPr/>
          </p:nvSpPr>
          <p:spPr bwMode="black">
            <a:xfrm>
              <a:off x="3824288" y="1733550"/>
              <a:ext cx="103188" cy="93663"/>
            </a:xfrm>
            <a:custGeom>
              <a:avLst/>
              <a:gdLst>
                <a:gd name="T0" fmla="*/ 58 w 110"/>
                <a:gd name="T1" fmla="*/ 43 h 101"/>
                <a:gd name="T2" fmla="*/ 38 w 110"/>
                <a:gd name="T3" fmla="*/ 59 h 101"/>
                <a:gd name="T4" fmla="*/ 17 w 110"/>
                <a:gd name="T5" fmla="*/ 43 h 101"/>
                <a:gd name="T6" fmla="*/ 0 w 110"/>
                <a:gd name="T7" fmla="*/ 29 h 101"/>
                <a:gd name="T8" fmla="*/ 0 w 110"/>
                <a:gd name="T9" fmla="*/ 45 h 101"/>
                <a:gd name="T10" fmla="*/ 56 w 110"/>
                <a:gd name="T11" fmla="*/ 101 h 101"/>
                <a:gd name="T12" fmla="*/ 110 w 110"/>
                <a:gd name="T13" fmla="*/ 45 h 101"/>
                <a:gd name="T14" fmla="*/ 110 w 110"/>
                <a:gd name="T15" fmla="*/ 0 h 101"/>
                <a:gd name="T16" fmla="*/ 58 w 110"/>
                <a:gd name="T17" fmla="*/ 43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101">
                  <a:moveTo>
                    <a:pt x="58" y="43"/>
                  </a:moveTo>
                  <a:cubicBezTo>
                    <a:pt x="38" y="59"/>
                    <a:pt x="38" y="59"/>
                    <a:pt x="38" y="59"/>
                  </a:cubicBezTo>
                  <a:cubicBezTo>
                    <a:pt x="17" y="43"/>
                    <a:pt x="17" y="43"/>
                    <a:pt x="17" y="43"/>
                  </a:cubicBezTo>
                  <a:cubicBezTo>
                    <a:pt x="13" y="40"/>
                    <a:pt x="7" y="35"/>
                    <a:pt x="0" y="29"/>
                  </a:cubicBezTo>
                  <a:cubicBezTo>
                    <a:pt x="0" y="45"/>
                    <a:pt x="0" y="45"/>
                    <a:pt x="0" y="45"/>
                  </a:cubicBezTo>
                  <a:cubicBezTo>
                    <a:pt x="0" y="76"/>
                    <a:pt x="25" y="101"/>
                    <a:pt x="56" y="101"/>
                  </a:cubicBezTo>
                  <a:cubicBezTo>
                    <a:pt x="85" y="101"/>
                    <a:pt x="110" y="76"/>
                    <a:pt x="110" y="45"/>
                  </a:cubicBezTo>
                  <a:cubicBezTo>
                    <a:pt x="110" y="0"/>
                    <a:pt x="110" y="0"/>
                    <a:pt x="110" y="0"/>
                  </a:cubicBezTo>
                  <a:cubicBezTo>
                    <a:pt x="86" y="20"/>
                    <a:pt x="67" y="35"/>
                    <a:pt x="58" y="4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defRPr/>
              </a:pPr>
              <a:endParaRPr lang="en-US" sz="1200">
                <a:solidFill>
                  <a:srgbClr val="505050"/>
                </a:solidFill>
                <a:latin typeface="Segoe UI"/>
              </a:endParaRPr>
            </a:p>
          </p:txBody>
        </p:sp>
        <p:sp>
          <p:nvSpPr>
            <p:cNvPr id="176" name="Oval 38">
              <a:extLst>
                <a:ext uri="{FF2B5EF4-FFF2-40B4-BE49-F238E27FC236}">
                  <a16:creationId xmlns:a16="http://schemas.microsoft.com/office/drawing/2014/main" id="{4C88C858-7E71-4570-B4F2-4E27A1F96CBF}"/>
                </a:ext>
              </a:extLst>
            </p:cNvPr>
            <p:cNvSpPr>
              <a:spLocks noChangeArrowheads="1"/>
            </p:cNvSpPr>
            <p:nvPr/>
          </p:nvSpPr>
          <p:spPr bwMode="black">
            <a:xfrm>
              <a:off x="3525838" y="989012"/>
              <a:ext cx="234950" cy="2381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defRPr/>
              </a:pPr>
              <a:endParaRPr lang="en-US" sz="1200">
                <a:solidFill>
                  <a:srgbClr val="505050"/>
                </a:solidFill>
                <a:latin typeface="Segoe UI"/>
              </a:endParaRPr>
            </a:p>
          </p:txBody>
        </p:sp>
        <p:sp>
          <p:nvSpPr>
            <p:cNvPr id="178" name="Freeform 39">
              <a:extLst>
                <a:ext uri="{FF2B5EF4-FFF2-40B4-BE49-F238E27FC236}">
                  <a16:creationId xmlns:a16="http://schemas.microsoft.com/office/drawing/2014/main" id="{D12BFC7B-1D8C-4E9B-BC87-94D935C7AF67}"/>
                </a:ext>
              </a:extLst>
            </p:cNvPr>
            <p:cNvSpPr>
              <a:spLocks/>
            </p:cNvSpPr>
            <p:nvPr/>
          </p:nvSpPr>
          <p:spPr bwMode="black">
            <a:xfrm>
              <a:off x="3606800" y="1304925"/>
              <a:ext cx="500063" cy="444500"/>
            </a:xfrm>
            <a:custGeom>
              <a:avLst/>
              <a:gdLst>
                <a:gd name="T0" fmla="*/ 267 w 535"/>
                <a:gd name="T1" fmla="*/ 476 h 477"/>
                <a:gd name="T2" fmla="*/ 15 w 535"/>
                <a:gd name="T3" fmla="*/ 208 h 477"/>
                <a:gd name="T4" fmla="*/ 0 w 535"/>
                <a:gd name="T5" fmla="*/ 140 h 477"/>
                <a:gd name="T6" fmla="*/ 141 w 535"/>
                <a:gd name="T7" fmla="*/ 0 h 477"/>
                <a:gd name="T8" fmla="*/ 268 w 535"/>
                <a:gd name="T9" fmla="*/ 80 h 477"/>
                <a:gd name="T10" fmla="*/ 394 w 535"/>
                <a:gd name="T11" fmla="*/ 0 h 477"/>
                <a:gd name="T12" fmla="*/ 535 w 535"/>
                <a:gd name="T13" fmla="*/ 140 h 477"/>
                <a:gd name="T14" fmla="*/ 520 w 535"/>
                <a:gd name="T15" fmla="*/ 208 h 477"/>
                <a:gd name="T16" fmla="*/ 269 w 535"/>
                <a:gd name="T17" fmla="*/ 476 h 477"/>
                <a:gd name="T18" fmla="*/ 268 w 535"/>
                <a:gd name="T19" fmla="*/ 477 h 477"/>
                <a:gd name="T20" fmla="*/ 267 w 535"/>
                <a:gd name="T21" fmla="*/ 476 h 4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35" h="477">
                  <a:moveTo>
                    <a:pt x="267" y="476"/>
                  </a:moveTo>
                  <a:cubicBezTo>
                    <a:pt x="247" y="461"/>
                    <a:pt x="55" y="310"/>
                    <a:pt x="15" y="208"/>
                  </a:cubicBezTo>
                  <a:cubicBezTo>
                    <a:pt x="8" y="189"/>
                    <a:pt x="0" y="162"/>
                    <a:pt x="0" y="140"/>
                  </a:cubicBezTo>
                  <a:cubicBezTo>
                    <a:pt x="0" y="63"/>
                    <a:pt x="63" y="0"/>
                    <a:pt x="141" y="0"/>
                  </a:cubicBezTo>
                  <a:cubicBezTo>
                    <a:pt x="197" y="0"/>
                    <a:pt x="245" y="33"/>
                    <a:pt x="268" y="80"/>
                  </a:cubicBezTo>
                  <a:cubicBezTo>
                    <a:pt x="290" y="33"/>
                    <a:pt x="339" y="0"/>
                    <a:pt x="394" y="0"/>
                  </a:cubicBezTo>
                  <a:cubicBezTo>
                    <a:pt x="472" y="0"/>
                    <a:pt x="535" y="63"/>
                    <a:pt x="535" y="140"/>
                  </a:cubicBezTo>
                  <a:cubicBezTo>
                    <a:pt x="535" y="162"/>
                    <a:pt x="527" y="189"/>
                    <a:pt x="520" y="208"/>
                  </a:cubicBezTo>
                  <a:cubicBezTo>
                    <a:pt x="480" y="310"/>
                    <a:pt x="288" y="461"/>
                    <a:pt x="269" y="476"/>
                  </a:cubicBezTo>
                  <a:cubicBezTo>
                    <a:pt x="268" y="477"/>
                    <a:pt x="268" y="477"/>
                    <a:pt x="268" y="477"/>
                  </a:cubicBezTo>
                  <a:lnTo>
                    <a:pt x="267" y="476"/>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defRPr/>
              </a:pPr>
              <a:endParaRPr lang="en-US" sz="1200">
                <a:solidFill>
                  <a:srgbClr val="505050"/>
                </a:solidFill>
                <a:latin typeface="Segoe UI"/>
              </a:endParaRPr>
            </a:p>
          </p:txBody>
        </p:sp>
      </p:grpSp>
      <p:grpSp>
        <p:nvGrpSpPr>
          <p:cNvPr id="189" name="Group 188">
            <a:extLst>
              <a:ext uri="{FF2B5EF4-FFF2-40B4-BE49-F238E27FC236}">
                <a16:creationId xmlns:a16="http://schemas.microsoft.com/office/drawing/2014/main" id="{4101EFD0-A52D-4356-86CF-05E77AF83F52}"/>
              </a:ext>
            </a:extLst>
          </p:cNvPr>
          <p:cNvGrpSpPr/>
          <p:nvPr/>
        </p:nvGrpSpPr>
        <p:grpSpPr>
          <a:xfrm>
            <a:off x="3172448" y="2019424"/>
            <a:ext cx="705269" cy="454151"/>
            <a:chOff x="5052739" y="1973963"/>
            <a:chExt cx="2140012" cy="1356468"/>
          </a:xfrm>
        </p:grpSpPr>
        <p:grpSp>
          <p:nvGrpSpPr>
            <p:cNvPr id="190" name="Group 189">
              <a:extLst>
                <a:ext uri="{FF2B5EF4-FFF2-40B4-BE49-F238E27FC236}">
                  <a16:creationId xmlns:a16="http://schemas.microsoft.com/office/drawing/2014/main" id="{1EF927AC-3180-4295-9AD3-6266A741EE47}"/>
                </a:ext>
              </a:extLst>
            </p:cNvPr>
            <p:cNvGrpSpPr/>
            <p:nvPr/>
          </p:nvGrpSpPr>
          <p:grpSpPr>
            <a:xfrm>
              <a:off x="5525547" y="2031814"/>
              <a:ext cx="1159335" cy="1143828"/>
              <a:chOff x="6134873" y="1906158"/>
              <a:chExt cx="635117" cy="626622"/>
            </a:xfrm>
          </p:grpSpPr>
          <p:sp>
            <p:nvSpPr>
              <p:cNvPr id="197" name="Freeform 126">
                <a:extLst>
                  <a:ext uri="{FF2B5EF4-FFF2-40B4-BE49-F238E27FC236}">
                    <a16:creationId xmlns:a16="http://schemas.microsoft.com/office/drawing/2014/main" id="{CC6E1DA0-9748-4117-AD13-3A48589175DA}"/>
                  </a:ext>
                </a:extLst>
              </p:cNvPr>
              <p:cNvSpPr>
                <a:spLocks noChangeAspect="1"/>
              </p:cNvSpPr>
              <p:nvPr/>
            </p:nvSpPr>
            <p:spPr bwMode="auto">
              <a:xfrm>
                <a:off x="6134873" y="1906158"/>
                <a:ext cx="635117" cy="626622"/>
              </a:xfrm>
              <a:custGeom>
                <a:avLst/>
                <a:gdLst/>
                <a:ahLst/>
                <a:cxnLst/>
                <a:rect l="l" t="t" r="r" b="b"/>
                <a:pathLst>
                  <a:path w="4302474" h="4244921">
                    <a:moveTo>
                      <a:pt x="662474" y="3031306"/>
                    </a:moveTo>
                    <a:lnTo>
                      <a:pt x="1339698" y="3086511"/>
                    </a:lnTo>
                    <a:lnTo>
                      <a:pt x="1189316" y="3212867"/>
                    </a:lnTo>
                    <a:cubicBezTo>
                      <a:pt x="1361738" y="3339494"/>
                      <a:pt x="1899676" y="3610086"/>
                      <a:pt x="2421111" y="3521876"/>
                    </a:cubicBezTo>
                    <a:lnTo>
                      <a:pt x="2206882" y="3794685"/>
                    </a:lnTo>
                    <a:lnTo>
                      <a:pt x="2512604" y="4104137"/>
                    </a:lnTo>
                    <a:cubicBezTo>
                      <a:pt x="1778146" y="4225364"/>
                      <a:pt x="1188060" y="3987486"/>
                      <a:pt x="709988" y="3532493"/>
                    </a:cubicBezTo>
                    <a:lnTo>
                      <a:pt x="551662" y="3684753"/>
                    </a:lnTo>
                    <a:close/>
                    <a:moveTo>
                      <a:pt x="3525512" y="2472932"/>
                    </a:moveTo>
                    <a:lnTo>
                      <a:pt x="3736350" y="2855417"/>
                    </a:lnTo>
                    <a:lnTo>
                      <a:pt x="4067130" y="2735505"/>
                    </a:lnTo>
                    <a:cubicBezTo>
                      <a:pt x="3910343" y="3276383"/>
                      <a:pt x="3434822" y="3814468"/>
                      <a:pt x="2761327" y="4046261"/>
                    </a:cubicBezTo>
                    <a:lnTo>
                      <a:pt x="2775115" y="4244921"/>
                    </a:lnTo>
                    <a:lnTo>
                      <a:pt x="2336714" y="3800527"/>
                    </a:lnTo>
                    <a:lnTo>
                      <a:pt x="2699735" y="3292318"/>
                    </a:lnTo>
                    <a:lnTo>
                      <a:pt x="2716265" y="3448052"/>
                    </a:lnTo>
                    <a:cubicBezTo>
                      <a:pt x="2913217" y="3364543"/>
                      <a:pt x="3450254" y="3000009"/>
                      <a:pt x="3525512" y="2472932"/>
                    </a:cubicBezTo>
                    <a:close/>
                    <a:moveTo>
                      <a:pt x="647776" y="1318635"/>
                    </a:moveTo>
                    <a:lnTo>
                      <a:pt x="912024" y="1889568"/>
                    </a:lnTo>
                    <a:lnTo>
                      <a:pt x="724354" y="1824308"/>
                    </a:lnTo>
                    <a:cubicBezTo>
                      <a:pt x="680520" y="2033694"/>
                      <a:pt x="670035" y="2536527"/>
                      <a:pt x="988263" y="2969836"/>
                    </a:cubicBezTo>
                    <a:lnTo>
                      <a:pt x="578667" y="2940790"/>
                    </a:lnTo>
                    <a:lnTo>
                      <a:pt x="519757" y="3323386"/>
                    </a:lnTo>
                    <a:cubicBezTo>
                      <a:pt x="142529" y="2837302"/>
                      <a:pt x="74113" y="2104852"/>
                      <a:pt x="196686" y="1642899"/>
                    </a:cubicBezTo>
                    <a:lnTo>
                      <a:pt x="0" y="1594841"/>
                    </a:lnTo>
                    <a:close/>
                    <a:moveTo>
                      <a:pt x="3620260" y="730478"/>
                    </a:moveTo>
                    <a:cubicBezTo>
                      <a:pt x="4033733" y="1098029"/>
                      <a:pt x="4275138" y="1844086"/>
                      <a:pt x="4120540" y="2491437"/>
                    </a:cubicBezTo>
                    <a:lnTo>
                      <a:pt x="4302474" y="2563960"/>
                    </a:lnTo>
                    <a:lnTo>
                      <a:pt x="3798677" y="2749109"/>
                    </a:lnTo>
                    <a:lnTo>
                      <a:pt x="3472387" y="2208919"/>
                    </a:lnTo>
                    <a:lnTo>
                      <a:pt x="3585155" y="2254985"/>
                    </a:lnTo>
                    <a:cubicBezTo>
                      <a:pt x="3611001" y="1852129"/>
                      <a:pt x="3432844" y="1328610"/>
                      <a:pt x="3114005" y="1104075"/>
                    </a:cubicBezTo>
                    <a:lnTo>
                      <a:pt x="3585698" y="1050994"/>
                    </a:lnTo>
                    <a:close/>
                    <a:moveTo>
                      <a:pt x="1892533" y="133349"/>
                    </a:moveTo>
                    <a:cubicBezTo>
                      <a:pt x="2384988" y="60439"/>
                      <a:pt x="2955319" y="178992"/>
                      <a:pt x="3438386" y="560947"/>
                    </a:cubicBezTo>
                    <a:lnTo>
                      <a:pt x="3550393" y="467694"/>
                    </a:lnTo>
                    <a:lnTo>
                      <a:pt x="3502246" y="970368"/>
                    </a:lnTo>
                    <a:cubicBezTo>
                      <a:pt x="3271583" y="1000546"/>
                      <a:pt x="3040920" y="1015483"/>
                      <a:pt x="2810256" y="1038041"/>
                    </a:cubicBezTo>
                    <a:lnTo>
                      <a:pt x="2933313" y="934789"/>
                    </a:lnTo>
                    <a:cubicBezTo>
                      <a:pt x="2656424" y="758977"/>
                      <a:pt x="2363689" y="669355"/>
                      <a:pt x="1969181" y="705095"/>
                    </a:cubicBezTo>
                    <a:lnTo>
                      <a:pt x="2154737" y="335131"/>
                    </a:lnTo>
                    <a:close/>
                    <a:moveTo>
                      <a:pt x="1460851" y="0"/>
                    </a:moveTo>
                    <a:cubicBezTo>
                      <a:pt x="1609533" y="83809"/>
                      <a:pt x="1867446" y="214583"/>
                      <a:pt x="2054478" y="354019"/>
                    </a:cubicBezTo>
                    <a:lnTo>
                      <a:pt x="1741070" y="954311"/>
                    </a:lnTo>
                    <a:lnTo>
                      <a:pt x="1656922" y="757789"/>
                    </a:lnTo>
                    <a:cubicBezTo>
                      <a:pt x="1340856" y="892862"/>
                      <a:pt x="931601" y="1317770"/>
                      <a:pt x="856671" y="1587702"/>
                    </a:cubicBezTo>
                    <a:lnTo>
                      <a:pt x="694928" y="1212887"/>
                    </a:lnTo>
                    <a:lnTo>
                      <a:pt x="269556" y="1396576"/>
                    </a:lnTo>
                    <a:cubicBezTo>
                      <a:pt x="520909" y="684763"/>
                      <a:pt x="1206237" y="294700"/>
                      <a:pt x="1528653" y="200296"/>
                    </a:cubicBezTo>
                    <a:close/>
                  </a:path>
                </a:pathLst>
              </a:custGeom>
              <a:solidFill>
                <a:schemeClr val="bg1">
                  <a:lumMod val="50000"/>
                </a:schemeClr>
              </a:solidFill>
              <a:ln w="12700" cap="flat" cmpd="sng" algn="ctr">
                <a:noFill/>
                <a:prstDash val="solid"/>
                <a:round/>
                <a:headEnd type="none" w="med" len="med"/>
                <a:tailEnd type="none" w="med" len="med"/>
              </a:ln>
              <a:effectLst/>
            </p:spPr>
            <p:txBody>
              <a:bodyPr vert="horz" wrap="square" lIns="68570" tIns="34285" rIns="68570" bIns="34285" numCol="1" rtlCol="0" anchor="t" anchorCtr="0" compatLnSpc="1">
                <a:prstTxWarp prst="textNoShape">
                  <a:avLst/>
                </a:prstTxWarp>
              </a:bodyPr>
              <a:lstStyle/>
              <a:p>
                <a:pPr defTabSz="685775" eaLnBrk="0" fontAlgn="base" hangingPunct="0">
                  <a:spcBef>
                    <a:spcPct val="0"/>
                  </a:spcBef>
                  <a:spcAft>
                    <a:spcPct val="0"/>
                  </a:spcAft>
                  <a:defRPr/>
                </a:pPr>
                <a:endParaRPr lang="en-US" sz="1350">
                  <a:solidFill>
                    <a:srgbClr val="505050"/>
                  </a:solidFill>
                  <a:latin typeface="Arial" charset="0"/>
                </a:endParaRPr>
              </a:p>
            </p:txBody>
          </p:sp>
          <p:sp>
            <p:nvSpPr>
              <p:cNvPr id="198" name="Trapezoid 3">
                <a:extLst>
                  <a:ext uri="{FF2B5EF4-FFF2-40B4-BE49-F238E27FC236}">
                    <a16:creationId xmlns:a16="http://schemas.microsoft.com/office/drawing/2014/main" id="{03641FC4-86BB-42BE-99BF-ADCC00615D72}"/>
                  </a:ext>
                </a:extLst>
              </p:cNvPr>
              <p:cNvSpPr/>
              <p:nvPr/>
            </p:nvSpPr>
            <p:spPr>
              <a:xfrm>
                <a:off x="6397062" y="2049127"/>
                <a:ext cx="185674" cy="338939"/>
              </a:xfrm>
              <a:custGeom>
                <a:avLst/>
                <a:gdLst>
                  <a:gd name="connsiteX0" fmla="*/ 2052754 w 6499195"/>
                  <a:gd name="connsiteY0" fmla="*/ 2902312 h 3498714"/>
                  <a:gd name="connsiteX1" fmla="*/ 4707054 w 6499195"/>
                  <a:gd name="connsiteY1" fmla="*/ 2902312 h 3498714"/>
                  <a:gd name="connsiteX2" fmla="*/ 4818179 w 6499195"/>
                  <a:gd name="connsiteY2" fmla="*/ 3013437 h 3498714"/>
                  <a:gd name="connsiteX3" fmla="*/ 4707054 w 6499195"/>
                  <a:gd name="connsiteY3" fmla="*/ 3124562 h 3498714"/>
                  <a:gd name="connsiteX4" fmla="*/ 4545125 w 6499195"/>
                  <a:gd name="connsiteY4" fmla="*/ 3124562 h 3498714"/>
                  <a:gd name="connsiteX5" fmla="*/ 4545125 w 6499195"/>
                  <a:gd name="connsiteY5" fmla="*/ 3361625 h 3498714"/>
                  <a:gd name="connsiteX6" fmla="*/ 4436113 w 6499195"/>
                  <a:gd name="connsiteY6" fmla="*/ 3470637 h 3498714"/>
                  <a:gd name="connsiteX7" fmla="*/ 4235039 w 6499195"/>
                  <a:gd name="connsiteY7" fmla="*/ 3470637 h 3498714"/>
                  <a:gd name="connsiteX8" fmla="*/ 4126027 w 6499195"/>
                  <a:gd name="connsiteY8" fmla="*/ 3361625 h 3498714"/>
                  <a:gd name="connsiteX9" fmla="*/ 4126027 w 6499195"/>
                  <a:gd name="connsiteY9" fmla="*/ 3124562 h 3498714"/>
                  <a:gd name="connsiteX10" fmla="*/ 2589325 w 6499195"/>
                  <a:gd name="connsiteY10" fmla="*/ 3124562 h 3498714"/>
                  <a:gd name="connsiteX11" fmla="*/ 2589325 w 6499195"/>
                  <a:gd name="connsiteY11" fmla="*/ 3361625 h 3498714"/>
                  <a:gd name="connsiteX12" fmla="*/ 2480313 w 6499195"/>
                  <a:gd name="connsiteY12" fmla="*/ 3470637 h 3498714"/>
                  <a:gd name="connsiteX13" fmla="*/ 2279239 w 6499195"/>
                  <a:gd name="connsiteY13" fmla="*/ 3470637 h 3498714"/>
                  <a:gd name="connsiteX14" fmla="*/ 2170227 w 6499195"/>
                  <a:gd name="connsiteY14" fmla="*/ 3361625 h 3498714"/>
                  <a:gd name="connsiteX15" fmla="*/ 2170227 w 6499195"/>
                  <a:gd name="connsiteY15" fmla="*/ 3124562 h 3498714"/>
                  <a:gd name="connsiteX16" fmla="*/ 2052754 w 6499195"/>
                  <a:gd name="connsiteY16" fmla="*/ 3124562 h 3498714"/>
                  <a:gd name="connsiteX17" fmla="*/ 1941629 w 6499195"/>
                  <a:gd name="connsiteY17" fmla="*/ 3013437 h 3498714"/>
                  <a:gd name="connsiteX18" fmla="*/ 2052754 w 6499195"/>
                  <a:gd name="connsiteY18" fmla="*/ 2902312 h 3498714"/>
                  <a:gd name="connsiteX19" fmla="*/ 4492583 w 6499195"/>
                  <a:gd name="connsiteY19" fmla="*/ 2089512 h 3498714"/>
                  <a:gd name="connsiteX20" fmla="*/ 4311608 w 6499195"/>
                  <a:gd name="connsiteY20" fmla="*/ 2270487 h 3498714"/>
                  <a:gd name="connsiteX21" fmla="*/ 4492583 w 6499195"/>
                  <a:gd name="connsiteY21" fmla="*/ 2451462 h 3498714"/>
                  <a:gd name="connsiteX22" fmla="*/ 6498753 w 6499195"/>
                  <a:gd name="connsiteY22" fmla="*/ 2404799 h 3498714"/>
                  <a:gd name="connsiteX23" fmla="*/ 4673558 w 6499195"/>
                  <a:gd name="connsiteY23" fmla="*/ 2270487 h 3498714"/>
                  <a:gd name="connsiteX24" fmla="*/ 4492583 w 6499195"/>
                  <a:gd name="connsiteY24" fmla="*/ 2089512 h 3498714"/>
                  <a:gd name="connsiteX25" fmla="*/ 2979061 w 6499195"/>
                  <a:gd name="connsiteY25" fmla="*/ 2089512 h 3498714"/>
                  <a:gd name="connsiteX26" fmla="*/ 2671086 w 6499195"/>
                  <a:gd name="connsiteY26" fmla="*/ 2397487 h 3498714"/>
                  <a:gd name="connsiteX27" fmla="*/ 2671086 w 6499195"/>
                  <a:gd name="connsiteY27" fmla="*/ 2584811 h 3498714"/>
                  <a:gd name="connsiteX28" fmla="*/ 4083961 w 6499195"/>
                  <a:gd name="connsiteY28" fmla="*/ 2584811 h 3498714"/>
                  <a:gd name="connsiteX29" fmla="*/ 4083961 w 6499195"/>
                  <a:gd name="connsiteY29" fmla="*/ 2397487 h 3498714"/>
                  <a:gd name="connsiteX30" fmla="*/ 3775986 w 6499195"/>
                  <a:gd name="connsiteY30" fmla="*/ 2089512 h 3498714"/>
                  <a:gd name="connsiteX31" fmla="*/ 2979061 w 6499195"/>
                  <a:gd name="connsiteY31" fmla="*/ 2089512 h 3498714"/>
                  <a:gd name="connsiteX32" fmla="*/ 2251033 w 6499195"/>
                  <a:gd name="connsiteY32" fmla="*/ 2089512 h 3498714"/>
                  <a:gd name="connsiteX33" fmla="*/ 2070058 w 6499195"/>
                  <a:gd name="connsiteY33" fmla="*/ 2270487 h 3498714"/>
                  <a:gd name="connsiteX34" fmla="*/ 2251033 w 6499195"/>
                  <a:gd name="connsiteY34" fmla="*/ 2451462 h 3498714"/>
                  <a:gd name="connsiteX35" fmla="*/ 2432008 w 6499195"/>
                  <a:gd name="connsiteY35" fmla="*/ 2270487 h 3498714"/>
                  <a:gd name="connsiteX36" fmla="*/ 2251033 w 6499195"/>
                  <a:gd name="connsiteY36" fmla="*/ 2089512 h 3498714"/>
                  <a:gd name="connsiteX37" fmla="*/ 2651061 w 6499195"/>
                  <a:gd name="connsiteY37" fmla="*/ 1167548 h 3498714"/>
                  <a:gd name="connsiteX38" fmla="*/ 2392797 w 6499195"/>
                  <a:gd name="connsiteY38" fmla="*/ 1878907 h 3498714"/>
                  <a:gd name="connsiteX39" fmla="*/ 2478781 w 6499195"/>
                  <a:gd name="connsiteY39" fmla="*/ 1920808 h 3498714"/>
                  <a:gd name="connsiteX40" fmla="*/ 2842751 w 6499195"/>
                  <a:gd name="connsiteY40" fmla="*/ 1749356 h 3498714"/>
                  <a:gd name="connsiteX41" fmla="*/ 3912296 w 6499195"/>
                  <a:gd name="connsiteY41" fmla="*/ 1749356 h 3498714"/>
                  <a:gd name="connsiteX42" fmla="*/ 4277738 w 6499195"/>
                  <a:gd name="connsiteY42" fmla="*/ 1922593 h 3498714"/>
                  <a:gd name="connsiteX43" fmla="*/ 4370569 w 6499195"/>
                  <a:gd name="connsiteY43" fmla="*/ 1877441 h 3498714"/>
                  <a:gd name="connsiteX44" fmla="*/ 4112835 w 6499195"/>
                  <a:gd name="connsiteY44" fmla="*/ 1167548 h 3498714"/>
                  <a:gd name="connsiteX45" fmla="*/ 2651061 w 6499195"/>
                  <a:gd name="connsiteY45" fmla="*/ 1167548 h 3498714"/>
                  <a:gd name="connsiteX46" fmla="*/ 2534724 w 6499195"/>
                  <a:gd name="connsiteY46" fmla="*/ 982297 h 3498714"/>
                  <a:gd name="connsiteX47" fmla="*/ 4229172 w 6499195"/>
                  <a:gd name="connsiteY47" fmla="*/ 982297 h 3498714"/>
                  <a:gd name="connsiteX48" fmla="*/ 4546612 w 6499195"/>
                  <a:gd name="connsiteY48" fmla="*/ 1856643 h 3498714"/>
                  <a:gd name="connsiteX49" fmla="*/ 4936448 w 6499195"/>
                  <a:gd name="connsiteY49" fmla="*/ 2279217 h 3498714"/>
                  <a:gd name="connsiteX50" fmla="*/ 4802103 w 6499195"/>
                  <a:gd name="connsiteY50" fmla="*/ 2588456 h 3498714"/>
                  <a:gd name="connsiteX51" fmla="*/ 4904699 w 6499195"/>
                  <a:gd name="connsiteY51" fmla="*/ 2705462 h 3498714"/>
                  <a:gd name="connsiteX52" fmla="*/ 4904698 w 6499195"/>
                  <a:gd name="connsiteY52" fmla="*/ 2705462 h 3498714"/>
                  <a:gd name="connsiteX53" fmla="*/ 4784047 w 6499195"/>
                  <a:gd name="connsiteY53" fmla="*/ 2826113 h 3498714"/>
                  <a:gd name="connsiteX54" fmla="*/ 1970999 w 6499195"/>
                  <a:gd name="connsiteY54" fmla="*/ 2826112 h 3498714"/>
                  <a:gd name="connsiteX55" fmla="*/ 1850348 w 6499195"/>
                  <a:gd name="connsiteY55" fmla="*/ 2705462 h 3498714"/>
                  <a:gd name="connsiteX56" fmla="*/ 1956769 w 6499195"/>
                  <a:gd name="connsiteY56" fmla="*/ 2587684 h 3498714"/>
                  <a:gd name="connsiteX57" fmla="*/ 1823360 w 6499195"/>
                  <a:gd name="connsiteY57" fmla="*/ 2279217 h 3498714"/>
                  <a:gd name="connsiteX58" fmla="*/ 2217440 w 6499195"/>
                  <a:gd name="connsiteY58" fmla="*/ 1856216 h 3498714"/>
                  <a:gd name="connsiteX59" fmla="*/ 2534724 w 6499195"/>
                  <a:gd name="connsiteY59" fmla="*/ 982297 h 3498714"/>
                  <a:gd name="connsiteX60" fmla="*/ 358791 w 6499195"/>
                  <a:gd name="connsiteY60" fmla="*/ 644545 h 3498714"/>
                  <a:gd name="connsiteX61" fmla="*/ 1006774 w 6499195"/>
                  <a:gd name="connsiteY61" fmla="*/ 644545 h 3498714"/>
                  <a:gd name="connsiteX62" fmla="*/ 1542636 w 6499195"/>
                  <a:gd name="connsiteY62" fmla="*/ 1193969 h 3498714"/>
                  <a:gd name="connsiteX63" fmla="*/ 1929878 w 6499195"/>
                  <a:gd name="connsiteY63" fmla="*/ 1193970 h 3498714"/>
                  <a:gd name="connsiteX64" fmla="*/ 2070059 w 6499195"/>
                  <a:gd name="connsiteY64" fmla="*/ 1334152 h 3498714"/>
                  <a:gd name="connsiteX65" fmla="*/ 1929878 w 6499195"/>
                  <a:gd name="connsiteY65" fmla="*/ 1474333 h 3498714"/>
                  <a:gd name="connsiteX66" fmla="*/ 1520943 w 6499195"/>
                  <a:gd name="connsiteY66" fmla="*/ 1470388 h 3498714"/>
                  <a:gd name="connsiteX67" fmla="*/ 1332825 w 6499195"/>
                  <a:gd name="connsiteY67" fmla="*/ 1367201 h 3498714"/>
                  <a:gd name="connsiteX68" fmla="*/ 1106501 w 6499195"/>
                  <a:gd name="connsiteY68" fmla="*/ 1098289 h 3498714"/>
                  <a:gd name="connsiteX69" fmla="*/ 1101049 w 6499195"/>
                  <a:gd name="connsiteY69" fmla="*/ 1092836 h 3498714"/>
                  <a:gd name="connsiteX70" fmla="*/ 1046523 w 6499195"/>
                  <a:gd name="connsiteY70" fmla="*/ 1092836 h 3498714"/>
                  <a:gd name="connsiteX71" fmla="*/ 1041071 w 6499195"/>
                  <a:gd name="connsiteY71" fmla="*/ 1098289 h 3498714"/>
                  <a:gd name="connsiteX72" fmla="*/ 1042136 w 6499195"/>
                  <a:gd name="connsiteY72" fmla="*/ 1419754 h 3498714"/>
                  <a:gd name="connsiteX73" fmla="*/ 1042136 w 6499195"/>
                  <a:gd name="connsiteY73" fmla="*/ 3337652 h 3498714"/>
                  <a:gd name="connsiteX74" fmla="*/ 881075 w 6499195"/>
                  <a:gd name="connsiteY74" fmla="*/ 3498714 h 3498714"/>
                  <a:gd name="connsiteX75" fmla="*/ 720012 w 6499195"/>
                  <a:gd name="connsiteY75" fmla="*/ 3337652 h 3498714"/>
                  <a:gd name="connsiteX76" fmla="*/ 720012 w 6499195"/>
                  <a:gd name="connsiteY76" fmla="*/ 2125717 h 3498714"/>
                  <a:gd name="connsiteX77" fmla="*/ 718947 w 6499195"/>
                  <a:gd name="connsiteY77" fmla="*/ 2033194 h 3498714"/>
                  <a:gd name="connsiteX78" fmla="*/ 714162 w 6499195"/>
                  <a:gd name="connsiteY78" fmla="*/ 2028410 h 3498714"/>
                  <a:gd name="connsiteX79" fmla="*/ 654759 w 6499195"/>
                  <a:gd name="connsiteY79" fmla="*/ 2028410 h 3498714"/>
                  <a:gd name="connsiteX80" fmla="*/ 649974 w 6499195"/>
                  <a:gd name="connsiteY80" fmla="*/ 2033194 h 3498714"/>
                  <a:gd name="connsiteX81" fmla="*/ 649974 w 6499195"/>
                  <a:gd name="connsiteY81" fmla="*/ 2125717 h 3498714"/>
                  <a:gd name="connsiteX82" fmla="*/ 649574 w 6499195"/>
                  <a:gd name="connsiteY82" fmla="*/ 3337652 h 3498714"/>
                  <a:gd name="connsiteX83" fmla="*/ 488511 w 6499195"/>
                  <a:gd name="connsiteY83" fmla="*/ 3498714 h 3498714"/>
                  <a:gd name="connsiteX84" fmla="*/ 327450 w 6499195"/>
                  <a:gd name="connsiteY84" fmla="*/ 3337652 h 3498714"/>
                  <a:gd name="connsiteX85" fmla="*/ 327450 w 6499195"/>
                  <a:gd name="connsiteY85" fmla="*/ 1458216 h 3498714"/>
                  <a:gd name="connsiteX86" fmla="*/ 322427 w 6499195"/>
                  <a:gd name="connsiteY86" fmla="*/ 1098205 h 3498714"/>
                  <a:gd name="connsiteX87" fmla="*/ 317058 w 6499195"/>
                  <a:gd name="connsiteY87" fmla="*/ 1092836 h 3498714"/>
                  <a:gd name="connsiteX88" fmla="*/ 263371 w 6499195"/>
                  <a:gd name="connsiteY88" fmla="*/ 1092836 h 3498714"/>
                  <a:gd name="connsiteX89" fmla="*/ 258001 w 6499195"/>
                  <a:gd name="connsiteY89" fmla="*/ 1098205 h 3498714"/>
                  <a:gd name="connsiteX90" fmla="*/ 258001 w 6499195"/>
                  <a:gd name="connsiteY90" fmla="*/ 1444446 h 3498714"/>
                  <a:gd name="connsiteX91" fmla="*/ 257700 w 6499195"/>
                  <a:gd name="connsiteY91" fmla="*/ 1444370 h 3498714"/>
                  <a:gd name="connsiteX92" fmla="*/ 257700 w 6499195"/>
                  <a:gd name="connsiteY92" fmla="*/ 1912573 h 3498714"/>
                  <a:gd name="connsiteX93" fmla="*/ 128850 w 6499195"/>
                  <a:gd name="connsiteY93" fmla="*/ 2041423 h 3498714"/>
                  <a:gd name="connsiteX94" fmla="*/ 0 w 6499195"/>
                  <a:gd name="connsiteY94" fmla="*/ 1912573 h 3498714"/>
                  <a:gd name="connsiteX95" fmla="*/ 0 w 6499195"/>
                  <a:gd name="connsiteY95" fmla="*/ 1101802 h 3498714"/>
                  <a:gd name="connsiteX96" fmla="*/ 0 w 6499195"/>
                  <a:gd name="connsiteY96" fmla="*/ 1003338 h 3498714"/>
                  <a:gd name="connsiteX97" fmla="*/ 0 w 6499195"/>
                  <a:gd name="connsiteY97" fmla="*/ 982486 h 3498714"/>
                  <a:gd name="connsiteX98" fmla="*/ 12733 w 6499195"/>
                  <a:gd name="connsiteY98" fmla="*/ 894663 h 3498714"/>
                  <a:gd name="connsiteX99" fmla="*/ 20539 w 6499195"/>
                  <a:gd name="connsiteY99" fmla="*/ 868773 h 3498714"/>
                  <a:gd name="connsiteX100" fmla="*/ 358791 w 6499195"/>
                  <a:gd name="connsiteY100" fmla="*/ 644545 h 3498714"/>
                  <a:gd name="connsiteX101" fmla="*/ 682782 w 6499195"/>
                  <a:gd name="connsiteY101" fmla="*/ 0 h 3498714"/>
                  <a:gd name="connsiteX102" fmla="*/ 966919 w 6499195"/>
                  <a:gd name="connsiteY102" fmla="*/ 284138 h 3498714"/>
                  <a:gd name="connsiteX103" fmla="*/ 682782 w 6499195"/>
                  <a:gd name="connsiteY103" fmla="*/ 568275 h 3498714"/>
                  <a:gd name="connsiteX104" fmla="*/ 398645 w 6499195"/>
                  <a:gd name="connsiteY104" fmla="*/ 284138 h 3498714"/>
                  <a:gd name="connsiteX105" fmla="*/ 682782 w 6499195"/>
                  <a:gd name="connsiteY105" fmla="*/ 0 h 3498714"/>
                  <a:gd name="connsiteX0" fmla="*/ 2052754 w 6499473"/>
                  <a:gd name="connsiteY0" fmla="*/ 2902312 h 3498714"/>
                  <a:gd name="connsiteX1" fmla="*/ 4707054 w 6499473"/>
                  <a:gd name="connsiteY1" fmla="*/ 2902312 h 3498714"/>
                  <a:gd name="connsiteX2" fmla="*/ 4818179 w 6499473"/>
                  <a:gd name="connsiteY2" fmla="*/ 3013437 h 3498714"/>
                  <a:gd name="connsiteX3" fmla="*/ 4707054 w 6499473"/>
                  <a:gd name="connsiteY3" fmla="*/ 3124562 h 3498714"/>
                  <a:gd name="connsiteX4" fmla="*/ 4545125 w 6499473"/>
                  <a:gd name="connsiteY4" fmla="*/ 3124562 h 3498714"/>
                  <a:gd name="connsiteX5" fmla="*/ 4545125 w 6499473"/>
                  <a:gd name="connsiteY5" fmla="*/ 3361625 h 3498714"/>
                  <a:gd name="connsiteX6" fmla="*/ 4436113 w 6499473"/>
                  <a:gd name="connsiteY6" fmla="*/ 3470637 h 3498714"/>
                  <a:gd name="connsiteX7" fmla="*/ 4235039 w 6499473"/>
                  <a:gd name="connsiteY7" fmla="*/ 3470637 h 3498714"/>
                  <a:gd name="connsiteX8" fmla="*/ 4126027 w 6499473"/>
                  <a:gd name="connsiteY8" fmla="*/ 3361625 h 3498714"/>
                  <a:gd name="connsiteX9" fmla="*/ 4126027 w 6499473"/>
                  <a:gd name="connsiteY9" fmla="*/ 3124562 h 3498714"/>
                  <a:gd name="connsiteX10" fmla="*/ 2589325 w 6499473"/>
                  <a:gd name="connsiteY10" fmla="*/ 3124562 h 3498714"/>
                  <a:gd name="connsiteX11" fmla="*/ 2589325 w 6499473"/>
                  <a:gd name="connsiteY11" fmla="*/ 3361625 h 3498714"/>
                  <a:gd name="connsiteX12" fmla="*/ 2480313 w 6499473"/>
                  <a:gd name="connsiteY12" fmla="*/ 3470637 h 3498714"/>
                  <a:gd name="connsiteX13" fmla="*/ 2279239 w 6499473"/>
                  <a:gd name="connsiteY13" fmla="*/ 3470637 h 3498714"/>
                  <a:gd name="connsiteX14" fmla="*/ 2170227 w 6499473"/>
                  <a:gd name="connsiteY14" fmla="*/ 3361625 h 3498714"/>
                  <a:gd name="connsiteX15" fmla="*/ 2170227 w 6499473"/>
                  <a:gd name="connsiteY15" fmla="*/ 3124562 h 3498714"/>
                  <a:gd name="connsiteX16" fmla="*/ 2052754 w 6499473"/>
                  <a:gd name="connsiteY16" fmla="*/ 3124562 h 3498714"/>
                  <a:gd name="connsiteX17" fmla="*/ 1941629 w 6499473"/>
                  <a:gd name="connsiteY17" fmla="*/ 3013437 h 3498714"/>
                  <a:gd name="connsiteX18" fmla="*/ 2052754 w 6499473"/>
                  <a:gd name="connsiteY18" fmla="*/ 2902312 h 3498714"/>
                  <a:gd name="connsiteX19" fmla="*/ 4492583 w 6499473"/>
                  <a:gd name="connsiteY19" fmla="*/ 2089512 h 3498714"/>
                  <a:gd name="connsiteX20" fmla="*/ 4311608 w 6499473"/>
                  <a:gd name="connsiteY20" fmla="*/ 2270487 h 3498714"/>
                  <a:gd name="connsiteX21" fmla="*/ 4492583 w 6499473"/>
                  <a:gd name="connsiteY21" fmla="*/ 2451462 h 3498714"/>
                  <a:gd name="connsiteX22" fmla="*/ 6498753 w 6499473"/>
                  <a:gd name="connsiteY22" fmla="*/ 2404799 h 3498714"/>
                  <a:gd name="connsiteX23" fmla="*/ 5268722 w 6499473"/>
                  <a:gd name="connsiteY23" fmla="*/ 1972085 h 3498714"/>
                  <a:gd name="connsiteX24" fmla="*/ 4492583 w 6499473"/>
                  <a:gd name="connsiteY24" fmla="*/ 2089512 h 3498714"/>
                  <a:gd name="connsiteX25" fmla="*/ 2979061 w 6499473"/>
                  <a:gd name="connsiteY25" fmla="*/ 2089512 h 3498714"/>
                  <a:gd name="connsiteX26" fmla="*/ 2671086 w 6499473"/>
                  <a:gd name="connsiteY26" fmla="*/ 2397487 h 3498714"/>
                  <a:gd name="connsiteX27" fmla="*/ 2671086 w 6499473"/>
                  <a:gd name="connsiteY27" fmla="*/ 2584811 h 3498714"/>
                  <a:gd name="connsiteX28" fmla="*/ 4083961 w 6499473"/>
                  <a:gd name="connsiteY28" fmla="*/ 2584811 h 3498714"/>
                  <a:gd name="connsiteX29" fmla="*/ 4083961 w 6499473"/>
                  <a:gd name="connsiteY29" fmla="*/ 2397487 h 3498714"/>
                  <a:gd name="connsiteX30" fmla="*/ 3775986 w 6499473"/>
                  <a:gd name="connsiteY30" fmla="*/ 2089512 h 3498714"/>
                  <a:gd name="connsiteX31" fmla="*/ 2979061 w 6499473"/>
                  <a:gd name="connsiteY31" fmla="*/ 2089512 h 3498714"/>
                  <a:gd name="connsiteX32" fmla="*/ 2251033 w 6499473"/>
                  <a:gd name="connsiteY32" fmla="*/ 2089512 h 3498714"/>
                  <a:gd name="connsiteX33" fmla="*/ 2070058 w 6499473"/>
                  <a:gd name="connsiteY33" fmla="*/ 2270487 h 3498714"/>
                  <a:gd name="connsiteX34" fmla="*/ 2251033 w 6499473"/>
                  <a:gd name="connsiteY34" fmla="*/ 2451462 h 3498714"/>
                  <a:gd name="connsiteX35" fmla="*/ 2432008 w 6499473"/>
                  <a:gd name="connsiteY35" fmla="*/ 2270487 h 3498714"/>
                  <a:gd name="connsiteX36" fmla="*/ 2251033 w 6499473"/>
                  <a:gd name="connsiteY36" fmla="*/ 2089512 h 3498714"/>
                  <a:gd name="connsiteX37" fmla="*/ 2651061 w 6499473"/>
                  <a:gd name="connsiteY37" fmla="*/ 1167548 h 3498714"/>
                  <a:gd name="connsiteX38" fmla="*/ 2392797 w 6499473"/>
                  <a:gd name="connsiteY38" fmla="*/ 1878907 h 3498714"/>
                  <a:gd name="connsiteX39" fmla="*/ 2478781 w 6499473"/>
                  <a:gd name="connsiteY39" fmla="*/ 1920808 h 3498714"/>
                  <a:gd name="connsiteX40" fmla="*/ 2842751 w 6499473"/>
                  <a:gd name="connsiteY40" fmla="*/ 1749356 h 3498714"/>
                  <a:gd name="connsiteX41" fmla="*/ 3912296 w 6499473"/>
                  <a:gd name="connsiteY41" fmla="*/ 1749356 h 3498714"/>
                  <a:gd name="connsiteX42" fmla="*/ 4277738 w 6499473"/>
                  <a:gd name="connsiteY42" fmla="*/ 1922593 h 3498714"/>
                  <a:gd name="connsiteX43" fmla="*/ 4370569 w 6499473"/>
                  <a:gd name="connsiteY43" fmla="*/ 1877441 h 3498714"/>
                  <a:gd name="connsiteX44" fmla="*/ 4112835 w 6499473"/>
                  <a:gd name="connsiteY44" fmla="*/ 1167548 h 3498714"/>
                  <a:gd name="connsiteX45" fmla="*/ 2651061 w 6499473"/>
                  <a:gd name="connsiteY45" fmla="*/ 1167548 h 3498714"/>
                  <a:gd name="connsiteX46" fmla="*/ 2534724 w 6499473"/>
                  <a:gd name="connsiteY46" fmla="*/ 982297 h 3498714"/>
                  <a:gd name="connsiteX47" fmla="*/ 4229172 w 6499473"/>
                  <a:gd name="connsiteY47" fmla="*/ 982297 h 3498714"/>
                  <a:gd name="connsiteX48" fmla="*/ 4546612 w 6499473"/>
                  <a:gd name="connsiteY48" fmla="*/ 1856643 h 3498714"/>
                  <a:gd name="connsiteX49" fmla="*/ 4936448 w 6499473"/>
                  <a:gd name="connsiteY49" fmla="*/ 2279217 h 3498714"/>
                  <a:gd name="connsiteX50" fmla="*/ 4802103 w 6499473"/>
                  <a:gd name="connsiteY50" fmla="*/ 2588456 h 3498714"/>
                  <a:gd name="connsiteX51" fmla="*/ 4904699 w 6499473"/>
                  <a:gd name="connsiteY51" fmla="*/ 2705462 h 3498714"/>
                  <a:gd name="connsiteX52" fmla="*/ 4904698 w 6499473"/>
                  <a:gd name="connsiteY52" fmla="*/ 2705462 h 3498714"/>
                  <a:gd name="connsiteX53" fmla="*/ 4784047 w 6499473"/>
                  <a:gd name="connsiteY53" fmla="*/ 2826113 h 3498714"/>
                  <a:gd name="connsiteX54" fmla="*/ 1970999 w 6499473"/>
                  <a:gd name="connsiteY54" fmla="*/ 2826112 h 3498714"/>
                  <a:gd name="connsiteX55" fmla="*/ 1850348 w 6499473"/>
                  <a:gd name="connsiteY55" fmla="*/ 2705462 h 3498714"/>
                  <a:gd name="connsiteX56" fmla="*/ 1956769 w 6499473"/>
                  <a:gd name="connsiteY56" fmla="*/ 2587684 h 3498714"/>
                  <a:gd name="connsiteX57" fmla="*/ 1823360 w 6499473"/>
                  <a:gd name="connsiteY57" fmla="*/ 2279217 h 3498714"/>
                  <a:gd name="connsiteX58" fmla="*/ 2217440 w 6499473"/>
                  <a:gd name="connsiteY58" fmla="*/ 1856216 h 3498714"/>
                  <a:gd name="connsiteX59" fmla="*/ 2534724 w 6499473"/>
                  <a:gd name="connsiteY59" fmla="*/ 982297 h 3498714"/>
                  <a:gd name="connsiteX60" fmla="*/ 358791 w 6499473"/>
                  <a:gd name="connsiteY60" fmla="*/ 644545 h 3498714"/>
                  <a:gd name="connsiteX61" fmla="*/ 1006774 w 6499473"/>
                  <a:gd name="connsiteY61" fmla="*/ 644545 h 3498714"/>
                  <a:gd name="connsiteX62" fmla="*/ 1542636 w 6499473"/>
                  <a:gd name="connsiteY62" fmla="*/ 1193969 h 3498714"/>
                  <a:gd name="connsiteX63" fmla="*/ 1929878 w 6499473"/>
                  <a:gd name="connsiteY63" fmla="*/ 1193970 h 3498714"/>
                  <a:gd name="connsiteX64" fmla="*/ 2070059 w 6499473"/>
                  <a:gd name="connsiteY64" fmla="*/ 1334152 h 3498714"/>
                  <a:gd name="connsiteX65" fmla="*/ 1929878 w 6499473"/>
                  <a:gd name="connsiteY65" fmla="*/ 1474333 h 3498714"/>
                  <a:gd name="connsiteX66" fmla="*/ 1520943 w 6499473"/>
                  <a:gd name="connsiteY66" fmla="*/ 1470388 h 3498714"/>
                  <a:gd name="connsiteX67" fmla="*/ 1332825 w 6499473"/>
                  <a:gd name="connsiteY67" fmla="*/ 1367201 h 3498714"/>
                  <a:gd name="connsiteX68" fmla="*/ 1106501 w 6499473"/>
                  <a:gd name="connsiteY68" fmla="*/ 1098289 h 3498714"/>
                  <a:gd name="connsiteX69" fmla="*/ 1101049 w 6499473"/>
                  <a:gd name="connsiteY69" fmla="*/ 1092836 h 3498714"/>
                  <a:gd name="connsiteX70" fmla="*/ 1046523 w 6499473"/>
                  <a:gd name="connsiteY70" fmla="*/ 1092836 h 3498714"/>
                  <a:gd name="connsiteX71" fmla="*/ 1041071 w 6499473"/>
                  <a:gd name="connsiteY71" fmla="*/ 1098289 h 3498714"/>
                  <a:gd name="connsiteX72" fmla="*/ 1042136 w 6499473"/>
                  <a:gd name="connsiteY72" fmla="*/ 1419754 h 3498714"/>
                  <a:gd name="connsiteX73" fmla="*/ 1042136 w 6499473"/>
                  <a:gd name="connsiteY73" fmla="*/ 3337652 h 3498714"/>
                  <a:gd name="connsiteX74" fmla="*/ 881075 w 6499473"/>
                  <a:gd name="connsiteY74" fmla="*/ 3498714 h 3498714"/>
                  <a:gd name="connsiteX75" fmla="*/ 720012 w 6499473"/>
                  <a:gd name="connsiteY75" fmla="*/ 3337652 h 3498714"/>
                  <a:gd name="connsiteX76" fmla="*/ 720012 w 6499473"/>
                  <a:gd name="connsiteY76" fmla="*/ 2125717 h 3498714"/>
                  <a:gd name="connsiteX77" fmla="*/ 718947 w 6499473"/>
                  <a:gd name="connsiteY77" fmla="*/ 2033194 h 3498714"/>
                  <a:gd name="connsiteX78" fmla="*/ 714162 w 6499473"/>
                  <a:gd name="connsiteY78" fmla="*/ 2028410 h 3498714"/>
                  <a:gd name="connsiteX79" fmla="*/ 654759 w 6499473"/>
                  <a:gd name="connsiteY79" fmla="*/ 2028410 h 3498714"/>
                  <a:gd name="connsiteX80" fmla="*/ 649974 w 6499473"/>
                  <a:gd name="connsiteY80" fmla="*/ 2033194 h 3498714"/>
                  <a:gd name="connsiteX81" fmla="*/ 649974 w 6499473"/>
                  <a:gd name="connsiteY81" fmla="*/ 2125717 h 3498714"/>
                  <a:gd name="connsiteX82" fmla="*/ 649574 w 6499473"/>
                  <a:gd name="connsiteY82" fmla="*/ 3337652 h 3498714"/>
                  <a:gd name="connsiteX83" fmla="*/ 488511 w 6499473"/>
                  <a:gd name="connsiteY83" fmla="*/ 3498714 h 3498714"/>
                  <a:gd name="connsiteX84" fmla="*/ 327450 w 6499473"/>
                  <a:gd name="connsiteY84" fmla="*/ 3337652 h 3498714"/>
                  <a:gd name="connsiteX85" fmla="*/ 327450 w 6499473"/>
                  <a:gd name="connsiteY85" fmla="*/ 1458216 h 3498714"/>
                  <a:gd name="connsiteX86" fmla="*/ 322427 w 6499473"/>
                  <a:gd name="connsiteY86" fmla="*/ 1098205 h 3498714"/>
                  <a:gd name="connsiteX87" fmla="*/ 317058 w 6499473"/>
                  <a:gd name="connsiteY87" fmla="*/ 1092836 h 3498714"/>
                  <a:gd name="connsiteX88" fmla="*/ 263371 w 6499473"/>
                  <a:gd name="connsiteY88" fmla="*/ 1092836 h 3498714"/>
                  <a:gd name="connsiteX89" fmla="*/ 258001 w 6499473"/>
                  <a:gd name="connsiteY89" fmla="*/ 1098205 h 3498714"/>
                  <a:gd name="connsiteX90" fmla="*/ 258001 w 6499473"/>
                  <a:gd name="connsiteY90" fmla="*/ 1444446 h 3498714"/>
                  <a:gd name="connsiteX91" fmla="*/ 257700 w 6499473"/>
                  <a:gd name="connsiteY91" fmla="*/ 1444370 h 3498714"/>
                  <a:gd name="connsiteX92" fmla="*/ 257700 w 6499473"/>
                  <a:gd name="connsiteY92" fmla="*/ 1912573 h 3498714"/>
                  <a:gd name="connsiteX93" fmla="*/ 128850 w 6499473"/>
                  <a:gd name="connsiteY93" fmla="*/ 2041423 h 3498714"/>
                  <a:gd name="connsiteX94" fmla="*/ 0 w 6499473"/>
                  <a:gd name="connsiteY94" fmla="*/ 1912573 h 3498714"/>
                  <a:gd name="connsiteX95" fmla="*/ 0 w 6499473"/>
                  <a:gd name="connsiteY95" fmla="*/ 1101802 h 3498714"/>
                  <a:gd name="connsiteX96" fmla="*/ 0 w 6499473"/>
                  <a:gd name="connsiteY96" fmla="*/ 1003338 h 3498714"/>
                  <a:gd name="connsiteX97" fmla="*/ 0 w 6499473"/>
                  <a:gd name="connsiteY97" fmla="*/ 982486 h 3498714"/>
                  <a:gd name="connsiteX98" fmla="*/ 12733 w 6499473"/>
                  <a:gd name="connsiteY98" fmla="*/ 894663 h 3498714"/>
                  <a:gd name="connsiteX99" fmla="*/ 20539 w 6499473"/>
                  <a:gd name="connsiteY99" fmla="*/ 868773 h 3498714"/>
                  <a:gd name="connsiteX100" fmla="*/ 358791 w 6499473"/>
                  <a:gd name="connsiteY100" fmla="*/ 644545 h 3498714"/>
                  <a:gd name="connsiteX101" fmla="*/ 682782 w 6499473"/>
                  <a:gd name="connsiteY101" fmla="*/ 0 h 3498714"/>
                  <a:gd name="connsiteX102" fmla="*/ 966919 w 6499473"/>
                  <a:gd name="connsiteY102" fmla="*/ 284138 h 3498714"/>
                  <a:gd name="connsiteX103" fmla="*/ 682782 w 6499473"/>
                  <a:gd name="connsiteY103" fmla="*/ 568275 h 3498714"/>
                  <a:gd name="connsiteX104" fmla="*/ 398645 w 6499473"/>
                  <a:gd name="connsiteY104" fmla="*/ 284138 h 3498714"/>
                  <a:gd name="connsiteX105" fmla="*/ 682782 w 6499473"/>
                  <a:gd name="connsiteY105" fmla="*/ 0 h 3498714"/>
                  <a:gd name="connsiteX0" fmla="*/ 2052754 w 6499257"/>
                  <a:gd name="connsiteY0" fmla="*/ 2902312 h 3498714"/>
                  <a:gd name="connsiteX1" fmla="*/ 4707054 w 6499257"/>
                  <a:gd name="connsiteY1" fmla="*/ 2902312 h 3498714"/>
                  <a:gd name="connsiteX2" fmla="*/ 4818179 w 6499257"/>
                  <a:gd name="connsiteY2" fmla="*/ 3013437 h 3498714"/>
                  <a:gd name="connsiteX3" fmla="*/ 4707054 w 6499257"/>
                  <a:gd name="connsiteY3" fmla="*/ 3124562 h 3498714"/>
                  <a:gd name="connsiteX4" fmla="*/ 4545125 w 6499257"/>
                  <a:gd name="connsiteY4" fmla="*/ 3124562 h 3498714"/>
                  <a:gd name="connsiteX5" fmla="*/ 4545125 w 6499257"/>
                  <a:gd name="connsiteY5" fmla="*/ 3361625 h 3498714"/>
                  <a:gd name="connsiteX6" fmla="*/ 4436113 w 6499257"/>
                  <a:gd name="connsiteY6" fmla="*/ 3470637 h 3498714"/>
                  <a:gd name="connsiteX7" fmla="*/ 4235039 w 6499257"/>
                  <a:gd name="connsiteY7" fmla="*/ 3470637 h 3498714"/>
                  <a:gd name="connsiteX8" fmla="*/ 4126027 w 6499257"/>
                  <a:gd name="connsiteY8" fmla="*/ 3361625 h 3498714"/>
                  <a:gd name="connsiteX9" fmla="*/ 4126027 w 6499257"/>
                  <a:gd name="connsiteY9" fmla="*/ 3124562 h 3498714"/>
                  <a:gd name="connsiteX10" fmla="*/ 2589325 w 6499257"/>
                  <a:gd name="connsiteY10" fmla="*/ 3124562 h 3498714"/>
                  <a:gd name="connsiteX11" fmla="*/ 2589325 w 6499257"/>
                  <a:gd name="connsiteY11" fmla="*/ 3361625 h 3498714"/>
                  <a:gd name="connsiteX12" fmla="*/ 2480313 w 6499257"/>
                  <a:gd name="connsiteY12" fmla="*/ 3470637 h 3498714"/>
                  <a:gd name="connsiteX13" fmla="*/ 2279239 w 6499257"/>
                  <a:gd name="connsiteY13" fmla="*/ 3470637 h 3498714"/>
                  <a:gd name="connsiteX14" fmla="*/ 2170227 w 6499257"/>
                  <a:gd name="connsiteY14" fmla="*/ 3361625 h 3498714"/>
                  <a:gd name="connsiteX15" fmla="*/ 2170227 w 6499257"/>
                  <a:gd name="connsiteY15" fmla="*/ 3124562 h 3498714"/>
                  <a:gd name="connsiteX16" fmla="*/ 2052754 w 6499257"/>
                  <a:gd name="connsiteY16" fmla="*/ 3124562 h 3498714"/>
                  <a:gd name="connsiteX17" fmla="*/ 1941629 w 6499257"/>
                  <a:gd name="connsiteY17" fmla="*/ 3013437 h 3498714"/>
                  <a:gd name="connsiteX18" fmla="*/ 2052754 w 6499257"/>
                  <a:gd name="connsiteY18" fmla="*/ 2902312 h 3498714"/>
                  <a:gd name="connsiteX19" fmla="*/ 4492583 w 6499257"/>
                  <a:gd name="connsiteY19" fmla="*/ 2089512 h 3498714"/>
                  <a:gd name="connsiteX20" fmla="*/ 4311608 w 6499257"/>
                  <a:gd name="connsiteY20" fmla="*/ 2270487 h 3498714"/>
                  <a:gd name="connsiteX21" fmla="*/ 4492583 w 6499257"/>
                  <a:gd name="connsiteY21" fmla="*/ 2451462 h 3498714"/>
                  <a:gd name="connsiteX22" fmla="*/ 5407618 w 6499257"/>
                  <a:gd name="connsiteY22" fmla="*/ 2468742 h 3498714"/>
                  <a:gd name="connsiteX23" fmla="*/ 6498753 w 6499257"/>
                  <a:gd name="connsiteY23" fmla="*/ 2404799 h 3498714"/>
                  <a:gd name="connsiteX24" fmla="*/ 5268722 w 6499257"/>
                  <a:gd name="connsiteY24" fmla="*/ 1972085 h 3498714"/>
                  <a:gd name="connsiteX25" fmla="*/ 4492583 w 6499257"/>
                  <a:gd name="connsiteY25" fmla="*/ 2089512 h 3498714"/>
                  <a:gd name="connsiteX26" fmla="*/ 2979061 w 6499257"/>
                  <a:gd name="connsiteY26" fmla="*/ 2089512 h 3498714"/>
                  <a:gd name="connsiteX27" fmla="*/ 2671086 w 6499257"/>
                  <a:gd name="connsiteY27" fmla="*/ 2397487 h 3498714"/>
                  <a:gd name="connsiteX28" fmla="*/ 2671086 w 6499257"/>
                  <a:gd name="connsiteY28" fmla="*/ 2584811 h 3498714"/>
                  <a:gd name="connsiteX29" fmla="*/ 4083961 w 6499257"/>
                  <a:gd name="connsiteY29" fmla="*/ 2584811 h 3498714"/>
                  <a:gd name="connsiteX30" fmla="*/ 4083961 w 6499257"/>
                  <a:gd name="connsiteY30" fmla="*/ 2397487 h 3498714"/>
                  <a:gd name="connsiteX31" fmla="*/ 3775986 w 6499257"/>
                  <a:gd name="connsiteY31" fmla="*/ 2089512 h 3498714"/>
                  <a:gd name="connsiteX32" fmla="*/ 2979061 w 6499257"/>
                  <a:gd name="connsiteY32" fmla="*/ 2089512 h 3498714"/>
                  <a:gd name="connsiteX33" fmla="*/ 2251033 w 6499257"/>
                  <a:gd name="connsiteY33" fmla="*/ 2089512 h 3498714"/>
                  <a:gd name="connsiteX34" fmla="*/ 2070058 w 6499257"/>
                  <a:gd name="connsiteY34" fmla="*/ 2270487 h 3498714"/>
                  <a:gd name="connsiteX35" fmla="*/ 2251033 w 6499257"/>
                  <a:gd name="connsiteY35" fmla="*/ 2451462 h 3498714"/>
                  <a:gd name="connsiteX36" fmla="*/ 2432008 w 6499257"/>
                  <a:gd name="connsiteY36" fmla="*/ 2270487 h 3498714"/>
                  <a:gd name="connsiteX37" fmla="*/ 2251033 w 6499257"/>
                  <a:gd name="connsiteY37" fmla="*/ 2089512 h 3498714"/>
                  <a:gd name="connsiteX38" fmla="*/ 2651061 w 6499257"/>
                  <a:gd name="connsiteY38" fmla="*/ 1167548 h 3498714"/>
                  <a:gd name="connsiteX39" fmla="*/ 2392797 w 6499257"/>
                  <a:gd name="connsiteY39" fmla="*/ 1878907 h 3498714"/>
                  <a:gd name="connsiteX40" fmla="*/ 2478781 w 6499257"/>
                  <a:gd name="connsiteY40" fmla="*/ 1920808 h 3498714"/>
                  <a:gd name="connsiteX41" fmla="*/ 2842751 w 6499257"/>
                  <a:gd name="connsiteY41" fmla="*/ 1749356 h 3498714"/>
                  <a:gd name="connsiteX42" fmla="*/ 3912296 w 6499257"/>
                  <a:gd name="connsiteY42" fmla="*/ 1749356 h 3498714"/>
                  <a:gd name="connsiteX43" fmla="*/ 4277738 w 6499257"/>
                  <a:gd name="connsiteY43" fmla="*/ 1922593 h 3498714"/>
                  <a:gd name="connsiteX44" fmla="*/ 4370569 w 6499257"/>
                  <a:gd name="connsiteY44" fmla="*/ 1877441 h 3498714"/>
                  <a:gd name="connsiteX45" fmla="*/ 4112835 w 6499257"/>
                  <a:gd name="connsiteY45" fmla="*/ 1167548 h 3498714"/>
                  <a:gd name="connsiteX46" fmla="*/ 2651061 w 6499257"/>
                  <a:gd name="connsiteY46" fmla="*/ 1167548 h 3498714"/>
                  <a:gd name="connsiteX47" fmla="*/ 2534724 w 6499257"/>
                  <a:gd name="connsiteY47" fmla="*/ 982297 h 3498714"/>
                  <a:gd name="connsiteX48" fmla="*/ 4229172 w 6499257"/>
                  <a:gd name="connsiteY48" fmla="*/ 982297 h 3498714"/>
                  <a:gd name="connsiteX49" fmla="*/ 4546612 w 6499257"/>
                  <a:gd name="connsiteY49" fmla="*/ 1856643 h 3498714"/>
                  <a:gd name="connsiteX50" fmla="*/ 4936448 w 6499257"/>
                  <a:gd name="connsiteY50" fmla="*/ 2279217 h 3498714"/>
                  <a:gd name="connsiteX51" fmla="*/ 4802103 w 6499257"/>
                  <a:gd name="connsiteY51" fmla="*/ 2588456 h 3498714"/>
                  <a:gd name="connsiteX52" fmla="*/ 4904699 w 6499257"/>
                  <a:gd name="connsiteY52" fmla="*/ 2705462 h 3498714"/>
                  <a:gd name="connsiteX53" fmla="*/ 4904698 w 6499257"/>
                  <a:gd name="connsiteY53" fmla="*/ 2705462 h 3498714"/>
                  <a:gd name="connsiteX54" fmla="*/ 4784047 w 6499257"/>
                  <a:gd name="connsiteY54" fmla="*/ 2826113 h 3498714"/>
                  <a:gd name="connsiteX55" fmla="*/ 1970999 w 6499257"/>
                  <a:gd name="connsiteY55" fmla="*/ 2826112 h 3498714"/>
                  <a:gd name="connsiteX56" fmla="*/ 1850348 w 6499257"/>
                  <a:gd name="connsiteY56" fmla="*/ 2705462 h 3498714"/>
                  <a:gd name="connsiteX57" fmla="*/ 1956769 w 6499257"/>
                  <a:gd name="connsiteY57" fmla="*/ 2587684 h 3498714"/>
                  <a:gd name="connsiteX58" fmla="*/ 1823360 w 6499257"/>
                  <a:gd name="connsiteY58" fmla="*/ 2279217 h 3498714"/>
                  <a:gd name="connsiteX59" fmla="*/ 2217440 w 6499257"/>
                  <a:gd name="connsiteY59" fmla="*/ 1856216 h 3498714"/>
                  <a:gd name="connsiteX60" fmla="*/ 2534724 w 6499257"/>
                  <a:gd name="connsiteY60" fmla="*/ 982297 h 3498714"/>
                  <a:gd name="connsiteX61" fmla="*/ 358791 w 6499257"/>
                  <a:gd name="connsiteY61" fmla="*/ 644545 h 3498714"/>
                  <a:gd name="connsiteX62" fmla="*/ 1006774 w 6499257"/>
                  <a:gd name="connsiteY62" fmla="*/ 644545 h 3498714"/>
                  <a:gd name="connsiteX63" fmla="*/ 1542636 w 6499257"/>
                  <a:gd name="connsiteY63" fmla="*/ 1193969 h 3498714"/>
                  <a:gd name="connsiteX64" fmla="*/ 1929878 w 6499257"/>
                  <a:gd name="connsiteY64" fmla="*/ 1193970 h 3498714"/>
                  <a:gd name="connsiteX65" fmla="*/ 2070059 w 6499257"/>
                  <a:gd name="connsiteY65" fmla="*/ 1334152 h 3498714"/>
                  <a:gd name="connsiteX66" fmla="*/ 1929878 w 6499257"/>
                  <a:gd name="connsiteY66" fmla="*/ 1474333 h 3498714"/>
                  <a:gd name="connsiteX67" fmla="*/ 1520943 w 6499257"/>
                  <a:gd name="connsiteY67" fmla="*/ 1470388 h 3498714"/>
                  <a:gd name="connsiteX68" fmla="*/ 1332825 w 6499257"/>
                  <a:gd name="connsiteY68" fmla="*/ 1367201 h 3498714"/>
                  <a:gd name="connsiteX69" fmla="*/ 1106501 w 6499257"/>
                  <a:gd name="connsiteY69" fmla="*/ 1098289 h 3498714"/>
                  <a:gd name="connsiteX70" fmla="*/ 1101049 w 6499257"/>
                  <a:gd name="connsiteY70" fmla="*/ 1092836 h 3498714"/>
                  <a:gd name="connsiteX71" fmla="*/ 1046523 w 6499257"/>
                  <a:gd name="connsiteY71" fmla="*/ 1092836 h 3498714"/>
                  <a:gd name="connsiteX72" fmla="*/ 1041071 w 6499257"/>
                  <a:gd name="connsiteY72" fmla="*/ 1098289 h 3498714"/>
                  <a:gd name="connsiteX73" fmla="*/ 1042136 w 6499257"/>
                  <a:gd name="connsiteY73" fmla="*/ 1419754 h 3498714"/>
                  <a:gd name="connsiteX74" fmla="*/ 1042136 w 6499257"/>
                  <a:gd name="connsiteY74" fmla="*/ 3337652 h 3498714"/>
                  <a:gd name="connsiteX75" fmla="*/ 881075 w 6499257"/>
                  <a:gd name="connsiteY75" fmla="*/ 3498714 h 3498714"/>
                  <a:gd name="connsiteX76" fmla="*/ 720012 w 6499257"/>
                  <a:gd name="connsiteY76" fmla="*/ 3337652 h 3498714"/>
                  <a:gd name="connsiteX77" fmla="*/ 720012 w 6499257"/>
                  <a:gd name="connsiteY77" fmla="*/ 2125717 h 3498714"/>
                  <a:gd name="connsiteX78" fmla="*/ 718947 w 6499257"/>
                  <a:gd name="connsiteY78" fmla="*/ 2033194 h 3498714"/>
                  <a:gd name="connsiteX79" fmla="*/ 714162 w 6499257"/>
                  <a:gd name="connsiteY79" fmla="*/ 2028410 h 3498714"/>
                  <a:gd name="connsiteX80" fmla="*/ 654759 w 6499257"/>
                  <a:gd name="connsiteY80" fmla="*/ 2028410 h 3498714"/>
                  <a:gd name="connsiteX81" fmla="*/ 649974 w 6499257"/>
                  <a:gd name="connsiteY81" fmla="*/ 2033194 h 3498714"/>
                  <a:gd name="connsiteX82" fmla="*/ 649974 w 6499257"/>
                  <a:gd name="connsiteY82" fmla="*/ 2125717 h 3498714"/>
                  <a:gd name="connsiteX83" fmla="*/ 649574 w 6499257"/>
                  <a:gd name="connsiteY83" fmla="*/ 3337652 h 3498714"/>
                  <a:gd name="connsiteX84" fmla="*/ 488511 w 6499257"/>
                  <a:gd name="connsiteY84" fmla="*/ 3498714 h 3498714"/>
                  <a:gd name="connsiteX85" fmla="*/ 327450 w 6499257"/>
                  <a:gd name="connsiteY85" fmla="*/ 3337652 h 3498714"/>
                  <a:gd name="connsiteX86" fmla="*/ 327450 w 6499257"/>
                  <a:gd name="connsiteY86" fmla="*/ 1458216 h 3498714"/>
                  <a:gd name="connsiteX87" fmla="*/ 322427 w 6499257"/>
                  <a:gd name="connsiteY87" fmla="*/ 1098205 h 3498714"/>
                  <a:gd name="connsiteX88" fmla="*/ 317058 w 6499257"/>
                  <a:gd name="connsiteY88" fmla="*/ 1092836 h 3498714"/>
                  <a:gd name="connsiteX89" fmla="*/ 263371 w 6499257"/>
                  <a:gd name="connsiteY89" fmla="*/ 1092836 h 3498714"/>
                  <a:gd name="connsiteX90" fmla="*/ 258001 w 6499257"/>
                  <a:gd name="connsiteY90" fmla="*/ 1098205 h 3498714"/>
                  <a:gd name="connsiteX91" fmla="*/ 258001 w 6499257"/>
                  <a:gd name="connsiteY91" fmla="*/ 1444446 h 3498714"/>
                  <a:gd name="connsiteX92" fmla="*/ 257700 w 6499257"/>
                  <a:gd name="connsiteY92" fmla="*/ 1444370 h 3498714"/>
                  <a:gd name="connsiteX93" fmla="*/ 257700 w 6499257"/>
                  <a:gd name="connsiteY93" fmla="*/ 1912573 h 3498714"/>
                  <a:gd name="connsiteX94" fmla="*/ 128850 w 6499257"/>
                  <a:gd name="connsiteY94" fmla="*/ 2041423 h 3498714"/>
                  <a:gd name="connsiteX95" fmla="*/ 0 w 6499257"/>
                  <a:gd name="connsiteY95" fmla="*/ 1912573 h 3498714"/>
                  <a:gd name="connsiteX96" fmla="*/ 0 w 6499257"/>
                  <a:gd name="connsiteY96" fmla="*/ 1101802 h 3498714"/>
                  <a:gd name="connsiteX97" fmla="*/ 0 w 6499257"/>
                  <a:gd name="connsiteY97" fmla="*/ 1003338 h 3498714"/>
                  <a:gd name="connsiteX98" fmla="*/ 0 w 6499257"/>
                  <a:gd name="connsiteY98" fmla="*/ 982486 h 3498714"/>
                  <a:gd name="connsiteX99" fmla="*/ 12733 w 6499257"/>
                  <a:gd name="connsiteY99" fmla="*/ 894663 h 3498714"/>
                  <a:gd name="connsiteX100" fmla="*/ 20539 w 6499257"/>
                  <a:gd name="connsiteY100" fmla="*/ 868773 h 3498714"/>
                  <a:gd name="connsiteX101" fmla="*/ 358791 w 6499257"/>
                  <a:gd name="connsiteY101" fmla="*/ 644545 h 3498714"/>
                  <a:gd name="connsiteX102" fmla="*/ 682782 w 6499257"/>
                  <a:gd name="connsiteY102" fmla="*/ 0 h 3498714"/>
                  <a:gd name="connsiteX103" fmla="*/ 966919 w 6499257"/>
                  <a:gd name="connsiteY103" fmla="*/ 284138 h 3498714"/>
                  <a:gd name="connsiteX104" fmla="*/ 682782 w 6499257"/>
                  <a:gd name="connsiteY104" fmla="*/ 568275 h 3498714"/>
                  <a:gd name="connsiteX105" fmla="*/ 398645 w 6499257"/>
                  <a:gd name="connsiteY105" fmla="*/ 284138 h 3498714"/>
                  <a:gd name="connsiteX106" fmla="*/ 682782 w 6499257"/>
                  <a:gd name="connsiteY106" fmla="*/ 0 h 3498714"/>
                  <a:gd name="connsiteX0" fmla="*/ 2052754 w 6499257"/>
                  <a:gd name="connsiteY0" fmla="*/ 2902312 h 3498714"/>
                  <a:gd name="connsiteX1" fmla="*/ 4707054 w 6499257"/>
                  <a:gd name="connsiteY1" fmla="*/ 2902312 h 3498714"/>
                  <a:gd name="connsiteX2" fmla="*/ 4818179 w 6499257"/>
                  <a:gd name="connsiteY2" fmla="*/ 3013437 h 3498714"/>
                  <a:gd name="connsiteX3" fmla="*/ 4707054 w 6499257"/>
                  <a:gd name="connsiteY3" fmla="*/ 3124562 h 3498714"/>
                  <a:gd name="connsiteX4" fmla="*/ 4545125 w 6499257"/>
                  <a:gd name="connsiteY4" fmla="*/ 3124562 h 3498714"/>
                  <a:gd name="connsiteX5" fmla="*/ 4545125 w 6499257"/>
                  <a:gd name="connsiteY5" fmla="*/ 3361625 h 3498714"/>
                  <a:gd name="connsiteX6" fmla="*/ 4436113 w 6499257"/>
                  <a:gd name="connsiteY6" fmla="*/ 3470637 h 3498714"/>
                  <a:gd name="connsiteX7" fmla="*/ 4235039 w 6499257"/>
                  <a:gd name="connsiteY7" fmla="*/ 3470637 h 3498714"/>
                  <a:gd name="connsiteX8" fmla="*/ 4126027 w 6499257"/>
                  <a:gd name="connsiteY8" fmla="*/ 3361625 h 3498714"/>
                  <a:gd name="connsiteX9" fmla="*/ 4126027 w 6499257"/>
                  <a:gd name="connsiteY9" fmla="*/ 3124562 h 3498714"/>
                  <a:gd name="connsiteX10" fmla="*/ 2589325 w 6499257"/>
                  <a:gd name="connsiteY10" fmla="*/ 3124562 h 3498714"/>
                  <a:gd name="connsiteX11" fmla="*/ 2589325 w 6499257"/>
                  <a:gd name="connsiteY11" fmla="*/ 3361625 h 3498714"/>
                  <a:gd name="connsiteX12" fmla="*/ 2480313 w 6499257"/>
                  <a:gd name="connsiteY12" fmla="*/ 3470637 h 3498714"/>
                  <a:gd name="connsiteX13" fmla="*/ 2279239 w 6499257"/>
                  <a:gd name="connsiteY13" fmla="*/ 3470637 h 3498714"/>
                  <a:gd name="connsiteX14" fmla="*/ 2170227 w 6499257"/>
                  <a:gd name="connsiteY14" fmla="*/ 3361625 h 3498714"/>
                  <a:gd name="connsiteX15" fmla="*/ 2170227 w 6499257"/>
                  <a:gd name="connsiteY15" fmla="*/ 3124562 h 3498714"/>
                  <a:gd name="connsiteX16" fmla="*/ 2052754 w 6499257"/>
                  <a:gd name="connsiteY16" fmla="*/ 3124562 h 3498714"/>
                  <a:gd name="connsiteX17" fmla="*/ 1941629 w 6499257"/>
                  <a:gd name="connsiteY17" fmla="*/ 3013437 h 3498714"/>
                  <a:gd name="connsiteX18" fmla="*/ 2052754 w 6499257"/>
                  <a:gd name="connsiteY18" fmla="*/ 2902312 h 3498714"/>
                  <a:gd name="connsiteX19" fmla="*/ 4492583 w 6499257"/>
                  <a:gd name="connsiteY19" fmla="*/ 2089512 h 3498714"/>
                  <a:gd name="connsiteX20" fmla="*/ 4311608 w 6499257"/>
                  <a:gd name="connsiteY20" fmla="*/ 2270487 h 3498714"/>
                  <a:gd name="connsiteX21" fmla="*/ 4492583 w 6499257"/>
                  <a:gd name="connsiteY21" fmla="*/ 2451462 h 3498714"/>
                  <a:gd name="connsiteX22" fmla="*/ 5407618 w 6499257"/>
                  <a:gd name="connsiteY22" fmla="*/ 2468742 h 3498714"/>
                  <a:gd name="connsiteX23" fmla="*/ 6498753 w 6499257"/>
                  <a:gd name="connsiteY23" fmla="*/ 2404799 h 3498714"/>
                  <a:gd name="connsiteX24" fmla="*/ 5268722 w 6499257"/>
                  <a:gd name="connsiteY24" fmla="*/ 1972085 h 3498714"/>
                  <a:gd name="connsiteX25" fmla="*/ 4492583 w 6499257"/>
                  <a:gd name="connsiteY25" fmla="*/ 2089512 h 3498714"/>
                  <a:gd name="connsiteX26" fmla="*/ 2979061 w 6499257"/>
                  <a:gd name="connsiteY26" fmla="*/ 2089512 h 3498714"/>
                  <a:gd name="connsiteX27" fmla="*/ 2671086 w 6499257"/>
                  <a:gd name="connsiteY27" fmla="*/ 2397487 h 3498714"/>
                  <a:gd name="connsiteX28" fmla="*/ 2671086 w 6499257"/>
                  <a:gd name="connsiteY28" fmla="*/ 2584811 h 3498714"/>
                  <a:gd name="connsiteX29" fmla="*/ 4083961 w 6499257"/>
                  <a:gd name="connsiteY29" fmla="*/ 2584811 h 3498714"/>
                  <a:gd name="connsiteX30" fmla="*/ 4083961 w 6499257"/>
                  <a:gd name="connsiteY30" fmla="*/ 2397487 h 3498714"/>
                  <a:gd name="connsiteX31" fmla="*/ 3775986 w 6499257"/>
                  <a:gd name="connsiteY31" fmla="*/ 2089512 h 3498714"/>
                  <a:gd name="connsiteX32" fmla="*/ 2979061 w 6499257"/>
                  <a:gd name="connsiteY32" fmla="*/ 2089512 h 3498714"/>
                  <a:gd name="connsiteX33" fmla="*/ 2251033 w 6499257"/>
                  <a:gd name="connsiteY33" fmla="*/ 2089512 h 3498714"/>
                  <a:gd name="connsiteX34" fmla="*/ 2070058 w 6499257"/>
                  <a:gd name="connsiteY34" fmla="*/ 2270487 h 3498714"/>
                  <a:gd name="connsiteX35" fmla="*/ 2251033 w 6499257"/>
                  <a:gd name="connsiteY35" fmla="*/ 2451462 h 3498714"/>
                  <a:gd name="connsiteX36" fmla="*/ 2432008 w 6499257"/>
                  <a:gd name="connsiteY36" fmla="*/ 2270487 h 3498714"/>
                  <a:gd name="connsiteX37" fmla="*/ 2251033 w 6499257"/>
                  <a:gd name="connsiteY37" fmla="*/ 2089512 h 3498714"/>
                  <a:gd name="connsiteX38" fmla="*/ 2651061 w 6499257"/>
                  <a:gd name="connsiteY38" fmla="*/ 1167548 h 3498714"/>
                  <a:gd name="connsiteX39" fmla="*/ 2392797 w 6499257"/>
                  <a:gd name="connsiteY39" fmla="*/ 1878907 h 3498714"/>
                  <a:gd name="connsiteX40" fmla="*/ 2478781 w 6499257"/>
                  <a:gd name="connsiteY40" fmla="*/ 1920808 h 3498714"/>
                  <a:gd name="connsiteX41" fmla="*/ 2842751 w 6499257"/>
                  <a:gd name="connsiteY41" fmla="*/ 1749356 h 3498714"/>
                  <a:gd name="connsiteX42" fmla="*/ 3912296 w 6499257"/>
                  <a:gd name="connsiteY42" fmla="*/ 1749356 h 3498714"/>
                  <a:gd name="connsiteX43" fmla="*/ 4277738 w 6499257"/>
                  <a:gd name="connsiteY43" fmla="*/ 1922593 h 3498714"/>
                  <a:gd name="connsiteX44" fmla="*/ 4370569 w 6499257"/>
                  <a:gd name="connsiteY44" fmla="*/ 1877441 h 3498714"/>
                  <a:gd name="connsiteX45" fmla="*/ 4112835 w 6499257"/>
                  <a:gd name="connsiteY45" fmla="*/ 1167548 h 3498714"/>
                  <a:gd name="connsiteX46" fmla="*/ 2651061 w 6499257"/>
                  <a:gd name="connsiteY46" fmla="*/ 1167548 h 3498714"/>
                  <a:gd name="connsiteX47" fmla="*/ 2534724 w 6499257"/>
                  <a:gd name="connsiteY47" fmla="*/ 982297 h 3498714"/>
                  <a:gd name="connsiteX48" fmla="*/ 4229172 w 6499257"/>
                  <a:gd name="connsiteY48" fmla="*/ 982297 h 3498714"/>
                  <a:gd name="connsiteX49" fmla="*/ 4546612 w 6499257"/>
                  <a:gd name="connsiteY49" fmla="*/ 1856643 h 3498714"/>
                  <a:gd name="connsiteX50" fmla="*/ 4936448 w 6499257"/>
                  <a:gd name="connsiteY50" fmla="*/ 2279217 h 3498714"/>
                  <a:gd name="connsiteX51" fmla="*/ 4802103 w 6499257"/>
                  <a:gd name="connsiteY51" fmla="*/ 2588456 h 3498714"/>
                  <a:gd name="connsiteX52" fmla="*/ 4904699 w 6499257"/>
                  <a:gd name="connsiteY52" fmla="*/ 2705462 h 3498714"/>
                  <a:gd name="connsiteX53" fmla="*/ 4904698 w 6499257"/>
                  <a:gd name="connsiteY53" fmla="*/ 2705462 h 3498714"/>
                  <a:gd name="connsiteX54" fmla="*/ 4784047 w 6499257"/>
                  <a:gd name="connsiteY54" fmla="*/ 2826113 h 3498714"/>
                  <a:gd name="connsiteX55" fmla="*/ 1970999 w 6499257"/>
                  <a:gd name="connsiteY55" fmla="*/ 2826112 h 3498714"/>
                  <a:gd name="connsiteX56" fmla="*/ 1850348 w 6499257"/>
                  <a:gd name="connsiteY56" fmla="*/ 2705462 h 3498714"/>
                  <a:gd name="connsiteX57" fmla="*/ 1956769 w 6499257"/>
                  <a:gd name="connsiteY57" fmla="*/ 2587684 h 3498714"/>
                  <a:gd name="connsiteX58" fmla="*/ 1823360 w 6499257"/>
                  <a:gd name="connsiteY58" fmla="*/ 2279217 h 3498714"/>
                  <a:gd name="connsiteX59" fmla="*/ 2217440 w 6499257"/>
                  <a:gd name="connsiteY59" fmla="*/ 1856216 h 3498714"/>
                  <a:gd name="connsiteX60" fmla="*/ 2534724 w 6499257"/>
                  <a:gd name="connsiteY60" fmla="*/ 982297 h 3498714"/>
                  <a:gd name="connsiteX61" fmla="*/ 358791 w 6499257"/>
                  <a:gd name="connsiteY61" fmla="*/ 644545 h 3498714"/>
                  <a:gd name="connsiteX62" fmla="*/ 1006774 w 6499257"/>
                  <a:gd name="connsiteY62" fmla="*/ 644545 h 3498714"/>
                  <a:gd name="connsiteX63" fmla="*/ 1542636 w 6499257"/>
                  <a:gd name="connsiteY63" fmla="*/ 1193969 h 3498714"/>
                  <a:gd name="connsiteX64" fmla="*/ 1929878 w 6499257"/>
                  <a:gd name="connsiteY64" fmla="*/ 1193970 h 3498714"/>
                  <a:gd name="connsiteX65" fmla="*/ 2070059 w 6499257"/>
                  <a:gd name="connsiteY65" fmla="*/ 1334152 h 3498714"/>
                  <a:gd name="connsiteX66" fmla="*/ 1929878 w 6499257"/>
                  <a:gd name="connsiteY66" fmla="*/ 1474333 h 3498714"/>
                  <a:gd name="connsiteX67" fmla="*/ 1520943 w 6499257"/>
                  <a:gd name="connsiteY67" fmla="*/ 1470388 h 3498714"/>
                  <a:gd name="connsiteX68" fmla="*/ 1332825 w 6499257"/>
                  <a:gd name="connsiteY68" fmla="*/ 1367201 h 3498714"/>
                  <a:gd name="connsiteX69" fmla="*/ 1106501 w 6499257"/>
                  <a:gd name="connsiteY69" fmla="*/ 1098289 h 3498714"/>
                  <a:gd name="connsiteX70" fmla="*/ 1101049 w 6499257"/>
                  <a:gd name="connsiteY70" fmla="*/ 1092836 h 3498714"/>
                  <a:gd name="connsiteX71" fmla="*/ 1046523 w 6499257"/>
                  <a:gd name="connsiteY71" fmla="*/ 1092836 h 3498714"/>
                  <a:gd name="connsiteX72" fmla="*/ 1041071 w 6499257"/>
                  <a:gd name="connsiteY72" fmla="*/ 1098289 h 3498714"/>
                  <a:gd name="connsiteX73" fmla="*/ 1042136 w 6499257"/>
                  <a:gd name="connsiteY73" fmla="*/ 1419754 h 3498714"/>
                  <a:gd name="connsiteX74" fmla="*/ 1042136 w 6499257"/>
                  <a:gd name="connsiteY74" fmla="*/ 3337652 h 3498714"/>
                  <a:gd name="connsiteX75" fmla="*/ 881075 w 6499257"/>
                  <a:gd name="connsiteY75" fmla="*/ 3498714 h 3498714"/>
                  <a:gd name="connsiteX76" fmla="*/ 720012 w 6499257"/>
                  <a:gd name="connsiteY76" fmla="*/ 3337652 h 3498714"/>
                  <a:gd name="connsiteX77" fmla="*/ 720012 w 6499257"/>
                  <a:gd name="connsiteY77" fmla="*/ 2125717 h 3498714"/>
                  <a:gd name="connsiteX78" fmla="*/ 718947 w 6499257"/>
                  <a:gd name="connsiteY78" fmla="*/ 2033194 h 3498714"/>
                  <a:gd name="connsiteX79" fmla="*/ 714162 w 6499257"/>
                  <a:gd name="connsiteY79" fmla="*/ 2028410 h 3498714"/>
                  <a:gd name="connsiteX80" fmla="*/ 654759 w 6499257"/>
                  <a:gd name="connsiteY80" fmla="*/ 2028410 h 3498714"/>
                  <a:gd name="connsiteX81" fmla="*/ 649974 w 6499257"/>
                  <a:gd name="connsiteY81" fmla="*/ 2033194 h 3498714"/>
                  <a:gd name="connsiteX82" fmla="*/ 649974 w 6499257"/>
                  <a:gd name="connsiteY82" fmla="*/ 2125717 h 3498714"/>
                  <a:gd name="connsiteX83" fmla="*/ 649574 w 6499257"/>
                  <a:gd name="connsiteY83" fmla="*/ 3337652 h 3498714"/>
                  <a:gd name="connsiteX84" fmla="*/ 488511 w 6499257"/>
                  <a:gd name="connsiteY84" fmla="*/ 3498714 h 3498714"/>
                  <a:gd name="connsiteX85" fmla="*/ 327450 w 6499257"/>
                  <a:gd name="connsiteY85" fmla="*/ 3337652 h 3498714"/>
                  <a:gd name="connsiteX86" fmla="*/ 327450 w 6499257"/>
                  <a:gd name="connsiteY86" fmla="*/ 1458216 h 3498714"/>
                  <a:gd name="connsiteX87" fmla="*/ 322427 w 6499257"/>
                  <a:gd name="connsiteY87" fmla="*/ 1098205 h 3498714"/>
                  <a:gd name="connsiteX88" fmla="*/ 317058 w 6499257"/>
                  <a:gd name="connsiteY88" fmla="*/ 1092836 h 3498714"/>
                  <a:gd name="connsiteX89" fmla="*/ 263371 w 6499257"/>
                  <a:gd name="connsiteY89" fmla="*/ 1092836 h 3498714"/>
                  <a:gd name="connsiteX90" fmla="*/ 258001 w 6499257"/>
                  <a:gd name="connsiteY90" fmla="*/ 1098205 h 3498714"/>
                  <a:gd name="connsiteX91" fmla="*/ 258001 w 6499257"/>
                  <a:gd name="connsiteY91" fmla="*/ 1444446 h 3498714"/>
                  <a:gd name="connsiteX92" fmla="*/ 257700 w 6499257"/>
                  <a:gd name="connsiteY92" fmla="*/ 1444370 h 3498714"/>
                  <a:gd name="connsiteX93" fmla="*/ 257700 w 6499257"/>
                  <a:gd name="connsiteY93" fmla="*/ 1912573 h 3498714"/>
                  <a:gd name="connsiteX94" fmla="*/ 128850 w 6499257"/>
                  <a:gd name="connsiteY94" fmla="*/ 2041423 h 3498714"/>
                  <a:gd name="connsiteX95" fmla="*/ 0 w 6499257"/>
                  <a:gd name="connsiteY95" fmla="*/ 1912573 h 3498714"/>
                  <a:gd name="connsiteX96" fmla="*/ 0 w 6499257"/>
                  <a:gd name="connsiteY96" fmla="*/ 1101802 h 3498714"/>
                  <a:gd name="connsiteX97" fmla="*/ 0 w 6499257"/>
                  <a:gd name="connsiteY97" fmla="*/ 1003338 h 3498714"/>
                  <a:gd name="connsiteX98" fmla="*/ 0 w 6499257"/>
                  <a:gd name="connsiteY98" fmla="*/ 982486 h 3498714"/>
                  <a:gd name="connsiteX99" fmla="*/ 12733 w 6499257"/>
                  <a:gd name="connsiteY99" fmla="*/ 894663 h 3498714"/>
                  <a:gd name="connsiteX100" fmla="*/ 20539 w 6499257"/>
                  <a:gd name="connsiteY100" fmla="*/ 868773 h 3498714"/>
                  <a:gd name="connsiteX101" fmla="*/ 358791 w 6499257"/>
                  <a:gd name="connsiteY101" fmla="*/ 644545 h 3498714"/>
                  <a:gd name="connsiteX102" fmla="*/ 682782 w 6499257"/>
                  <a:gd name="connsiteY102" fmla="*/ 0 h 3498714"/>
                  <a:gd name="connsiteX103" fmla="*/ 966919 w 6499257"/>
                  <a:gd name="connsiteY103" fmla="*/ 284138 h 3498714"/>
                  <a:gd name="connsiteX104" fmla="*/ 682782 w 6499257"/>
                  <a:gd name="connsiteY104" fmla="*/ 568275 h 3498714"/>
                  <a:gd name="connsiteX105" fmla="*/ 398645 w 6499257"/>
                  <a:gd name="connsiteY105" fmla="*/ 284138 h 3498714"/>
                  <a:gd name="connsiteX106" fmla="*/ 682782 w 6499257"/>
                  <a:gd name="connsiteY106" fmla="*/ 0 h 3498714"/>
                  <a:gd name="connsiteX0" fmla="*/ 2979061 w 6499257"/>
                  <a:gd name="connsiteY0" fmla="*/ 2089512 h 3498714"/>
                  <a:gd name="connsiteX1" fmla="*/ 2671086 w 6499257"/>
                  <a:gd name="connsiteY1" fmla="*/ 2397487 h 3498714"/>
                  <a:gd name="connsiteX2" fmla="*/ 2671086 w 6499257"/>
                  <a:gd name="connsiteY2" fmla="*/ 2584811 h 3498714"/>
                  <a:gd name="connsiteX3" fmla="*/ 4083961 w 6499257"/>
                  <a:gd name="connsiteY3" fmla="*/ 2584811 h 3498714"/>
                  <a:gd name="connsiteX4" fmla="*/ 4083961 w 6499257"/>
                  <a:gd name="connsiteY4" fmla="*/ 2397487 h 3498714"/>
                  <a:gd name="connsiteX5" fmla="*/ 3775986 w 6499257"/>
                  <a:gd name="connsiteY5" fmla="*/ 2089512 h 3498714"/>
                  <a:gd name="connsiteX6" fmla="*/ 2979061 w 6499257"/>
                  <a:gd name="connsiteY6" fmla="*/ 2089512 h 3498714"/>
                  <a:gd name="connsiteX7" fmla="*/ 2251033 w 6499257"/>
                  <a:gd name="connsiteY7" fmla="*/ 2089512 h 3498714"/>
                  <a:gd name="connsiteX8" fmla="*/ 2070058 w 6499257"/>
                  <a:gd name="connsiteY8" fmla="*/ 2270487 h 3498714"/>
                  <a:gd name="connsiteX9" fmla="*/ 2251033 w 6499257"/>
                  <a:gd name="connsiteY9" fmla="*/ 2451462 h 3498714"/>
                  <a:gd name="connsiteX10" fmla="*/ 2432008 w 6499257"/>
                  <a:gd name="connsiteY10" fmla="*/ 2270487 h 3498714"/>
                  <a:gd name="connsiteX11" fmla="*/ 2251033 w 6499257"/>
                  <a:gd name="connsiteY11" fmla="*/ 2089512 h 3498714"/>
                  <a:gd name="connsiteX12" fmla="*/ 2651061 w 6499257"/>
                  <a:gd name="connsiteY12" fmla="*/ 1167548 h 3498714"/>
                  <a:gd name="connsiteX13" fmla="*/ 2392797 w 6499257"/>
                  <a:gd name="connsiteY13" fmla="*/ 1878907 h 3498714"/>
                  <a:gd name="connsiteX14" fmla="*/ 2478781 w 6499257"/>
                  <a:gd name="connsiteY14" fmla="*/ 1920808 h 3498714"/>
                  <a:gd name="connsiteX15" fmla="*/ 2842751 w 6499257"/>
                  <a:gd name="connsiteY15" fmla="*/ 1749356 h 3498714"/>
                  <a:gd name="connsiteX16" fmla="*/ 3912296 w 6499257"/>
                  <a:gd name="connsiteY16" fmla="*/ 1749356 h 3498714"/>
                  <a:gd name="connsiteX17" fmla="*/ 4277738 w 6499257"/>
                  <a:gd name="connsiteY17" fmla="*/ 1922593 h 3498714"/>
                  <a:gd name="connsiteX18" fmla="*/ 4370569 w 6499257"/>
                  <a:gd name="connsiteY18" fmla="*/ 1877441 h 3498714"/>
                  <a:gd name="connsiteX19" fmla="*/ 4112835 w 6499257"/>
                  <a:gd name="connsiteY19" fmla="*/ 1167548 h 3498714"/>
                  <a:gd name="connsiteX20" fmla="*/ 2651061 w 6499257"/>
                  <a:gd name="connsiteY20" fmla="*/ 1167548 h 3498714"/>
                  <a:gd name="connsiteX21" fmla="*/ 2534724 w 6499257"/>
                  <a:gd name="connsiteY21" fmla="*/ 982297 h 3498714"/>
                  <a:gd name="connsiteX22" fmla="*/ 4229172 w 6499257"/>
                  <a:gd name="connsiteY22" fmla="*/ 982297 h 3498714"/>
                  <a:gd name="connsiteX23" fmla="*/ 4546612 w 6499257"/>
                  <a:gd name="connsiteY23" fmla="*/ 1856643 h 3498714"/>
                  <a:gd name="connsiteX24" fmla="*/ 4936448 w 6499257"/>
                  <a:gd name="connsiteY24" fmla="*/ 2279217 h 3498714"/>
                  <a:gd name="connsiteX25" fmla="*/ 4802103 w 6499257"/>
                  <a:gd name="connsiteY25" fmla="*/ 2588456 h 3498714"/>
                  <a:gd name="connsiteX26" fmla="*/ 4904699 w 6499257"/>
                  <a:gd name="connsiteY26" fmla="*/ 2705462 h 3498714"/>
                  <a:gd name="connsiteX27" fmla="*/ 4904698 w 6499257"/>
                  <a:gd name="connsiteY27" fmla="*/ 2705462 h 3498714"/>
                  <a:gd name="connsiteX28" fmla="*/ 4784047 w 6499257"/>
                  <a:gd name="connsiteY28" fmla="*/ 2826113 h 3498714"/>
                  <a:gd name="connsiteX29" fmla="*/ 1970999 w 6499257"/>
                  <a:gd name="connsiteY29" fmla="*/ 2826112 h 3498714"/>
                  <a:gd name="connsiteX30" fmla="*/ 1850348 w 6499257"/>
                  <a:gd name="connsiteY30" fmla="*/ 2705462 h 3498714"/>
                  <a:gd name="connsiteX31" fmla="*/ 1956769 w 6499257"/>
                  <a:gd name="connsiteY31" fmla="*/ 2587684 h 3498714"/>
                  <a:gd name="connsiteX32" fmla="*/ 1823360 w 6499257"/>
                  <a:gd name="connsiteY32" fmla="*/ 2279217 h 3498714"/>
                  <a:gd name="connsiteX33" fmla="*/ 2217440 w 6499257"/>
                  <a:gd name="connsiteY33" fmla="*/ 1856216 h 3498714"/>
                  <a:gd name="connsiteX34" fmla="*/ 2534724 w 6499257"/>
                  <a:gd name="connsiteY34" fmla="*/ 982297 h 3498714"/>
                  <a:gd name="connsiteX35" fmla="*/ 358791 w 6499257"/>
                  <a:gd name="connsiteY35" fmla="*/ 644545 h 3498714"/>
                  <a:gd name="connsiteX36" fmla="*/ 1006774 w 6499257"/>
                  <a:gd name="connsiteY36" fmla="*/ 644545 h 3498714"/>
                  <a:gd name="connsiteX37" fmla="*/ 1542636 w 6499257"/>
                  <a:gd name="connsiteY37" fmla="*/ 1193969 h 3498714"/>
                  <a:gd name="connsiteX38" fmla="*/ 1929878 w 6499257"/>
                  <a:gd name="connsiteY38" fmla="*/ 1193970 h 3498714"/>
                  <a:gd name="connsiteX39" fmla="*/ 2070059 w 6499257"/>
                  <a:gd name="connsiteY39" fmla="*/ 1334152 h 3498714"/>
                  <a:gd name="connsiteX40" fmla="*/ 1929878 w 6499257"/>
                  <a:gd name="connsiteY40" fmla="*/ 1474333 h 3498714"/>
                  <a:gd name="connsiteX41" fmla="*/ 1520943 w 6499257"/>
                  <a:gd name="connsiteY41" fmla="*/ 1470388 h 3498714"/>
                  <a:gd name="connsiteX42" fmla="*/ 1332825 w 6499257"/>
                  <a:gd name="connsiteY42" fmla="*/ 1367201 h 3498714"/>
                  <a:gd name="connsiteX43" fmla="*/ 1106501 w 6499257"/>
                  <a:gd name="connsiteY43" fmla="*/ 1098289 h 3498714"/>
                  <a:gd name="connsiteX44" fmla="*/ 1101049 w 6499257"/>
                  <a:gd name="connsiteY44" fmla="*/ 1092836 h 3498714"/>
                  <a:gd name="connsiteX45" fmla="*/ 1046523 w 6499257"/>
                  <a:gd name="connsiteY45" fmla="*/ 1092836 h 3498714"/>
                  <a:gd name="connsiteX46" fmla="*/ 1041071 w 6499257"/>
                  <a:gd name="connsiteY46" fmla="*/ 1098289 h 3498714"/>
                  <a:gd name="connsiteX47" fmla="*/ 1042136 w 6499257"/>
                  <a:gd name="connsiteY47" fmla="*/ 1419754 h 3498714"/>
                  <a:gd name="connsiteX48" fmla="*/ 1042136 w 6499257"/>
                  <a:gd name="connsiteY48" fmla="*/ 3337652 h 3498714"/>
                  <a:gd name="connsiteX49" fmla="*/ 881075 w 6499257"/>
                  <a:gd name="connsiteY49" fmla="*/ 3498714 h 3498714"/>
                  <a:gd name="connsiteX50" fmla="*/ 720012 w 6499257"/>
                  <a:gd name="connsiteY50" fmla="*/ 3337652 h 3498714"/>
                  <a:gd name="connsiteX51" fmla="*/ 720012 w 6499257"/>
                  <a:gd name="connsiteY51" fmla="*/ 2125717 h 3498714"/>
                  <a:gd name="connsiteX52" fmla="*/ 718947 w 6499257"/>
                  <a:gd name="connsiteY52" fmla="*/ 2033194 h 3498714"/>
                  <a:gd name="connsiteX53" fmla="*/ 714162 w 6499257"/>
                  <a:gd name="connsiteY53" fmla="*/ 2028410 h 3498714"/>
                  <a:gd name="connsiteX54" fmla="*/ 654759 w 6499257"/>
                  <a:gd name="connsiteY54" fmla="*/ 2028410 h 3498714"/>
                  <a:gd name="connsiteX55" fmla="*/ 649974 w 6499257"/>
                  <a:gd name="connsiteY55" fmla="*/ 2033194 h 3498714"/>
                  <a:gd name="connsiteX56" fmla="*/ 649974 w 6499257"/>
                  <a:gd name="connsiteY56" fmla="*/ 2125717 h 3498714"/>
                  <a:gd name="connsiteX57" fmla="*/ 649574 w 6499257"/>
                  <a:gd name="connsiteY57" fmla="*/ 3337652 h 3498714"/>
                  <a:gd name="connsiteX58" fmla="*/ 488511 w 6499257"/>
                  <a:gd name="connsiteY58" fmla="*/ 3498714 h 3498714"/>
                  <a:gd name="connsiteX59" fmla="*/ 327450 w 6499257"/>
                  <a:gd name="connsiteY59" fmla="*/ 3337652 h 3498714"/>
                  <a:gd name="connsiteX60" fmla="*/ 327450 w 6499257"/>
                  <a:gd name="connsiteY60" fmla="*/ 1458216 h 3498714"/>
                  <a:gd name="connsiteX61" fmla="*/ 322427 w 6499257"/>
                  <a:gd name="connsiteY61" fmla="*/ 1098205 h 3498714"/>
                  <a:gd name="connsiteX62" fmla="*/ 317058 w 6499257"/>
                  <a:gd name="connsiteY62" fmla="*/ 1092836 h 3498714"/>
                  <a:gd name="connsiteX63" fmla="*/ 263371 w 6499257"/>
                  <a:gd name="connsiteY63" fmla="*/ 1092836 h 3498714"/>
                  <a:gd name="connsiteX64" fmla="*/ 258001 w 6499257"/>
                  <a:gd name="connsiteY64" fmla="*/ 1098205 h 3498714"/>
                  <a:gd name="connsiteX65" fmla="*/ 258001 w 6499257"/>
                  <a:gd name="connsiteY65" fmla="*/ 1444446 h 3498714"/>
                  <a:gd name="connsiteX66" fmla="*/ 257700 w 6499257"/>
                  <a:gd name="connsiteY66" fmla="*/ 1444370 h 3498714"/>
                  <a:gd name="connsiteX67" fmla="*/ 257700 w 6499257"/>
                  <a:gd name="connsiteY67" fmla="*/ 1912573 h 3498714"/>
                  <a:gd name="connsiteX68" fmla="*/ 128850 w 6499257"/>
                  <a:gd name="connsiteY68" fmla="*/ 2041423 h 3498714"/>
                  <a:gd name="connsiteX69" fmla="*/ 0 w 6499257"/>
                  <a:gd name="connsiteY69" fmla="*/ 1912573 h 3498714"/>
                  <a:gd name="connsiteX70" fmla="*/ 0 w 6499257"/>
                  <a:gd name="connsiteY70" fmla="*/ 1101802 h 3498714"/>
                  <a:gd name="connsiteX71" fmla="*/ 0 w 6499257"/>
                  <a:gd name="connsiteY71" fmla="*/ 1003338 h 3498714"/>
                  <a:gd name="connsiteX72" fmla="*/ 0 w 6499257"/>
                  <a:gd name="connsiteY72" fmla="*/ 982486 h 3498714"/>
                  <a:gd name="connsiteX73" fmla="*/ 12733 w 6499257"/>
                  <a:gd name="connsiteY73" fmla="*/ 894663 h 3498714"/>
                  <a:gd name="connsiteX74" fmla="*/ 20539 w 6499257"/>
                  <a:gd name="connsiteY74" fmla="*/ 868773 h 3498714"/>
                  <a:gd name="connsiteX75" fmla="*/ 358791 w 6499257"/>
                  <a:gd name="connsiteY75" fmla="*/ 644545 h 3498714"/>
                  <a:gd name="connsiteX76" fmla="*/ 682782 w 6499257"/>
                  <a:gd name="connsiteY76" fmla="*/ 0 h 3498714"/>
                  <a:gd name="connsiteX77" fmla="*/ 966919 w 6499257"/>
                  <a:gd name="connsiteY77" fmla="*/ 284138 h 3498714"/>
                  <a:gd name="connsiteX78" fmla="*/ 682782 w 6499257"/>
                  <a:gd name="connsiteY78" fmla="*/ 568275 h 3498714"/>
                  <a:gd name="connsiteX79" fmla="*/ 398645 w 6499257"/>
                  <a:gd name="connsiteY79" fmla="*/ 284138 h 3498714"/>
                  <a:gd name="connsiteX80" fmla="*/ 682782 w 6499257"/>
                  <a:gd name="connsiteY80" fmla="*/ 0 h 3498714"/>
                  <a:gd name="connsiteX81" fmla="*/ 4707054 w 6499257"/>
                  <a:gd name="connsiteY81" fmla="*/ 2902312 h 3498714"/>
                  <a:gd name="connsiteX82" fmla="*/ 4818179 w 6499257"/>
                  <a:gd name="connsiteY82" fmla="*/ 3013437 h 3498714"/>
                  <a:gd name="connsiteX83" fmla="*/ 4707054 w 6499257"/>
                  <a:gd name="connsiteY83" fmla="*/ 3124562 h 3498714"/>
                  <a:gd name="connsiteX84" fmla="*/ 4545125 w 6499257"/>
                  <a:gd name="connsiteY84" fmla="*/ 3124562 h 3498714"/>
                  <a:gd name="connsiteX85" fmla="*/ 4545125 w 6499257"/>
                  <a:gd name="connsiteY85" fmla="*/ 3361625 h 3498714"/>
                  <a:gd name="connsiteX86" fmla="*/ 4436113 w 6499257"/>
                  <a:gd name="connsiteY86" fmla="*/ 3470637 h 3498714"/>
                  <a:gd name="connsiteX87" fmla="*/ 4235039 w 6499257"/>
                  <a:gd name="connsiteY87" fmla="*/ 3470637 h 3498714"/>
                  <a:gd name="connsiteX88" fmla="*/ 4126027 w 6499257"/>
                  <a:gd name="connsiteY88" fmla="*/ 3361625 h 3498714"/>
                  <a:gd name="connsiteX89" fmla="*/ 4126027 w 6499257"/>
                  <a:gd name="connsiteY89" fmla="*/ 3124562 h 3498714"/>
                  <a:gd name="connsiteX90" fmla="*/ 2589325 w 6499257"/>
                  <a:gd name="connsiteY90" fmla="*/ 3124562 h 3498714"/>
                  <a:gd name="connsiteX91" fmla="*/ 2589325 w 6499257"/>
                  <a:gd name="connsiteY91" fmla="*/ 3361625 h 3498714"/>
                  <a:gd name="connsiteX92" fmla="*/ 2480313 w 6499257"/>
                  <a:gd name="connsiteY92" fmla="*/ 3470637 h 3498714"/>
                  <a:gd name="connsiteX93" fmla="*/ 2279239 w 6499257"/>
                  <a:gd name="connsiteY93" fmla="*/ 3470637 h 3498714"/>
                  <a:gd name="connsiteX94" fmla="*/ 2170227 w 6499257"/>
                  <a:gd name="connsiteY94" fmla="*/ 3361625 h 3498714"/>
                  <a:gd name="connsiteX95" fmla="*/ 2170227 w 6499257"/>
                  <a:gd name="connsiteY95" fmla="*/ 3124562 h 3498714"/>
                  <a:gd name="connsiteX96" fmla="*/ 2052754 w 6499257"/>
                  <a:gd name="connsiteY96" fmla="*/ 3124562 h 3498714"/>
                  <a:gd name="connsiteX97" fmla="*/ 1941629 w 6499257"/>
                  <a:gd name="connsiteY97" fmla="*/ 3013437 h 3498714"/>
                  <a:gd name="connsiteX98" fmla="*/ 2052754 w 6499257"/>
                  <a:gd name="connsiteY98" fmla="*/ 2902312 h 3498714"/>
                  <a:gd name="connsiteX99" fmla="*/ 4492583 w 6499257"/>
                  <a:gd name="connsiteY99" fmla="*/ 2089512 h 3498714"/>
                  <a:gd name="connsiteX100" fmla="*/ 4311608 w 6499257"/>
                  <a:gd name="connsiteY100" fmla="*/ 2270487 h 3498714"/>
                  <a:gd name="connsiteX101" fmla="*/ 4492583 w 6499257"/>
                  <a:gd name="connsiteY101" fmla="*/ 2451462 h 3498714"/>
                  <a:gd name="connsiteX102" fmla="*/ 5407618 w 6499257"/>
                  <a:gd name="connsiteY102" fmla="*/ 2468742 h 3498714"/>
                  <a:gd name="connsiteX103" fmla="*/ 6498753 w 6499257"/>
                  <a:gd name="connsiteY103" fmla="*/ 2404799 h 3498714"/>
                  <a:gd name="connsiteX104" fmla="*/ 5388995 w 6499257"/>
                  <a:gd name="connsiteY104" fmla="*/ 2075460 h 3498714"/>
                  <a:gd name="connsiteX0" fmla="*/ 2979061 w 6499257"/>
                  <a:gd name="connsiteY0" fmla="*/ 2089512 h 3498714"/>
                  <a:gd name="connsiteX1" fmla="*/ 2671086 w 6499257"/>
                  <a:gd name="connsiteY1" fmla="*/ 2397487 h 3498714"/>
                  <a:gd name="connsiteX2" fmla="*/ 2671086 w 6499257"/>
                  <a:gd name="connsiteY2" fmla="*/ 2584811 h 3498714"/>
                  <a:gd name="connsiteX3" fmla="*/ 4083961 w 6499257"/>
                  <a:gd name="connsiteY3" fmla="*/ 2584811 h 3498714"/>
                  <a:gd name="connsiteX4" fmla="*/ 4083961 w 6499257"/>
                  <a:gd name="connsiteY4" fmla="*/ 2397487 h 3498714"/>
                  <a:gd name="connsiteX5" fmla="*/ 3775986 w 6499257"/>
                  <a:gd name="connsiteY5" fmla="*/ 2089512 h 3498714"/>
                  <a:gd name="connsiteX6" fmla="*/ 2979061 w 6499257"/>
                  <a:gd name="connsiteY6" fmla="*/ 2089512 h 3498714"/>
                  <a:gd name="connsiteX7" fmla="*/ 2251033 w 6499257"/>
                  <a:gd name="connsiteY7" fmla="*/ 2089512 h 3498714"/>
                  <a:gd name="connsiteX8" fmla="*/ 2070058 w 6499257"/>
                  <a:gd name="connsiteY8" fmla="*/ 2270487 h 3498714"/>
                  <a:gd name="connsiteX9" fmla="*/ 2251033 w 6499257"/>
                  <a:gd name="connsiteY9" fmla="*/ 2451462 h 3498714"/>
                  <a:gd name="connsiteX10" fmla="*/ 2432008 w 6499257"/>
                  <a:gd name="connsiteY10" fmla="*/ 2270487 h 3498714"/>
                  <a:gd name="connsiteX11" fmla="*/ 2251033 w 6499257"/>
                  <a:gd name="connsiteY11" fmla="*/ 2089512 h 3498714"/>
                  <a:gd name="connsiteX12" fmla="*/ 2651061 w 6499257"/>
                  <a:gd name="connsiteY12" fmla="*/ 1167548 h 3498714"/>
                  <a:gd name="connsiteX13" fmla="*/ 2392797 w 6499257"/>
                  <a:gd name="connsiteY13" fmla="*/ 1878907 h 3498714"/>
                  <a:gd name="connsiteX14" fmla="*/ 2478781 w 6499257"/>
                  <a:gd name="connsiteY14" fmla="*/ 1920808 h 3498714"/>
                  <a:gd name="connsiteX15" fmla="*/ 2842751 w 6499257"/>
                  <a:gd name="connsiteY15" fmla="*/ 1749356 h 3498714"/>
                  <a:gd name="connsiteX16" fmla="*/ 4277738 w 6499257"/>
                  <a:gd name="connsiteY16" fmla="*/ 1922593 h 3498714"/>
                  <a:gd name="connsiteX17" fmla="*/ 4370569 w 6499257"/>
                  <a:gd name="connsiteY17" fmla="*/ 1877441 h 3498714"/>
                  <a:gd name="connsiteX18" fmla="*/ 4112835 w 6499257"/>
                  <a:gd name="connsiteY18" fmla="*/ 1167548 h 3498714"/>
                  <a:gd name="connsiteX19" fmla="*/ 2651061 w 6499257"/>
                  <a:gd name="connsiteY19" fmla="*/ 1167548 h 3498714"/>
                  <a:gd name="connsiteX20" fmla="*/ 2534724 w 6499257"/>
                  <a:gd name="connsiteY20" fmla="*/ 982297 h 3498714"/>
                  <a:gd name="connsiteX21" fmla="*/ 4229172 w 6499257"/>
                  <a:gd name="connsiteY21" fmla="*/ 982297 h 3498714"/>
                  <a:gd name="connsiteX22" fmla="*/ 4546612 w 6499257"/>
                  <a:gd name="connsiteY22" fmla="*/ 1856643 h 3498714"/>
                  <a:gd name="connsiteX23" fmla="*/ 4936448 w 6499257"/>
                  <a:gd name="connsiteY23" fmla="*/ 2279217 h 3498714"/>
                  <a:gd name="connsiteX24" fmla="*/ 4802103 w 6499257"/>
                  <a:gd name="connsiteY24" fmla="*/ 2588456 h 3498714"/>
                  <a:gd name="connsiteX25" fmla="*/ 4904699 w 6499257"/>
                  <a:gd name="connsiteY25" fmla="*/ 2705462 h 3498714"/>
                  <a:gd name="connsiteX26" fmla="*/ 4904698 w 6499257"/>
                  <a:gd name="connsiteY26" fmla="*/ 2705462 h 3498714"/>
                  <a:gd name="connsiteX27" fmla="*/ 4784047 w 6499257"/>
                  <a:gd name="connsiteY27" fmla="*/ 2826113 h 3498714"/>
                  <a:gd name="connsiteX28" fmla="*/ 1970999 w 6499257"/>
                  <a:gd name="connsiteY28" fmla="*/ 2826112 h 3498714"/>
                  <a:gd name="connsiteX29" fmla="*/ 1850348 w 6499257"/>
                  <a:gd name="connsiteY29" fmla="*/ 2705462 h 3498714"/>
                  <a:gd name="connsiteX30" fmla="*/ 1956769 w 6499257"/>
                  <a:gd name="connsiteY30" fmla="*/ 2587684 h 3498714"/>
                  <a:gd name="connsiteX31" fmla="*/ 1823360 w 6499257"/>
                  <a:gd name="connsiteY31" fmla="*/ 2279217 h 3498714"/>
                  <a:gd name="connsiteX32" fmla="*/ 2217440 w 6499257"/>
                  <a:gd name="connsiteY32" fmla="*/ 1856216 h 3498714"/>
                  <a:gd name="connsiteX33" fmla="*/ 2534724 w 6499257"/>
                  <a:gd name="connsiteY33" fmla="*/ 982297 h 3498714"/>
                  <a:gd name="connsiteX34" fmla="*/ 358791 w 6499257"/>
                  <a:gd name="connsiteY34" fmla="*/ 644545 h 3498714"/>
                  <a:gd name="connsiteX35" fmla="*/ 1006774 w 6499257"/>
                  <a:gd name="connsiteY35" fmla="*/ 644545 h 3498714"/>
                  <a:gd name="connsiteX36" fmla="*/ 1542636 w 6499257"/>
                  <a:gd name="connsiteY36" fmla="*/ 1193969 h 3498714"/>
                  <a:gd name="connsiteX37" fmla="*/ 1929878 w 6499257"/>
                  <a:gd name="connsiteY37" fmla="*/ 1193970 h 3498714"/>
                  <a:gd name="connsiteX38" fmla="*/ 2070059 w 6499257"/>
                  <a:gd name="connsiteY38" fmla="*/ 1334152 h 3498714"/>
                  <a:gd name="connsiteX39" fmla="*/ 1929878 w 6499257"/>
                  <a:gd name="connsiteY39" fmla="*/ 1474333 h 3498714"/>
                  <a:gd name="connsiteX40" fmla="*/ 1520943 w 6499257"/>
                  <a:gd name="connsiteY40" fmla="*/ 1470388 h 3498714"/>
                  <a:gd name="connsiteX41" fmla="*/ 1332825 w 6499257"/>
                  <a:gd name="connsiteY41" fmla="*/ 1367201 h 3498714"/>
                  <a:gd name="connsiteX42" fmla="*/ 1106501 w 6499257"/>
                  <a:gd name="connsiteY42" fmla="*/ 1098289 h 3498714"/>
                  <a:gd name="connsiteX43" fmla="*/ 1101049 w 6499257"/>
                  <a:gd name="connsiteY43" fmla="*/ 1092836 h 3498714"/>
                  <a:gd name="connsiteX44" fmla="*/ 1046523 w 6499257"/>
                  <a:gd name="connsiteY44" fmla="*/ 1092836 h 3498714"/>
                  <a:gd name="connsiteX45" fmla="*/ 1041071 w 6499257"/>
                  <a:gd name="connsiteY45" fmla="*/ 1098289 h 3498714"/>
                  <a:gd name="connsiteX46" fmla="*/ 1042136 w 6499257"/>
                  <a:gd name="connsiteY46" fmla="*/ 1419754 h 3498714"/>
                  <a:gd name="connsiteX47" fmla="*/ 1042136 w 6499257"/>
                  <a:gd name="connsiteY47" fmla="*/ 3337652 h 3498714"/>
                  <a:gd name="connsiteX48" fmla="*/ 881075 w 6499257"/>
                  <a:gd name="connsiteY48" fmla="*/ 3498714 h 3498714"/>
                  <a:gd name="connsiteX49" fmla="*/ 720012 w 6499257"/>
                  <a:gd name="connsiteY49" fmla="*/ 3337652 h 3498714"/>
                  <a:gd name="connsiteX50" fmla="*/ 720012 w 6499257"/>
                  <a:gd name="connsiteY50" fmla="*/ 2125717 h 3498714"/>
                  <a:gd name="connsiteX51" fmla="*/ 718947 w 6499257"/>
                  <a:gd name="connsiteY51" fmla="*/ 2033194 h 3498714"/>
                  <a:gd name="connsiteX52" fmla="*/ 714162 w 6499257"/>
                  <a:gd name="connsiteY52" fmla="*/ 2028410 h 3498714"/>
                  <a:gd name="connsiteX53" fmla="*/ 654759 w 6499257"/>
                  <a:gd name="connsiteY53" fmla="*/ 2028410 h 3498714"/>
                  <a:gd name="connsiteX54" fmla="*/ 649974 w 6499257"/>
                  <a:gd name="connsiteY54" fmla="*/ 2033194 h 3498714"/>
                  <a:gd name="connsiteX55" fmla="*/ 649974 w 6499257"/>
                  <a:gd name="connsiteY55" fmla="*/ 2125717 h 3498714"/>
                  <a:gd name="connsiteX56" fmla="*/ 649574 w 6499257"/>
                  <a:gd name="connsiteY56" fmla="*/ 3337652 h 3498714"/>
                  <a:gd name="connsiteX57" fmla="*/ 488511 w 6499257"/>
                  <a:gd name="connsiteY57" fmla="*/ 3498714 h 3498714"/>
                  <a:gd name="connsiteX58" fmla="*/ 327450 w 6499257"/>
                  <a:gd name="connsiteY58" fmla="*/ 3337652 h 3498714"/>
                  <a:gd name="connsiteX59" fmla="*/ 327450 w 6499257"/>
                  <a:gd name="connsiteY59" fmla="*/ 1458216 h 3498714"/>
                  <a:gd name="connsiteX60" fmla="*/ 322427 w 6499257"/>
                  <a:gd name="connsiteY60" fmla="*/ 1098205 h 3498714"/>
                  <a:gd name="connsiteX61" fmla="*/ 317058 w 6499257"/>
                  <a:gd name="connsiteY61" fmla="*/ 1092836 h 3498714"/>
                  <a:gd name="connsiteX62" fmla="*/ 263371 w 6499257"/>
                  <a:gd name="connsiteY62" fmla="*/ 1092836 h 3498714"/>
                  <a:gd name="connsiteX63" fmla="*/ 258001 w 6499257"/>
                  <a:gd name="connsiteY63" fmla="*/ 1098205 h 3498714"/>
                  <a:gd name="connsiteX64" fmla="*/ 258001 w 6499257"/>
                  <a:gd name="connsiteY64" fmla="*/ 1444446 h 3498714"/>
                  <a:gd name="connsiteX65" fmla="*/ 257700 w 6499257"/>
                  <a:gd name="connsiteY65" fmla="*/ 1444370 h 3498714"/>
                  <a:gd name="connsiteX66" fmla="*/ 257700 w 6499257"/>
                  <a:gd name="connsiteY66" fmla="*/ 1912573 h 3498714"/>
                  <a:gd name="connsiteX67" fmla="*/ 128850 w 6499257"/>
                  <a:gd name="connsiteY67" fmla="*/ 2041423 h 3498714"/>
                  <a:gd name="connsiteX68" fmla="*/ 0 w 6499257"/>
                  <a:gd name="connsiteY68" fmla="*/ 1912573 h 3498714"/>
                  <a:gd name="connsiteX69" fmla="*/ 0 w 6499257"/>
                  <a:gd name="connsiteY69" fmla="*/ 1101802 h 3498714"/>
                  <a:gd name="connsiteX70" fmla="*/ 0 w 6499257"/>
                  <a:gd name="connsiteY70" fmla="*/ 1003338 h 3498714"/>
                  <a:gd name="connsiteX71" fmla="*/ 0 w 6499257"/>
                  <a:gd name="connsiteY71" fmla="*/ 982486 h 3498714"/>
                  <a:gd name="connsiteX72" fmla="*/ 12733 w 6499257"/>
                  <a:gd name="connsiteY72" fmla="*/ 894663 h 3498714"/>
                  <a:gd name="connsiteX73" fmla="*/ 20539 w 6499257"/>
                  <a:gd name="connsiteY73" fmla="*/ 868773 h 3498714"/>
                  <a:gd name="connsiteX74" fmla="*/ 358791 w 6499257"/>
                  <a:gd name="connsiteY74" fmla="*/ 644545 h 3498714"/>
                  <a:gd name="connsiteX75" fmla="*/ 682782 w 6499257"/>
                  <a:gd name="connsiteY75" fmla="*/ 0 h 3498714"/>
                  <a:gd name="connsiteX76" fmla="*/ 966919 w 6499257"/>
                  <a:gd name="connsiteY76" fmla="*/ 284138 h 3498714"/>
                  <a:gd name="connsiteX77" fmla="*/ 682782 w 6499257"/>
                  <a:gd name="connsiteY77" fmla="*/ 568275 h 3498714"/>
                  <a:gd name="connsiteX78" fmla="*/ 398645 w 6499257"/>
                  <a:gd name="connsiteY78" fmla="*/ 284138 h 3498714"/>
                  <a:gd name="connsiteX79" fmla="*/ 682782 w 6499257"/>
                  <a:gd name="connsiteY79" fmla="*/ 0 h 3498714"/>
                  <a:gd name="connsiteX80" fmla="*/ 4707054 w 6499257"/>
                  <a:gd name="connsiteY80" fmla="*/ 2902312 h 3498714"/>
                  <a:gd name="connsiteX81" fmla="*/ 4818179 w 6499257"/>
                  <a:gd name="connsiteY81" fmla="*/ 3013437 h 3498714"/>
                  <a:gd name="connsiteX82" fmla="*/ 4707054 w 6499257"/>
                  <a:gd name="connsiteY82" fmla="*/ 3124562 h 3498714"/>
                  <a:gd name="connsiteX83" fmla="*/ 4545125 w 6499257"/>
                  <a:gd name="connsiteY83" fmla="*/ 3124562 h 3498714"/>
                  <a:gd name="connsiteX84" fmla="*/ 4545125 w 6499257"/>
                  <a:gd name="connsiteY84" fmla="*/ 3361625 h 3498714"/>
                  <a:gd name="connsiteX85" fmla="*/ 4436113 w 6499257"/>
                  <a:gd name="connsiteY85" fmla="*/ 3470637 h 3498714"/>
                  <a:gd name="connsiteX86" fmla="*/ 4235039 w 6499257"/>
                  <a:gd name="connsiteY86" fmla="*/ 3470637 h 3498714"/>
                  <a:gd name="connsiteX87" fmla="*/ 4126027 w 6499257"/>
                  <a:gd name="connsiteY87" fmla="*/ 3361625 h 3498714"/>
                  <a:gd name="connsiteX88" fmla="*/ 4126027 w 6499257"/>
                  <a:gd name="connsiteY88" fmla="*/ 3124562 h 3498714"/>
                  <a:gd name="connsiteX89" fmla="*/ 2589325 w 6499257"/>
                  <a:gd name="connsiteY89" fmla="*/ 3124562 h 3498714"/>
                  <a:gd name="connsiteX90" fmla="*/ 2589325 w 6499257"/>
                  <a:gd name="connsiteY90" fmla="*/ 3361625 h 3498714"/>
                  <a:gd name="connsiteX91" fmla="*/ 2480313 w 6499257"/>
                  <a:gd name="connsiteY91" fmla="*/ 3470637 h 3498714"/>
                  <a:gd name="connsiteX92" fmla="*/ 2279239 w 6499257"/>
                  <a:gd name="connsiteY92" fmla="*/ 3470637 h 3498714"/>
                  <a:gd name="connsiteX93" fmla="*/ 2170227 w 6499257"/>
                  <a:gd name="connsiteY93" fmla="*/ 3361625 h 3498714"/>
                  <a:gd name="connsiteX94" fmla="*/ 2170227 w 6499257"/>
                  <a:gd name="connsiteY94" fmla="*/ 3124562 h 3498714"/>
                  <a:gd name="connsiteX95" fmla="*/ 2052754 w 6499257"/>
                  <a:gd name="connsiteY95" fmla="*/ 3124562 h 3498714"/>
                  <a:gd name="connsiteX96" fmla="*/ 1941629 w 6499257"/>
                  <a:gd name="connsiteY96" fmla="*/ 3013437 h 3498714"/>
                  <a:gd name="connsiteX97" fmla="*/ 2052754 w 6499257"/>
                  <a:gd name="connsiteY97" fmla="*/ 2902312 h 3498714"/>
                  <a:gd name="connsiteX98" fmla="*/ 682782 w 6499257"/>
                  <a:gd name="connsiteY98" fmla="*/ 0 h 3498714"/>
                  <a:gd name="connsiteX99" fmla="*/ 4492583 w 6499257"/>
                  <a:gd name="connsiteY99" fmla="*/ 2089512 h 3498714"/>
                  <a:gd name="connsiteX100" fmla="*/ 4311608 w 6499257"/>
                  <a:gd name="connsiteY100" fmla="*/ 2270487 h 3498714"/>
                  <a:gd name="connsiteX101" fmla="*/ 4492583 w 6499257"/>
                  <a:gd name="connsiteY101" fmla="*/ 2451462 h 3498714"/>
                  <a:gd name="connsiteX102" fmla="*/ 5407618 w 6499257"/>
                  <a:gd name="connsiteY102" fmla="*/ 2468742 h 3498714"/>
                  <a:gd name="connsiteX103" fmla="*/ 6498753 w 6499257"/>
                  <a:gd name="connsiteY103" fmla="*/ 2404799 h 3498714"/>
                  <a:gd name="connsiteX104" fmla="*/ 5388995 w 6499257"/>
                  <a:gd name="connsiteY104" fmla="*/ 2075460 h 3498714"/>
                  <a:gd name="connsiteX0" fmla="*/ 2979061 w 6499257"/>
                  <a:gd name="connsiteY0" fmla="*/ 2089512 h 3498714"/>
                  <a:gd name="connsiteX1" fmla="*/ 2671086 w 6499257"/>
                  <a:gd name="connsiteY1" fmla="*/ 2397487 h 3498714"/>
                  <a:gd name="connsiteX2" fmla="*/ 2671086 w 6499257"/>
                  <a:gd name="connsiteY2" fmla="*/ 2584811 h 3498714"/>
                  <a:gd name="connsiteX3" fmla="*/ 4083961 w 6499257"/>
                  <a:gd name="connsiteY3" fmla="*/ 2584811 h 3498714"/>
                  <a:gd name="connsiteX4" fmla="*/ 4083961 w 6499257"/>
                  <a:gd name="connsiteY4" fmla="*/ 2397487 h 3498714"/>
                  <a:gd name="connsiteX5" fmla="*/ 3775986 w 6499257"/>
                  <a:gd name="connsiteY5" fmla="*/ 2089512 h 3498714"/>
                  <a:gd name="connsiteX6" fmla="*/ 2979061 w 6499257"/>
                  <a:gd name="connsiteY6" fmla="*/ 2089512 h 3498714"/>
                  <a:gd name="connsiteX7" fmla="*/ 2251033 w 6499257"/>
                  <a:gd name="connsiteY7" fmla="*/ 2089512 h 3498714"/>
                  <a:gd name="connsiteX8" fmla="*/ 2070058 w 6499257"/>
                  <a:gd name="connsiteY8" fmla="*/ 2270487 h 3498714"/>
                  <a:gd name="connsiteX9" fmla="*/ 2251033 w 6499257"/>
                  <a:gd name="connsiteY9" fmla="*/ 2451462 h 3498714"/>
                  <a:gd name="connsiteX10" fmla="*/ 2432008 w 6499257"/>
                  <a:gd name="connsiteY10" fmla="*/ 2270487 h 3498714"/>
                  <a:gd name="connsiteX11" fmla="*/ 2251033 w 6499257"/>
                  <a:gd name="connsiteY11" fmla="*/ 2089512 h 3498714"/>
                  <a:gd name="connsiteX12" fmla="*/ 2651061 w 6499257"/>
                  <a:gd name="connsiteY12" fmla="*/ 1167548 h 3498714"/>
                  <a:gd name="connsiteX13" fmla="*/ 2392797 w 6499257"/>
                  <a:gd name="connsiteY13" fmla="*/ 1878907 h 3498714"/>
                  <a:gd name="connsiteX14" fmla="*/ 2478781 w 6499257"/>
                  <a:gd name="connsiteY14" fmla="*/ 1920808 h 3498714"/>
                  <a:gd name="connsiteX15" fmla="*/ 2842751 w 6499257"/>
                  <a:gd name="connsiteY15" fmla="*/ 1749356 h 3498714"/>
                  <a:gd name="connsiteX16" fmla="*/ 4277738 w 6499257"/>
                  <a:gd name="connsiteY16" fmla="*/ 1922593 h 3498714"/>
                  <a:gd name="connsiteX17" fmla="*/ 4370569 w 6499257"/>
                  <a:gd name="connsiteY17" fmla="*/ 1877441 h 3498714"/>
                  <a:gd name="connsiteX18" fmla="*/ 4112835 w 6499257"/>
                  <a:gd name="connsiteY18" fmla="*/ 1167548 h 3498714"/>
                  <a:gd name="connsiteX19" fmla="*/ 2651061 w 6499257"/>
                  <a:gd name="connsiteY19" fmla="*/ 1167548 h 3498714"/>
                  <a:gd name="connsiteX20" fmla="*/ 2534724 w 6499257"/>
                  <a:gd name="connsiteY20" fmla="*/ 982297 h 3498714"/>
                  <a:gd name="connsiteX21" fmla="*/ 4229172 w 6499257"/>
                  <a:gd name="connsiteY21" fmla="*/ 982297 h 3498714"/>
                  <a:gd name="connsiteX22" fmla="*/ 4546612 w 6499257"/>
                  <a:gd name="connsiteY22" fmla="*/ 1856643 h 3498714"/>
                  <a:gd name="connsiteX23" fmla="*/ 4936448 w 6499257"/>
                  <a:gd name="connsiteY23" fmla="*/ 2279217 h 3498714"/>
                  <a:gd name="connsiteX24" fmla="*/ 4802103 w 6499257"/>
                  <a:gd name="connsiteY24" fmla="*/ 2588456 h 3498714"/>
                  <a:gd name="connsiteX25" fmla="*/ 4904699 w 6499257"/>
                  <a:gd name="connsiteY25" fmla="*/ 2705462 h 3498714"/>
                  <a:gd name="connsiteX26" fmla="*/ 4904698 w 6499257"/>
                  <a:gd name="connsiteY26" fmla="*/ 2705462 h 3498714"/>
                  <a:gd name="connsiteX27" fmla="*/ 4784047 w 6499257"/>
                  <a:gd name="connsiteY27" fmla="*/ 2826113 h 3498714"/>
                  <a:gd name="connsiteX28" fmla="*/ 1970999 w 6499257"/>
                  <a:gd name="connsiteY28" fmla="*/ 2826112 h 3498714"/>
                  <a:gd name="connsiteX29" fmla="*/ 1850348 w 6499257"/>
                  <a:gd name="connsiteY29" fmla="*/ 2705462 h 3498714"/>
                  <a:gd name="connsiteX30" fmla="*/ 1956769 w 6499257"/>
                  <a:gd name="connsiteY30" fmla="*/ 2587684 h 3498714"/>
                  <a:gd name="connsiteX31" fmla="*/ 1823360 w 6499257"/>
                  <a:gd name="connsiteY31" fmla="*/ 2279217 h 3498714"/>
                  <a:gd name="connsiteX32" fmla="*/ 2217440 w 6499257"/>
                  <a:gd name="connsiteY32" fmla="*/ 1856216 h 3498714"/>
                  <a:gd name="connsiteX33" fmla="*/ 2534724 w 6499257"/>
                  <a:gd name="connsiteY33" fmla="*/ 982297 h 3498714"/>
                  <a:gd name="connsiteX34" fmla="*/ 358791 w 6499257"/>
                  <a:gd name="connsiteY34" fmla="*/ 644545 h 3498714"/>
                  <a:gd name="connsiteX35" fmla="*/ 1006774 w 6499257"/>
                  <a:gd name="connsiteY35" fmla="*/ 644545 h 3498714"/>
                  <a:gd name="connsiteX36" fmla="*/ 1542636 w 6499257"/>
                  <a:gd name="connsiteY36" fmla="*/ 1193969 h 3498714"/>
                  <a:gd name="connsiteX37" fmla="*/ 1929878 w 6499257"/>
                  <a:gd name="connsiteY37" fmla="*/ 1193970 h 3498714"/>
                  <a:gd name="connsiteX38" fmla="*/ 2070059 w 6499257"/>
                  <a:gd name="connsiteY38" fmla="*/ 1334152 h 3498714"/>
                  <a:gd name="connsiteX39" fmla="*/ 1929878 w 6499257"/>
                  <a:gd name="connsiteY39" fmla="*/ 1474333 h 3498714"/>
                  <a:gd name="connsiteX40" fmla="*/ 1520943 w 6499257"/>
                  <a:gd name="connsiteY40" fmla="*/ 1470388 h 3498714"/>
                  <a:gd name="connsiteX41" fmla="*/ 1332825 w 6499257"/>
                  <a:gd name="connsiteY41" fmla="*/ 1367201 h 3498714"/>
                  <a:gd name="connsiteX42" fmla="*/ 1106501 w 6499257"/>
                  <a:gd name="connsiteY42" fmla="*/ 1098289 h 3498714"/>
                  <a:gd name="connsiteX43" fmla="*/ 1101049 w 6499257"/>
                  <a:gd name="connsiteY43" fmla="*/ 1092836 h 3498714"/>
                  <a:gd name="connsiteX44" fmla="*/ 1046523 w 6499257"/>
                  <a:gd name="connsiteY44" fmla="*/ 1092836 h 3498714"/>
                  <a:gd name="connsiteX45" fmla="*/ 1041071 w 6499257"/>
                  <a:gd name="connsiteY45" fmla="*/ 1098289 h 3498714"/>
                  <a:gd name="connsiteX46" fmla="*/ 1042136 w 6499257"/>
                  <a:gd name="connsiteY46" fmla="*/ 1419754 h 3498714"/>
                  <a:gd name="connsiteX47" fmla="*/ 1042136 w 6499257"/>
                  <a:gd name="connsiteY47" fmla="*/ 3337652 h 3498714"/>
                  <a:gd name="connsiteX48" fmla="*/ 881075 w 6499257"/>
                  <a:gd name="connsiteY48" fmla="*/ 3498714 h 3498714"/>
                  <a:gd name="connsiteX49" fmla="*/ 720012 w 6499257"/>
                  <a:gd name="connsiteY49" fmla="*/ 3337652 h 3498714"/>
                  <a:gd name="connsiteX50" fmla="*/ 720012 w 6499257"/>
                  <a:gd name="connsiteY50" fmla="*/ 2125717 h 3498714"/>
                  <a:gd name="connsiteX51" fmla="*/ 718947 w 6499257"/>
                  <a:gd name="connsiteY51" fmla="*/ 2033194 h 3498714"/>
                  <a:gd name="connsiteX52" fmla="*/ 714162 w 6499257"/>
                  <a:gd name="connsiteY52" fmla="*/ 2028410 h 3498714"/>
                  <a:gd name="connsiteX53" fmla="*/ 654759 w 6499257"/>
                  <a:gd name="connsiteY53" fmla="*/ 2028410 h 3498714"/>
                  <a:gd name="connsiteX54" fmla="*/ 649974 w 6499257"/>
                  <a:gd name="connsiteY54" fmla="*/ 2033194 h 3498714"/>
                  <a:gd name="connsiteX55" fmla="*/ 649974 w 6499257"/>
                  <a:gd name="connsiteY55" fmla="*/ 2125717 h 3498714"/>
                  <a:gd name="connsiteX56" fmla="*/ 649574 w 6499257"/>
                  <a:gd name="connsiteY56" fmla="*/ 3337652 h 3498714"/>
                  <a:gd name="connsiteX57" fmla="*/ 488511 w 6499257"/>
                  <a:gd name="connsiteY57" fmla="*/ 3498714 h 3498714"/>
                  <a:gd name="connsiteX58" fmla="*/ 327450 w 6499257"/>
                  <a:gd name="connsiteY58" fmla="*/ 3337652 h 3498714"/>
                  <a:gd name="connsiteX59" fmla="*/ 327450 w 6499257"/>
                  <a:gd name="connsiteY59" fmla="*/ 1458216 h 3498714"/>
                  <a:gd name="connsiteX60" fmla="*/ 322427 w 6499257"/>
                  <a:gd name="connsiteY60" fmla="*/ 1098205 h 3498714"/>
                  <a:gd name="connsiteX61" fmla="*/ 317058 w 6499257"/>
                  <a:gd name="connsiteY61" fmla="*/ 1092836 h 3498714"/>
                  <a:gd name="connsiteX62" fmla="*/ 263371 w 6499257"/>
                  <a:gd name="connsiteY62" fmla="*/ 1092836 h 3498714"/>
                  <a:gd name="connsiteX63" fmla="*/ 258001 w 6499257"/>
                  <a:gd name="connsiteY63" fmla="*/ 1098205 h 3498714"/>
                  <a:gd name="connsiteX64" fmla="*/ 258001 w 6499257"/>
                  <a:gd name="connsiteY64" fmla="*/ 1444446 h 3498714"/>
                  <a:gd name="connsiteX65" fmla="*/ 257700 w 6499257"/>
                  <a:gd name="connsiteY65" fmla="*/ 1444370 h 3498714"/>
                  <a:gd name="connsiteX66" fmla="*/ 257700 w 6499257"/>
                  <a:gd name="connsiteY66" fmla="*/ 1912573 h 3498714"/>
                  <a:gd name="connsiteX67" fmla="*/ 128850 w 6499257"/>
                  <a:gd name="connsiteY67" fmla="*/ 2041423 h 3498714"/>
                  <a:gd name="connsiteX68" fmla="*/ 0 w 6499257"/>
                  <a:gd name="connsiteY68" fmla="*/ 1912573 h 3498714"/>
                  <a:gd name="connsiteX69" fmla="*/ 0 w 6499257"/>
                  <a:gd name="connsiteY69" fmla="*/ 1101802 h 3498714"/>
                  <a:gd name="connsiteX70" fmla="*/ 0 w 6499257"/>
                  <a:gd name="connsiteY70" fmla="*/ 1003338 h 3498714"/>
                  <a:gd name="connsiteX71" fmla="*/ 0 w 6499257"/>
                  <a:gd name="connsiteY71" fmla="*/ 982486 h 3498714"/>
                  <a:gd name="connsiteX72" fmla="*/ 12733 w 6499257"/>
                  <a:gd name="connsiteY72" fmla="*/ 894663 h 3498714"/>
                  <a:gd name="connsiteX73" fmla="*/ 20539 w 6499257"/>
                  <a:gd name="connsiteY73" fmla="*/ 868773 h 3498714"/>
                  <a:gd name="connsiteX74" fmla="*/ 358791 w 6499257"/>
                  <a:gd name="connsiteY74" fmla="*/ 644545 h 3498714"/>
                  <a:gd name="connsiteX75" fmla="*/ 682782 w 6499257"/>
                  <a:gd name="connsiteY75" fmla="*/ 0 h 3498714"/>
                  <a:gd name="connsiteX76" fmla="*/ 966919 w 6499257"/>
                  <a:gd name="connsiteY76" fmla="*/ 284138 h 3498714"/>
                  <a:gd name="connsiteX77" fmla="*/ 682782 w 6499257"/>
                  <a:gd name="connsiteY77" fmla="*/ 568275 h 3498714"/>
                  <a:gd name="connsiteX78" fmla="*/ 398645 w 6499257"/>
                  <a:gd name="connsiteY78" fmla="*/ 284138 h 3498714"/>
                  <a:gd name="connsiteX79" fmla="*/ 682782 w 6499257"/>
                  <a:gd name="connsiteY79" fmla="*/ 0 h 3498714"/>
                  <a:gd name="connsiteX80" fmla="*/ 4707054 w 6499257"/>
                  <a:gd name="connsiteY80" fmla="*/ 2902312 h 3498714"/>
                  <a:gd name="connsiteX81" fmla="*/ 4818179 w 6499257"/>
                  <a:gd name="connsiteY81" fmla="*/ 3013437 h 3498714"/>
                  <a:gd name="connsiteX82" fmla="*/ 4707054 w 6499257"/>
                  <a:gd name="connsiteY82" fmla="*/ 3124562 h 3498714"/>
                  <a:gd name="connsiteX83" fmla="*/ 4545125 w 6499257"/>
                  <a:gd name="connsiteY83" fmla="*/ 3124562 h 3498714"/>
                  <a:gd name="connsiteX84" fmla="*/ 4545125 w 6499257"/>
                  <a:gd name="connsiteY84" fmla="*/ 3361625 h 3498714"/>
                  <a:gd name="connsiteX85" fmla="*/ 4436113 w 6499257"/>
                  <a:gd name="connsiteY85" fmla="*/ 3470637 h 3498714"/>
                  <a:gd name="connsiteX86" fmla="*/ 4235039 w 6499257"/>
                  <a:gd name="connsiteY86" fmla="*/ 3470637 h 3498714"/>
                  <a:gd name="connsiteX87" fmla="*/ 4126027 w 6499257"/>
                  <a:gd name="connsiteY87" fmla="*/ 3361625 h 3498714"/>
                  <a:gd name="connsiteX88" fmla="*/ 4126027 w 6499257"/>
                  <a:gd name="connsiteY88" fmla="*/ 3124562 h 3498714"/>
                  <a:gd name="connsiteX89" fmla="*/ 2589325 w 6499257"/>
                  <a:gd name="connsiteY89" fmla="*/ 3124562 h 3498714"/>
                  <a:gd name="connsiteX90" fmla="*/ 2589325 w 6499257"/>
                  <a:gd name="connsiteY90" fmla="*/ 3361625 h 3498714"/>
                  <a:gd name="connsiteX91" fmla="*/ 2480313 w 6499257"/>
                  <a:gd name="connsiteY91" fmla="*/ 3470637 h 3498714"/>
                  <a:gd name="connsiteX92" fmla="*/ 2279239 w 6499257"/>
                  <a:gd name="connsiteY92" fmla="*/ 3470637 h 3498714"/>
                  <a:gd name="connsiteX93" fmla="*/ 2170227 w 6499257"/>
                  <a:gd name="connsiteY93" fmla="*/ 3361625 h 3498714"/>
                  <a:gd name="connsiteX94" fmla="*/ 2170227 w 6499257"/>
                  <a:gd name="connsiteY94" fmla="*/ 3124562 h 3498714"/>
                  <a:gd name="connsiteX95" fmla="*/ 2052754 w 6499257"/>
                  <a:gd name="connsiteY95" fmla="*/ 3124562 h 3498714"/>
                  <a:gd name="connsiteX96" fmla="*/ 1941629 w 6499257"/>
                  <a:gd name="connsiteY96" fmla="*/ 3013437 h 3498714"/>
                  <a:gd name="connsiteX97" fmla="*/ 2052754 w 6499257"/>
                  <a:gd name="connsiteY97" fmla="*/ 2902312 h 3498714"/>
                  <a:gd name="connsiteX98" fmla="*/ 682782 w 6499257"/>
                  <a:gd name="connsiteY98" fmla="*/ 0 h 3498714"/>
                  <a:gd name="connsiteX99" fmla="*/ 4492583 w 6499257"/>
                  <a:gd name="connsiteY99" fmla="*/ 2089512 h 3498714"/>
                  <a:gd name="connsiteX100" fmla="*/ 4311608 w 6499257"/>
                  <a:gd name="connsiteY100" fmla="*/ 2270487 h 3498714"/>
                  <a:gd name="connsiteX101" fmla="*/ 4492583 w 6499257"/>
                  <a:gd name="connsiteY101" fmla="*/ 2451462 h 3498714"/>
                  <a:gd name="connsiteX102" fmla="*/ 5407618 w 6499257"/>
                  <a:gd name="connsiteY102" fmla="*/ 2468742 h 3498714"/>
                  <a:gd name="connsiteX103" fmla="*/ 6498753 w 6499257"/>
                  <a:gd name="connsiteY103" fmla="*/ 2404799 h 3498714"/>
                  <a:gd name="connsiteX104" fmla="*/ 5388995 w 6499257"/>
                  <a:gd name="connsiteY104" fmla="*/ 2075460 h 3498714"/>
                  <a:gd name="connsiteX0" fmla="*/ 2979061 w 6499257"/>
                  <a:gd name="connsiteY0" fmla="*/ 2089512 h 3498714"/>
                  <a:gd name="connsiteX1" fmla="*/ 2671086 w 6499257"/>
                  <a:gd name="connsiteY1" fmla="*/ 2397487 h 3498714"/>
                  <a:gd name="connsiteX2" fmla="*/ 2671086 w 6499257"/>
                  <a:gd name="connsiteY2" fmla="*/ 2584811 h 3498714"/>
                  <a:gd name="connsiteX3" fmla="*/ 4083961 w 6499257"/>
                  <a:gd name="connsiteY3" fmla="*/ 2584811 h 3498714"/>
                  <a:gd name="connsiteX4" fmla="*/ 4083961 w 6499257"/>
                  <a:gd name="connsiteY4" fmla="*/ 2397487 h 3498714"/>
                  <a:gd name="connsiteX5" fmla="*/ 3775986 w 6499257"/>
                  <a:gd name="connsiteY5" fmla="*/ 2089512 h 3498714"/>
                  <a:gd name="connsiteX6" fmla="*/ 2979061 w 6499257"/>
                  <a:gd name="connsiteY6" fmla="*/ 2089512 h 3498714"/>
                  <a:gd name="connsiteX7" fmla="*/ 2251033 w 6499257"/>
                  <a:gd name="connsiteY7" fmla="*/ 2089512 h 3498714"/>
                  <a:gd name="connsiteX8" fmla="*/ 2070058 w 6499257"/>
                  <a:gd name="connsiteY8" fmla="*/ 2270487 h 3498714"/>
                  <a:gd name="connsiteX9" fmla="*/ 2251033 w 6499257"/>
                  <a:gd name="connsiteY9" fmla="*/ 2451462 h 3498714"/>
                  <a:gd name="connsiteX10" fmla="*/ 2432008 w 6499257"/>
                  <a:gd name="connsiteY10" fmla="*/ 2270487 h 3498714"/>
                  <a:gd name="connsiteX11" fmla="*/ 2251033 w 6499257"/>
                  <a:gd name="connsiteY11" fmla="*/ 2089512 h 3498714"/>
                  <a:gd name="connsiteX12" fmla="*/ 2651061 w 6499257"/>
                  <a:gd name="connsiteY12" fmla="*/ 1167548 h 3498714"/>
                  <a:gd name="connsiteX13" fmla="*/ 2392797 w 6499257"/>
                  <a:gd name="connsiteY13" fmla="*/ 1878907 h 3498714"/>
                  <a:gd name="connsiteX14" fmla="*/ 2478781 w 6499257"/>
                  <a:gd name="connsiteY14" fmla="*/ 1920808 h 3498714"/>
                  <a:gd name="connsiteX15" fmla="*/ 2842751 w 6499257"/>
                  <a:gd name="connsiteY15" fmla="*/ 1749356 h 3498714"/>
                  <a:gd name="connsiteX16" fmla="*/ 4277738 w 6499257"/>
                  <a:gd name="connsiteY16" fmla="*/ 1922593 h 3498714"/>
                  <a:gd name="connsiteX17" fmla="*/ 4112835 w 6499257"/>
                  <a:gd name="connsiteY17" fmla="*/ 1167548 h 3498714"/>
                  <a:gd name="connsiteX18" fmla="*/ 2651061 w 6499257"/>
                  <a:gd name="connsiteY18" fmla="*/ 1167548 h 3498714"/>
                  <a:gd name="connsiteX19" fmla="*/ 2534724 w 6499257"/>
                  <a:gd name="connsiteY19" fmla="*/ 982297 h 3498714"/>
                  <a:gd name="connsiteX20" fmla="*/ 4229172 w 6499257"/>
                  <a:gd name="connsiteY20" fmla="*/ 982297 h 3498714"/>
                  <a:gd name="connsiteX21" fmla="*/ 4546612 w 6499257"/>
                  <a:gd name="connsiteY21" fmla="*/ 1856643 h 3498714"/>
                  <a:gd name="connsiteX22" fmla="*/ 4936448 w 6499257"/>
                  <a:gd name="connsiteY22" fmla="*/ 2279217 h 3498714"/>
                  <a:gd name="connsiteX23" fmla="*/ 4802103 w 6499257"/>
                  <a:gd name="connsiteY23" fmla="*/ 2588456 h 3498714"/>
                  <a:gd name="connsiteX24" fmla="*/ 4904699 w 6499257"/>
                  <a:gd name="connsiteY24" fmla="*/ 2705462 h 3498714"/>
                  <a:gd name="connsiteX25" fmla="*/ 4904698 w 6499257"/>
                  <a:gd name="connsiteY25" fmla="*/ 2705462 h 3498714"/>
                  <a:gd name="connsiteX26" fmla="*/ 4784047 w 6499257"/>
                  <a:gd name="connsiteY26" fmla="*/ 2826113 h 3498714"/>
                  <a:gd name="connsiteX27" fmla="*/ 1970999 w 6499257"/>
                  <a:gd name="connsiteY27" fmla="*/ 2826112 h 3498714"/>
                  <a:gd name="connsiteX28" fmla="*/ 1850348 w 6499257"/>
                  <a:gd name="connsiteY28" fmla="*/ 2705462 h 3498714"/>
                  <a:gd name="connsiteX29" fmla="*/ 1956769 w 6499257"/>
                  <a:gd name="connsiteY29" fmla="*/ 2587684 h 3498714"/>
                  <a:gd name="connsiteX30" fmla="*/ 1823360 w 6499257"/>
                  <a:gd name="connsiteY30" fmla="*/ 2279217 h 3498714"/>
                  <a:gd name="connsiteX31" fmla="*/ 2217440 w 6499257"/>
                  <a:gd name="connsiteY31" fmla="*/ 1856216 h 3498714"/>
                  <a:gd name="connsiteX32" fmla="*/ 2534724 w 6499257"/>
                  <a:gd name="connsiteY32" fmla="*/ 982297 h 3498714"/>
                  <a:gd name="connsiteX33" fmla="*/ 358791 w 6499257"/>
                  <a:gd name="connsiteY33" fmla="*/ 644545 h 3498714"/>
                  <a:gd name="connsiteX34" fmla="*/ 1006774 w 6499257"/>
                  <a:gd name="connsiteY34" fmla="*/ 644545 h 3498714"/>
                  <a:gd name="connsiteX35" fmla="*/ 1542636 w 6499257"/>
                  <a:gd name="connsiteY35" fmla="*/ 1193969 h 3498714"/>
                  <a:gd name="connsiteX36" fmla="*/ 1929878 w 6499257"/>
                  <a:gd name="connsiteY36" fmla="*/ 1193970 h 3498714"/>
                  <a:gd name="connsiteX37" fmla="*/ 2070059 w 6499257"/>
                  <a:gd name="connsiteY37" fmla="*/ 1334152 h 3498714"/>
                  <a:gd name="connsiteX38" fmla="*/ 1929878 w 6499257"/>
                  <a:gd name="connsiteY38" fmla="*/ 1474333 h 3498714"/>
                  <a:gd name="connsiteX39" fmla="*/ 1520943 w 6499257"/>
                  <a:gd name="connsiteY39" fmla="*/ 1470388 h 3498714"/>
                  <a:gd name="connsiteX40" fmla="*/ 1332825 w 6499257"/>
                  <a:gd name="connsiteY40" fmla="*/ 1367201 h 3498714"/>
                  <a:gd name="connsiteX41" fmla="*/ 1106501 w 6499257"/>
                  <a:gd name="connsiteY41" fmla="*/ 1098289 h 3498714"/>
                  <a:gd name="connsiteX42" fmla="*/ 1101049 w 6499257"/>
                  <a:gd name="connsiteY42" fmla="*/ 1092836 h 3498714"/>
                  <a:gd name="connsiteX43" fmla="*/ 1046523 w 6499257"/>
                  <a:gd name="connsiteY43" fmla="*/ 1092836 h 3498714"/>
                  <a:gd name="connsiteX44" fmla="*/ 1041071 w 6499257"/>
                  <a:gd name="connsiteY44" fmla="*/ 1098289 h 3498714"/>
                  <a:gd name="connsiteX45" fmla="*/ 1042136 w 6499257"/>
                  <a:gd name="connsiteY45" fmla="*/ 1419754 h 3498714"/>
                  <a:gd name="connsiteX46" fmla="*/ 1042136 w 6499257"/>
                  <a:gd name="connsiteY46" fmla="*/ 3337652 h 3498714"/>
                  <a:gd name="connsiteX47" fmla="*/ 881075 w 6499257"/>
                  <a:gd name="connsiteY47" fmla="*/ 3498714 h 3498714"/>
                  <a:gd name="connsiteX48" fmla="*/ 720012 w 6499257"/>
                  <a:gd name="connsiteY48" fmla="*/ 3337652 h 3498714"/>
                  <a:gd name="connsiteX49" fmla="*/ 720012 w 6499257"/>
                  <a:gd name="connsiteY49" fmla="*/ 2125717 h 3498714"/>
                  <a:gd name="connsiteX50" fmla="*/ 718947 w 6499257"/>
                  <a:gd name="connsiteY50" fmla="*/ 2033194 h 3498714"/>
                  <a:gd name="connsiteX51" fmla="*/ 714162 w 6499257"/>
                  <a:gd name="connsiteY51" fmla="*/ 2028410 h 3498714"/>
                  <a:gd name="connsiteX52" fmla="*/ 654759 w 6499257"/>
                  <a:gd name="connsiteY52" fmla="*/ 2028410 h 3498714"/>
                  <a:gd name="connsiteX53" fmla="*/ 649974 w 6499257"/>
                  <a:gd name="connsiteY53" fmla="*/ 2033194 h 3498714"/>
                  <a:gd name="connsiteX54" fmla="*/ 649974 w 6499257"/>
                  <a:gd name="connsiteY54" fmla="*/ 2125717 h 3498714"/>
                  <a:gd name="connsiteX55" fmla="*/ 649574 w 6499257"/>
                  <a:gd name="connsiteY55" fmla="*/ 3337652 h 3498714"/>
                  <a:gd name="connsiteX56" fmla="*/ 488511 w 6499257"/>
                  <a:gd name="connsiteY56" fmla="*/ 3498714 h 3498714"/>
                  <a:gd name="connsiteX57" fmla="*/ 327450 w 6499257"/>
                  <a:gd name="connsiteY57" fmla="*/ 3337652 h 3498714"/>
                  <a:gd name="connsiteX58" fmla="*/ 327450 w 6499257"/>
                  <a:gd name="connsiteY58" fmla="*/ 1458216 h 3498714"/>
                  <a:gd name="connsiteX59" fmla="*/ 322427 w 6499257"/>
                  <a:gd name="connsiteY59" fmla="*/ 1098205 h 3498714"/>
                  <a:gd name="connsiteX60" fmla="*/ 317058 w 6499257"/>
                  <a:gd name="connsiteY60" fmla="*/ 1092836 h 3498714"/>
                  <a:gd name="connsiteX61" fmla="*/ 263371 w 6499257"/>
                  <a:gd name="connsiteY61" fmla="*/ 1092836 h 3498714"/>
                  <a:gd name="connsiteX62" fmla="*/ 258001 w 6499257"/>
                  <a:gd name="connsiteY62" fmla="*/ 1098205 h 3498714"/>
                  <a:gd name="connsiteX63" fmla="*/ 258001 w 6499257"/>
                  <a:gd name="connsiteY63" fmla="*/ 1444446 h 3498714"/>
                  <a:gd name="connsiteX64" fmla="*/ 257700 w 6499257"/>
                  <a:gd name="connsiteY64" fmla="*/ 1444370 h 3498714"/>
                  <a:gd name="connsiteX65" fmla="*/ 257700 w 6499257"/>
                  <a:gd name="connsiteY65" fmla="*/ 1912573 h 3498714"/>
                  <a:gd name="connsiteX66" fmla="*/ 128850 w 6499257"/>
                  <a:gd name="connsiteY66" fmla="*/ 2041423 h 3498714"/>
                  <a:gd name="connsiteX67" fmla="*/ 0 w 6499257"/>
                  <a:gd name="connsiteY67" fmla="*/ 1912573 h 3498714"/>
                  <a:gd name="connsiteX68" fmla="*/ 0 w 6499257"/>
                  <a:gd name="connsiteY68" fmla="*/ 1101802 h 3498714"/>
                  <a:gd name="connsiteX69" fmla="*/ 0 w 6499257"/>
                  <a:gd name="connsiteY69" fmla="*/ 1003338 h 3498714"/>
                  <a:gd name="connsiteX70" fmla="*/ 0 w 6499257"/>
                  <a:gd name="connsiteY70" fmla="*/ 982486 h 3498714"/>
                  <a:gd name="connsiteX71" fmla="*/ 12733 w 6499257"/>
                  <a:gd name="connsiteY71" fmla="*/ 894663 h 3498714"/>
                  <a:gd name="connsiteX72" fmla="*/ 20539 w 6499257"/>
                  <a:gd name="connsiteY72" fmla="*/ 868773 h 3498714"/>
                  <a:gd name="connsiteX73" fmla="*/ 358791 w 6499257"/>
                  <a:gd name="connsiteY73" fmla="*/ 644545 h 3498714"/>
                  <a:gd name="connsiteX74" fmla="*/ 682782 w 6499257"/>
                  <a:gd name="connsiteY74" fmla="*/ 0 h 3498714"/>
                  <a:gd name="connsiteX75" fmla="*/ 966919 w 6499257"/>
                  <a:gd name="connsiteY75" fmla="*/ 284138 h 3498714"/>
                  <a:gd name="connsiteX76" fmla="*/ 682782 w 6499257"/>
                  <a:gd name="connsiteY76" fmla="*/ 568275 h 3498714"/>
                  <a:gd name="connsiteX77" fmla="*/ 398645 w 6499257"/>
                  <a:gd name="connsiteY77" fmla="*/ 284138 h 3498714"/>
                  <a:gd name="connsiteX78" fmla="*/ 682782 w 6499257"/>
                  <a:gd name="connsiteY78" fmla="*/ 0 h 3498714"/>
                  <a:gd name="connsiteX79" fmla="*/ 4707054 w 6499257"/>
                  <a:gd name="connsiteY79" fmla="*/ 2902312 h 3498714"/>
                  <a:gd name="connsiteX80" fmla="*/ 4818179 w 6499257"/>
                  <a:gd name="connsiteY80" fmla="*/ 3013437 h 3498714"/>
                  <a:gd name="connsiteX81" fmla="*/ 4707054 w 6499257"/>
                  <a:gd name="connsiteY81" fmla="*/ 3124562 h 3498714"/>
                  <a:gd name="connsiteX82" fmla="*/ 4545125 w 6499257"/>
                  <a:gd name="connsiteY82" fmla="*/ 3124562 h 3498714"/>
                  <a:gd name="connsiteX83" fmla="*/ 4545125 w 6499257"/>
                  <a:gd name="connsiteY83" fmla="*/ 3361625 h 3498714"/>
                  <a:gd name="connsiteX84" fmla="*/ 4436113 w 6499257"/>
                  <a:gd name="connsiteY84" fmla="*/ 3470637 h 3498714"/>
                  <a:gd name="connsiteX85" fmla="*/ 4235039 w 6499257"/>
                  <a:gd name="connsiteY85" fmla="*/ 3470637 h 3498714"/>
                  <a:gd name="connsiteX86" fmla="*/ 4126027 w 6499257"/>
                  <a:gd name="connsiteY86" fmla="*/ 3361625 h 3498714"/>
                  <a:gd name="connsiteX87" fmla="*/ 4126027 w 6499257"/>
                  <a:gd name="connsiteY87" fmla="*/ 3124562 h 3498714"/>
                  <a:gd name="connsiteX88" fmla="*/ 2589325 w 6499257"/>
                  <a:gd name="connsiteY88" fmla="*/ 3124562 h 3498714"/>
                  <a:gd name="connsiteX89" fmla="*/ 2589325 w 6499257"/>
                  <a:gd name="connsiteY89" fmla="*/ 3361625 h 3498714"/>
                  <a:gd name="connsiteX90" fmla="*/ 2480313 w 6499257"/>
                  <a:gd name="connsiteY90" fmla="*/ 3470637 h 3498714"/>
                  <a:gd name="connsiteX91" fmla="*/ 2279239 w 6499257"/>
                  <a:gd name="connsiteY91" fmla="*/ 3470637 h 3498714"/>
                  <a:gd name="connsiteX92" fmla="*/ 2170227 w 6499257"/>
                  <a:gd name="connsiteY92" fmla="*/ 3361625 h 3498714"/>
                  <a:gd name="connsiteX93" fmla="*/ 2170227 w 6499257"/>
                  <a:gd name="connsiteY93" fmla="*/ 3124562 h 3498714"/>
                  <a:gd name="connsiteX94" fmla="*/ 2052754 w 6499257"/>
                  <a:gd name="connsiteY94" fmla="*/ 3124562 h 3498714"/>
                  <a:gd name="connsiteX95" fmla="*/ 1941629 w 6499257"/>
                  <a:gd name="connsiteY95" fmla="*/ 3013437 h 3498714"/>
                  <a:gd name="connsiteX96" fmla="*/ 2052754 w 6499257"/>
                  <a:gd name="connsiteY96" fmla="*/ 2902312 h 3498714"/>
                  <a:gd name="connsiteX97" fmla="*/ 682782 w 6499257"/>
                  <a:gd name="connsiteY97" fmla="*/ 0 h 3498714"/>
                  <a:gd name="connsiteX98" fmla="*/ 4492583 w 6499257"/>
                  <a:gd name="connsiteY98" fmla="*/ 2089512 h 3498714"/>
                  <a:gd name="connsiteX99" fmla="*/ 4311608 w 6499257"/>
                  <a:gd name="connsiteY99" fmla="*/ 2270487 h 3498714"/>
                  <a:gd name="connsiteX100" fmla="*/ 4492583 w 6499257"/>
                  <a:gd name="connsiteY100" fmla="*/ 2451462 h 3498714"/>
                  <a:gd name="connsiteX101" fmla="*/ 5407618 w 6499257"/>
                  <a:gd name="connsiteY101" fmla="*/ 2468742 h 3498714"/>
                  <a:gd name="connsiteX102" fmla="*/ 6498753 w 6499257"/>
                  <a:gd name="connsiteY102" fmla="*/ 2404799 h 3498714"/>
                  <a:gd name="connsiteX103" fmla="*/ 5388995 w 6499257"/>
                  <a:gd name="connsiteY103" fmla="*/ 2075460 h 3498714"/>
                  <a:gd name="connsiteX0" fmla="*/ 2979061 w 6499257"/>
                  <a:gd name="connsiteY0" fmla="*/ 2089512 h 3498714"/>
                  <a:gd name="connsiteX1" fmla="*/ 2671086 w 6499257"/>
                  <a:gd name="connsiteY1" fmla="*/ 2397487 h 3498714"/>
                  <a:gd name="connsiteX2" fmla="*/ 2671086 w 6499257"/>
                  <a:gd name="connsiteY2" fmla="*/ 2584811 h 3498714"/>
                  <a:gd name="connsiteX3" fmla="*/ 4083961 w 6499257"/>
                  <a:gd name="connsiteY3" fmla="*/ 2584811 h 3498714"/>
                  <a:gd name="connsiteX4" fmla="*/ 4083961 w 6499257"/>
                  <a:gd name="connsiteY4" fmla="*/ 2397487 h 3498714"/>
                  <a:gd name="connsiteX5" fmla="*/ 3775986 w 6499257"/>
                  <a:gd name="connsiteY5" fmla="*/ 2089512 h 3498714"/>
                  <a:gd name="connsiteX6" fmla="*/ 2979061 w 6499257"/>
                  <a:gd name="connsiteY6" fmla="*/ 2089512 h 3498714"/>
                  <a:gd name="connsiteX7" fmla="*/ 2251033 w 6499257"/>
                  <a:gd name="connsiteY7" fmla="*/ 2089512 h 3498714"/>
                  <a:gd name="connsiteX8" fmla="*/ 2070058 w 6499257"/>
                  <a:gd name="connsiteY8" fmla="*/ 2270487 h 3498714"/>
                  <a:gd name="connsiteX9" fmla="*/ 2251033 w 6499257"/>
                  <a:gd name="connsiteY9" fmla="*/ 2451462 h 3498714"/>
                  <a:gd name="connsiteX10" fmla="*/ 2432008 w 6499257"/>
                  <a:gd name="connsiteY10" fmla="*/ 2270487 h 3498714"/>
                  <a:gd name="connsiteX11" fmla="*/ 2251033 w 6499257"/>
                  <a:gd name="connsiteY11" fmla="*/ 2089512 h 3498714"/>
                  <a:gd name="connsiteX12" fmla="*/ 2651061 w 6499257"/>
                  <a:gd name="connsiteY12" fmla="*/ 1167548 h 3498714"/>
                  <a:gd name="connsiteX13" fmla="*/ 2392797 w 6499257"/>
                  <a:gd name="connsiteY13" fmla="*/ 1878907 h 3498714"/>
                  <a:gd name="connsiteX14" fmla="*/ 2478781 w 6499257"/>
                  <a:gd name="connsiteY14" fmla="*/ 1920808 h 3498714"/>
                  <a:gd name="connsiteX15" fmla="*/ 2842751 w 6499257"/>
                  <a:gd name="connsiteY15" fmla="*/ 1749356 h 3498714"/>
                  <a:gd name="connsiteX16" fmla="*/ 4112835 w 6499257"/>
                  <a:gd name="connsiteY16" fmla="*/ 1167548 h 3498714"/>
                  <a:gd name="connsiteX17" fmla="*/ 2651061 w 6499257"/>
                  <a:gd name="connsiteY17" fmla="*/ 1167548 h 3498714"/>
                  <a:gd name="connsiteX18" fmla="*/ 2534724 w 6499257"/>
                  <a:gd name="connsiteY18" fmla="*/ 982297 h 3498714"/>
                  <a:gd name="connsiteX19" fmla="*/ 4229172 w 6499257"/>
                  <a:gd name="connsiteY19" fmla="*/ 982297 h 3498714"/>
                  <a:gd name="connsiteX20" fmla="*/ 4546612 w 6499257"/>
                  <a:gd name="connsiteY20" fmla="*/ 1856643 h 3498714"/>
                  <a:gd name="connsiteX21" fmla="*/ 4936448 w 6499257"/>
                  <a:gd name="connsiteY21" fmla="*/ 2279217 h 3498714"/>
                  <a:gd name="connsiteX22" fmla="*/ 4802103 w 6499257"/>
                  <a:gd name="connsiteY22" fmla="*/ 2588456 h 3498714"/>
                  <a:gd name="connsiteX23" fmla="*/ 4904699 w 6499257"/>
                  <a:gd name="connsiteY23" fmla="*/ 2705462 h 3498714"/>
                  <a:gd name="connsiteX24" fmla="*/ 4904698 w 6499257"/>
                  <a:gd name="connsiteY24" fmla="*/ 2705462 h 3498714"/>
                  <a:gd name="connsiteX25" fmla="*/ 4784047 w 6499257"/>
                  <a:gd name="connsiteY25" fmla="*/ 2826113 h 3498714"/>
                  <a:gd name="connsiteX26" fmla="*/ 1970999 w 6499257"/>
                  <a:gd name="connsiteY26" fmla="*/ 2826112 h 3498714"/>
                  <a:gd name="connsiteX27" fmla="*/ 1850348 w 6499257"/>
                  <a:gd name="connsiteY27" fmla="*/ 2705462 h 3498714"/>
                  <a:gd name="connsiteX28" fmla="*/ 1956769 w 6499257"/>
                  <a:gd name="connsiteY28" fmla="*/ 2587684 h 3498714"/>
                  <a:gd name="connsiteX29" fmla="*/ 1823360 w 6499257"/>
                  <a:gd name="connsiteY29" fmla="*/ 2279217 h 3498714"/>
                  <a:gd name="connsiteX30" fmla="*/ 2217440 w 6499257"/>
                  <a:gd name="connsiteY30" fmla="*/ 1856216 h 3498714"/>
                  <a:gd name="connsiteX31" fmla="*/ 2534724 w 6499257"/>
                  <a:gd name="connsiteY31" fmla="*/ 982297 h 3498714"/>
                  <a:gd name="connsiteX32" fmla="*/ 358791 w 6499257"/>
                  <a:gd name="connsiteY32" fmla="*/ 644545 h 3498714"/>
                  <a:gd name="connsiteX33" fmla="*/ 1006774 w 6499257"/>
                  <a:gd name="connsiteY33" fmla="*/ 644545 h 3498714"/>
                  <a:gd name="connsiteX34" fmla="*/ 1542636 w 6499257"/>
                  <a:gd name="connsiteY34" fmla="*/ 1193969 h 3498714"/>
                  <a:gd name="connsiteX35" fmla="*/ 1929878 w 6499257"/>
                  <a:gd name="connsiteY35" fmla="*/ 1193970 h 3498714"/>
                  <a:gd name="connsiteX36" fmla="*/ 2070059 w 6499257"/>
                  <a:gd name="connsiteY36" fmla="*/ 1334152 h 3498714"/>
                  <a:gd name="connsiteX37" fmla="*/ 1929878 w 6499257"/>
                  <a:gd name="connsiteY37" fmla="*/ 1474333 h 3498714"/>
                  <a:gd name="connsiteX38" fmla="*/ 1520943 w 6499257"/>
                  <a:gd name="connsiteY38" fmla="*/ 1470388 h 3498714"/>
                  <a:gd name="connsiteX39" fmla="*/ 1332825 w 6499257"/>
                  <a:gd name="connsiteY39" fmla="*/ 1367201 h 3498714"/>
                  <a:gd name="connsiteX40" fmla="*/ 1106501 w 6499257"/>
                  <a:gd name="connsiteY40" fmla="*/ 1098289 h 3498714"/>
                  <a:gd name="connsiteX41" fmla="*/ 1101049 w 6499257"/>
                  <a:gd name="connsiteY41" fmla="*/ 1092836 h 3498714"/>
                  <a:gd name="connsiteX42" fmla="*/ 1046523 w 6499257"/>
                  <a:gd name="connsiteY42" fmla="*/ 1092836 h 3498714"/>
                  <a:gd name="connsiteX43" fmla="*/ 1041071 w 6499257"/>
                  <a:gd name="connsiteY43" fmla="*/ 1098289 h 3498714"/>
                  <a:gd name="connsiteX44" fmla="*/ 1042136 w 6499257"/>
                  <a:gd name="connsiteY44" fmla="*/ 1419754 h 3498714"/>
                  <a:gd name="connsiteX45" fmla="*/ 1042136 w 6499257"/>
                  <a:gd name="connsiteY45" fmla="*/ 3337652 h 3498714"/>
                  <a:gd name="connsiteX46" fmla="*/ 881075 w 6499257"/>
                  <a:gd name="connsiteY46" fmla="*/ 3498714 h 3498714"/>
                  <a:gd name="connsiteX47" fmla="*/ 720012 w 6499257"/>
                  <a:gd name="connsiteY47" fmla="*/ 3337652 h 3498714"/>
                  <a:gd name="connsiteX48" fmla="*/ 720012 w 6499257"/>
                  <a:gd name="connsiteY48" fmla="*/ 2125717 h 3498714"/>
                  <a:gd name="connsiteX49" fmla="*/ 718947 w 6499257"/>
                  <a:gd name="connsiteY49" fmla="*/ 2033194 h 3498714"/>
                  <a:gd name="connsiteX50" fmla="*/ 714162 w 6499257"/>
                  <a:gd name="connsiteY50" fmla="*/ 2028410 h 3498714"/>
                  <a:gd name="connsiteX51" fmla="*/ 654759 w 6499257"/>
                  <a:gd name="connsiteY51" fmla="*/ 2028410 h 3498714"/>
                  <a:gd name="connsiteX52" fmla="*/ 649974 w 6499257"/>
                  <a:gd name="connsiteY52" fmla="*/ 2033194 h 3498714"/>
                  <a:gd name="connsiteX53" fmla="*/ 649974 w 6499257"/>
                  <a:gd name="connsiteY53" fmla="*/ 2125717 h 3498714"/>
                  <a:gd name="connsiteX54" fmla="*/ 649574 w 6499257"/>
                  <a:gd name="connsiteY54" fmla="*/ 3337652 h 3498714"/>
                  <a:gd name="connsiteX55" fmla="*/ 488511 w 6499257"/>
                  <a:gd name="connsiteY55" fmla="*/ 3498714 h 3498714"/>
                  <a:gd name="connsiteX56" fmla="*/ 327450 w 6499257"/>
                  <a:gd name="connsiteY56" fmla="*/ 3337652 h 3498714"/>
                  <a:gd name="connsiteX57" fmla="*/ 327450 w 6499257"/>
                  <a:gd name="connsiteY57" fmla="*/ 1458216 h 3498714"/>
                  <a:gd name="connsiteX58" fmla="*/ 322427 w 6499257"/>
                  <a:gd name="connsiteY58" fmla="*/ 1098205 h 3498714"/>
                  <a:gd name="connsiteX59" fmla="*/ 317058 w 6499257"/>
                  <a:gd name="connsiteY59" fmla="*/ 1092836 h 3498714"/>
                  <a:gd name="connsiteX60" fmla="*/ 263371 w 6499257"/>
                  <a:gd name="connsiteY60" fmla="*/ 1092836 h 3498714"/>
                  <a:gd name="connsiteX61" fmla="*/ 258001 w 6499257"/>
                  <a:gd name="connsiteY61" fmla="*/ 1098205 h 3498714"/>
                  <a:gd name="connsiteX62" fmla="*/ 258001 w 6499257"/>
                  <a:gd name="connsiteY62" fmla="*/ 1444446 h 3498714"/>
                  <a:gd name="connsiteX63" fmla="*/ 257700 w 6499257"/>
                  <a:gd name="connsiteY63" fmla="*/ 1444370 h 3498714"/>
                  <a:gd name="connsiteX64" fmla="*/ 257700 w 6499257"/>
                  <a:gd name="connsiteY64" fmla="*/ 1912573 h 3498714"/>
                  <a:gd name="connsiteX65" fmla="*/ 128850 w 6499257"/>
                  <a:gd name="connsiteY65" fmla="*/ 2041423 h 3498714"/>
                  <a:gd name="connsiteX66" fmla="*/ 0 w 6499257"/>
                  <a:gd name="connsiteY66" fmla="*/ 1912573 h 3498714"/>
                  <a:gd name="connsiteX67" fmla="*/ 0 w 6499257"/>
                  <a:gd name="connsiteY67" fmla="*/ 1101802 h 3498714"/>
                  <a:gd name="connsiteX68" fmla="*/ 0 w 6499257"/>
                  <a:gd name="connsiteY68" fmla="*/ 1003338 h 3498714"/>
                  <a:gd name="connsiteX69" fmla="*/ 0 w 6499257"/>
                  <a:gd name="connsiteY69" fmla="*/ 982486 h 3498714"/>
                  <a:gd name="connsiteX70" fmla="*/ 12733 w 6499257"/>
                  <a:gd name="connsiteY70" fmla="*/ 894663 h 3498714"/>
                  <a:gd name="connsiteX71" fmla="*/ 20539 w 6499257"/>
                  <a:gd name="connsiteY71" fmla="*/ 868773 h 3498714"/>
                  <a:gd name="connsiteX72" fmla="*/ 358791 w 6499257"/>
                  <a:gd name="connsiteY72" fmla="*/ 644545 h 3498714"/>
                  <a:gd name="connsiteX73" fmla="*/ 682782 w 6499257"/>
                  <a:gd name="connsiteY73" fmla="*/ 0 h 3498714"/>
                  <a:gd name="connsiteX74" fmla="*/ 966919 w 6499257"/>
                  <a:gd name="connsiteY74" fmla="*/ 284138 h 3498714"/>
                  <a:gd name="connsiteX75" fmla="*/ 682782 w 6499257"/>
                  <a:gd name="connsiteY75" fmla="*/ 568275 h 3498714"/>
                  <a:gd name="connsiteX76" fmla="*/ 398645 w 6499257"/>
                  <a:gd name="connsiteY76" fmla="*/ 284138 h 3498714"/>
                  <a:gd name="connsiteX77" fmla="*/ 682782 w 6499257"/>
                  <a:gd name="connsiteY77" fmla="*/ 0 h 3498714"/>
                  <a:gd name="connsiteX78" fmla="*/ 4707054 w 6499257"/>
                  <a:gd name="connsiteY78" fmla="*/ 2902312 h 3498714"/>
                  <a:gd name="connsiteX79" fmla="*/ 4818179 w 6499257"/>
                  <a:gd name="connsiteY79" fmla="*/ 3013437 h 3498714"/>
                  <a:gd name="connsiteX80" fmla="*/ 4707054 w 6499257"/>
                  <a:gd name="connsiteY80" fmla="*/ 3124562 h 3498714"/>
                  <a:gd name="connsiteX81" fmla="*/ 4545125 w 6499257"/>
                  <a:gd name="connsiteY81" fmla="*/ 3124562 h 3498714"/>
                  <a:gd name="connsiteX82" fmla="*/ 4545125 w 6499257"/>
                  <a:gd name="connsiteY82" fmla="*/ 3361625 h 3498714"/>
                  <a:gd name="connsiteX83" fmla="*/ 4436113 w 6499257"/>
                  <a:gd name="connsiteY83" fmla="*/ 3470637 h 3498714"/>
                  <a:gd name="connsiteX84" fmla="*/ 4235039 w 6499257"/>
                  <a:gd name="connsiteY84" fmla="*/ 3470637 h 3498714"/>
                  <a:gd name="connsiteX85" fmla="*/ 4126027 w 6499257"/>
                  <a:gd name="connsiteY85" fmla="*/ 3361625 h 3498714"/>
                  <a:gd name="connsiteX86" fmla="*/ 4126027 w 6499257"/>
                  <a:gd name="connsiteY86" fmla="*/ 3124562 h 3498714"/>
                  <a:gd name="connsiteX87" fmla="*/ 2589325 w 6499257"/>
                  <a:gd name="connsiteY87" fmla="*/ 3124562 h 3498714"/>
                  <a:gd name="connsiteX88" fmla="*/ 2589325 w 6499257"/>
                  <a:gd name="connsiteY88" fmla="*/ 3361625 h 3498714"/>
                  <a:gd name="connsiteX89" fmla="*/ 2480313 w 6499257"/>
                  <a:gd name="connsiteY89" fmla="*/ 3470637 h 3498714"/>
                  <a:gd name="connsiteX90" fmla="*/ 2279239 w 6499257"/>
                  <a:gd name="connsiteY90" fmla="*/ 3470637 h 3498714"/>
                  <a:gd name="connsiteX91" fmla="*/ 2170227 w 6499257"/>
                  <a:gd name="connsiteY91" fmla="*/ 3361625 h 3498714"/>
                  <a:gd name="connsiteX92" fmla="*/ 2170227 w 6499257"/>
                  <a:gd name="connsiteY92" fmla="*/ 3124562 h 3498714"/>
                  <a:gd name="connsiteX93" fmla="*/ 2052754 w 6499257"/>
                  <a:gd name="connsiteY93" fmla="*/ 3124562 h 3498714"/>
                  <a:gd name="connsiteX94" fmla="*/ 1941629 w 6499257"/>
                  <a:gd name="connsiteY94" fmla="*/ 3013437 h 3498714"/>
                  <a:gd name="connsiteX95" fmla="*/ 2052754 w 6499257"/>
                  <a:gd name="connsiteY95" fmla="*/ 2902312 h 3498714"/>
                  <a:gd name="connsiteX96" fmla="*/ 682782 w 6499257"/>
                  <a:gd name="connsiteY96" fmla="*/ 0 h 3498714"/>
                  <a:gd name="connsiteX97" fmla="*/ 4492583 w 6499257"/>
                  <a:gd name="connsiteY97" fmla="*/ 2089512 h 3498714"/>
                  <a:gd name="connsiteX98" fmla="*/ 4311608 w 6499257"/>
                  <a:gd name="connsiteY98" fmla="*/ 2270487 h 3498714"/>
                  <a:gd name="connsiteX99" fmla="*/ 4492583 w 6499257"/>
                  <a:gd name="connsiteY99" fmla="*/ 2451462 h 3498714"/>
                  <a:gd name="connsiteX100" fmla="*/ 5407618 w 6499257"/>
                  <a:gd name="connsiteY100" fmla="*/ 2468742 h 3498714"/>
                  <a:gd name="connsiteX101" fmla="*/ 6498753 w 6499257"/>
                  <a:gd name="connsiteY101" fmla="*/ 2404799 h 3498714"/>
                  <a:gd name="connsiteX102" fmla="*/ 5388995 w 6499257"/>
                  <a:gd name="connsiteY102" fmla="*/ 2075460 h 3498714"/>
                  <a:gd name="connsiteX0" fmla="*/ 2979061 w 6499257"/>
                  <a:gd name="connsiteY0" fmla="*/ 2089512 h 3498714"/>
                  <a:gd name="connsiteX1" fmla="*/ 2671086 w 6499257"/>
                  <a:gd name="connsiteY1" fmla="*/ 2397487 h 3498714"/>
                  <a:gd name="connsiteX2" fmla="*/ 2671086 w 6499257"/>
                  <a:gd name="connsiteY2" fmla="*/ 2584811 h 3498714"/>
                  <a:gd name="connsiteX3" fmla="*/ 4083961 w 6499257"/>
                  <a:gd name="connsiteY3" fmla="*/ 2584811 h 3498714"/>
                  <a:gd name="connsiteX4" fmla="*/ 4083961 w 6499257"/>
                  <a:gd name="connsiteY4" fmla="*/ 2397487 h 3498714"/>
                  <a:gd name="connsiteX5" fmla="*/ 3775986 w 6499257"/>
                  <a:gd name="connsiteY5" fmla="*/ 2089512 h 3498714"/>
                  <a:gd name="connsiteX6" fmla="*/ 2979061 w 6499257"/>
                  <a:gd name="connsiteY6" fmla="*/ 2089512 h 3498714"/>
                  <a:gd name="connsiteX7" fmla="*/ 2251033 w 6499257"/>
                  <a:gd name="connsiteY7" fmla="*/ 2089512 h 3498714"/>
                  <a:gd name="connsiteX8" fmla="*/ 2070058 w 6499257"/>
                  <a:gd name="connsiteY8" fmla="*/ 2270487 h 3498714"/>
                  <a:gd name="connsiteX9" fmla="*/ 2251033 w 6499257"/>
                  <a:gd name="connsiteY9" fmla="*/ 2451462 h 3498714"/>
                  <a:gd name="connsiteX10" fmla="*/ 2432008 w 6499257"/>
                  <a:gd name="connsiteY10" fmla="*/ 2270487 h 3498714"/>
                  <a:gd name="connsiteX11" fmla="*/ 2251033 w 6499257"/>
                  <a:gd name="connsiteY11" fmla="*/ 2089512 h 3498714"/>
                  <a:gd name="connsiteX12" fmla="*/ 2651061 w 6499257"/>
                  <a:gd name="connsiteY12" fmla="*/ 1167548 h 3498714"/>
                  <a:gd name="connsiteX13" fmla="*/ 2392797 w 6499257"/>
                  <a:gd name="connsiteY13" fmla="*/ 1878907 h 3498714"/>
                  <a:gd name="connsiteX14" fmla="*/ 2478781 w 6499257"/>
                  <a:gd name="connsiteY14" fmla="*/ 1920808 h 3498714"/>
                  <a:gd name="connsiteX15" fmla="*/ 2842751 w 6499257"/>
                  <a:gd name="connsiteY15" fmla="*/ 1749356 h 3498714"/>
                  <a:gd name="connsiteX16" fmla="*/ 2651061 w 6499257"/>
                  <a:gd name="connsiteY16" fmla="*/ 1167548 h 3498714"/>
                  <a:gd name="connsiteX17" fmla="*/ 2534724 w 6499257"/>
                  <a:gd name="connsiteY17" fmla="*/ 982297 h 3498714"/>
                  <a:gd name="connsiteX18" fmla="*/ 4229172 w 6499257"/>
                  <a:gd name="connsiteY18" fmla="*/ 982297 h 3498714"/>
                  <a:gd name="connsiteX19" fmla="*/ 4546612 w 6499257"/>
                  <a:gd name="connsiteY19" fmla="*/ 1856643 h 3498714"/>
                  <a:gd name="connsiteX20" fmla="*/ 4936448 w 6499257"/>
                  <a:gd name="connsiteY20" fmla="*/ 2279217 h 3498714"/>
                  <a:gd name="connsiteX21" fmla="*/ 4802103 w 6499257"/>
                  <a:gd name="connsiteY21" fmla="*/ 2588456 h 3498714"/>
                  <a:gd name="connsiteX22" fmla="*/ 4904699 w 6499257"/>
                  <a:gd name="connsiteY22" fmla="*/ 2705462 h 3498714"/>
                  <a:gd name="connsiteX23" fmla="*/ 4904698 w 6499257"/>
                  <a:gd name="connsiteY23" fmla="*/ 2705462 h 3498714"/>
                  <a:gd name="connsiteX24" fmla="*/ 4784047 w 6499257"/>
                  <a:gd name="connsiteY24" fmla="*/ 2826113 h 3498714"/>
                  <a:gd name="connsiteX25" fmla="*/ 1970999 w 6499257"/>
                  <a:gd name="connsiteY25" fmla="*/ 2826112 h 3498714"/>
                  <a:gd name="connsiteX26" fmla="*/ 1850348 w 6499257"/>
                  <a:gd name="connsiteY26" fmla="*/ 2705462 h 3498714"/>
                  <a:gd name="connsiteX27" fmla="*/ 1956769 w 6499257"/>
                  <a:gd name="connsiteY27" fmla="*/ 2587684 h 3498714"/>
                  <a:gd name="connsiteX28" fmla="*/ 1823360 w 6499257"/>
                  <a:gd name="connsiteY28" fmla="*/ 2279217 h 3498714"/>
                  <a:gd name="connsiteX29" fmla="*/ 2217440 w 6499257"/>
                  <a:gd name="connsiteY29" fmla="*/ 1856216 h 3498714"/>
                  <a:gd name="connsiteX30" fmla="*/ 2534724 w 6499257"/>
                  <a:gd name="connsiteY30" fmla="*/ 982297 h 3498714"/>
                  <a:gd name="connsiteX31" fmla="*/ 358791 w 6499257"/>
                  <a:gd name="connsiteY31" fmla="*/ 644545 h 3498714"/>
                  <a:gd name="connsiteX32" fmla="*/ 1006774 w 6499257"/>
                  <a:gd name="connsiteY32" fmla="*/ 644545 h 3498714"/>
                  <a:gd name="connsiteX33" fmla="*/ 1542636 w 6499257"/>
                  <a:gd name="connsiteY33" fmla="*/ 1193969 h 3498714"/>
                  <a:gd name="connsiteX34" fmla="*/ 1929878 w 6499257"/>
                  <a:gd name="connsiteY34" fmla="*/ 1193970 h 3498714"/>
                  <a:gd name="connsiteX35" fmla="*/ 2070059 w 6499257"/>
                  <a:gd name="connsiteY35" fmla="*/ 1334152 h 3498714"/>
                  <a:gd name="connsiteX36" fmla="*/ 1929878 w 6499257"/>
                  <a:gd name="connsiteY36" fmla="*/ 1474333 h 3498714"/>
                  <a:gd name="connsiteX37" fmla="*/ 1520943 w 6499257"/>
                  <a:gd name="connsiteY37" fmla="*/ 1470388 h 3498714"/>
                  <a:gd name="connsiteX38" fmla="*/ 1332825 w 6499257"/>
                  <a:gd name="connsiteY38" fmla="*/ 1367201 h 3498714"/>
                  <a:gd name="connsiteX39" fmla="*/ 1106501 w 6499257"/>
                  <a:gd name="connsiteY39" fmla="*/ 1098289 h 3498714"/>
                  <a:gd name="connsiteX40" fmla="*/ 1101049 w 6499257"/>
                  <a:gd name="connsiteY40" fmla="*/ 1092836 h 3498714"/>
                  <a:gd name="connsiteX41" fmla="*/ 1046523 w 6499257"/>
                  <a:gd name="connsiteY41" fmla="*/ 1092836 h 3498714"/>
                  <a:gd name="connsiteX42" fmla="*/ 1041071 w 6499257"/>
                  <a:gd name="connsiteY42" fmla="*/ 1098289 h 3498714"/>
                  <a:gd name="connsiteX43" fmla="*/ 1042136 w 6499257"/>
                  <a:gd name="connsiteY43" fmla="*/ 1419754 h 3498714"/>
                  <a:gd name="connsiteX44" fmla="*/ 1042136 w 6499257"/>
                  <a:gd name="connsiteY44" fmla="*/ 3337652 h 3498714"/>
                  <a:gd name="connsiteX45" fmla="*/ 881075 w 6499257"/>
                  <a:gd name="connsiteY45" fmla="*/ 3498714 h 3498714"/>
                  <a:gd name="connsiteX46" fmla="*/ 720012 w 6499257"/>
                  <a:gd name="connsiteY46" fmla="*/ 3337652 h 3498714"/>
                  <a:gd name="connsiteX47" fmla="*/ 720012 w 6499257"/>
                  <a:gd name="connsiteY47" fmla="*/ 2125717 h 3498714"/>
                  <a:gd name="connsiteX48" fmla="*/ 718947 w 6499257"/>
                  <a:gd name="connsiteY48" fmla="*/ 2033194 h 3498714"/>
                  <a:gd name="connsiteX49" fmla="*/ 714162 w 6499257"/>
                  <a:gd name="connsiteY49" fmla="*/ 2028410 h 3498714"/>
                  <a:gd name="connsiteX50" fmla="*/ 654759 w 6499257"/>
                  <a:gd name="connsiteY50" fmla="*/ 2028410 h 3498714"/>
                  <a:gd name="connsiteX51" fmla="*/ 649974 w 6499257"/>
                  <a:gd name="connsiteY51" fmla="*/ 2033194 h 3498714"/>
                  <a:gd name="connsiteX52" fmla="*/ 649974 w 6499257"/>
                  <a:gd name="connsiteY52" fmla="*/ 2125717 h 3498714"/>
                  <a:gd name="connsiteX53" fmla="*/ 649574 w 6499257"/>
                  <a:gd name="connsiteY53" fmla="*/ 3337652 h 3498714"/>
                  <a:gd name="connsiteX54" fmla="*/ 488511 w 6499257"/>
                  <a:gd name="connsiteY54" fmla="*/ 3498714 h 3498714"/>
                  <a:gd name="connsiteX55" fmla="*/ 327450 w 6499257"/>
                  <a:gd name="connsiteY55" fmla="*/ 3337652 h 3498714"/>
                  <a:gd name="connsiteX56" fmla="*/ 327450 w 6499257"/>
                  <a:gd name="connsiteY56" fmla="*/ 1458216 h 3498714"/>
                  <a:gd name="connsiteX57" fmla="*/ 322427 w 6499257"/>
                  <a:gd name="connsiteY57" fmla="*/ 1098205 h 3498714"/>
                  <a:gd name="connsiteX58" fmla="*/ 317058 w 6499257"/>
                  <a:gd name="connsiteY58" fmla="*/ 1092836 h 3498714"/>
                  <a:gd name="connsiteX59" fmla="*/ 263371 w 6499257"/>
                  <a:gd name="connsiteY59" fmla="*/ 1092836 h 3498714"/>
                  <a:gd name="connsiteX60" fmla="*/ 258001 w 6499257"/>
                  <a:gd name="connsiteY60" fmla="*/ 1098205 h 3498714"/>
                  <a:gd name="connsiteX61" fmla="*/ 258001 w 6499257"/>
                  <a:gd name="connsiteY61" fmla="*/ 1444446 h 3498714"/>
                  <a:gd name="connsiteX62" fmla="*/ 257700 w 6499257"/>
                  <a:gd name="connsiteY62" fmla="*/ 1444370 h 3498714"/>
                  <a:gd name="connsiteX63" fmla="*/ 257700 w 6499257"/>
                  <a:gd name="connsiteY63" fmla="*/ 1912573 h 3498714"/>
                  <a:gd name="connsiteX64" fmla="*/ 128850 w 6499257"/>
                  <a:gd name="connsiteY64" fmla="*/ 2041423 h 3498714"/>
                  <a:gd name="connsiteX65" fmla="*/ 0 w 6499257"/>
                  <a:gd name="connsiteY65" fmla="*/ 1912573 h 3498714"/>
                  <a:gd name="connsiteX66" fmla="*/ 0 w 6499257"/>
                  <a:gd name="connsiteY66" fmla="*/ 1101802 h 3498714"/>
                  <a:gd name="connsiteX67" fmla="*/ 0 w 6499257"/>
                  <a:gd name="connsiteY67" fmla="*/ 1003338 h 3498714"/>
                  <a:gd name="connsiteX68" fmla="*/ 0 w 6499257"/>
                  <a:gd name="connsiteY68" fmla="*/ 982486 h 3498714"/>
                  <a:gd name="connsiteX69" fmla="*/ 12733 w 6499257"/>
                  <a:gd name="connsiteY69" fmla="*/ 894663 h 3498714"/>
                  <a:gd name="connsiteX70" fmla="*/ 20539 w 6499257"/>
                  <a:gd name="connsiteY70" fmla="*/ 868773 h 3498714"/>
                  <a:gd name="connsiteX71" fmla="*/ 358791 w 6499257"/>
                  <a:gd name="connsiteY71" fmla="*/ 644545 h 3498714"/>
                  <a:gd name="connsiteX72" fmla="*/ 682782 w 6499257"/>
                  <a:gd name="connsiteY72" fmla="*/ 0 h 3498714"/>
                  <a:gd name="connsiteX73" fmla="*/ 966919 w 6499257"/>
                  <a:gd name="connsiteY73" fmla="*/ 284138 h 3498714"/>
                  <a:gd name="connsiteX74" fmla="*/ 682782 w 6499257"/>
                  <a:gd name="connsiteY74" fmla="*/ 568275 h 3498714"/>
                  <a:gd name="connsiteX75" fmla="*/ 398645 w 6499257"/>
                  <a:gd name="connsiteY75" fmla="*/ 284138 h 3498714"/>
                  <a:gd name="connsiteX76" fmla="*/ 682782 w 6499257"/>
                  <a:gd name="connsiteY76" fmla="*/ 0 h 3498714"/>
                  <a:gd name="connsiteX77" fmla="*/ 4707054 w 6499257"/>
                  <a:gd name="connsiteY77" fmla="*/ 2902312 h 3498714"/>
                  <a:gd name="connsiteX78" fmla="*/ 4818179 w 6499257"/>
                  <a:gd name="connsiteY78" fmla="*/ 3013437 h 3498714"/>
                  <a:gd name="connsiteX79" fmla="*/ 4707054 w 6499257"/>
                  <a:gd name="connsiteY79" fmla="*/ 3124562 h 3498714"/>
                  <a:gd name="connsiteX80" fmla="*/ 4545125 w 6499257"/>
                  <a:gd name="connsiteY80" fmla="*/ 3124562 h 3498714"/>
                  <a:gd name="connsiteX81" fmla="*/ 4545125 w 6499257"/>
                  <a:gd name="connsiteY81" fmla="*/ 3361625 h 3498714"/>
                  <a:gd name="connsiteX82" fmla="*/ 4436113 w 6499257"/>
                  <a:gd name="connsiteY82" fmla="*/ 3470637 h 3498714"/>
                  <a:gd name="connsiteX83" fmla="*/ 4235039 w 6499257"/>
                  <a:gd name="connsiteY83" fmla="*/ 3470637 h 3498714"/>
                  <a:gd name="connsiteX84" fmla="*/ 4126027 w 6499257"/>
                  <a:gd name="connsiteY84" fmla="*/ 3361625 h 3498714"/>
                  <a:gd name="connsiteX85" fmla="*/ 4126027 w 6499257"/>
                  <a:gd name="connsiteY85" fmla="*/ 3124562 h 3498714"/>
                  <a:gd name="connsiteX86" fmla="*/ 2589325 w 6499257"/>
                  <a:gd name="connsiteY86" fmla="*/ 3124562 h 3498714"/>
                  <a:gd name="connsiteX87" fmla="*/ 2589325 w 6499257"/>
                  <a:gd name="connsiteY87" fmla="*/ 3361625 h 3498714"/>
                  <a:gd name="connsiteX88" fmla="*/ 2480313 w 6499257"/>
                  <a:gd name="connsiteY88" fmla="*/ 3470637 h 3498714"/>
                  <a:gd name="connsiteX89" fmla="*/ 2279239 w 6499257"/>
                  <a:gd name="connsiteY89" fmla="*/ 3470637 h 3498714"/>
                  <a:gd name="connsiteX90" fmla="*/ 2170227 w 6499257"/>
                  <a:gd name="connsiteY90" fmla="*/ 3361625 h 3498714"/>
                  <a:gd name="connsiteX91" fmla="*/ 2170227 w 6499257"/>
                  <a:gd name="connsiteY91" fmla="*/ 3124562 h 3498714"/>
                  <a:gd name="connsiteX92" fmla="*/ 2052754 w 6499257"/>
                  <a:gd name="connsiteY92" fmla="*/ 3124562 h 3498714"/>
                  <a:gd name="connsiteX93" fmla="*/ 1941629 w 6499257"/>
                  <a:gd name="connsiteY93" fmla="*/ 3013437 h 3498714"/>
                  <a:gd name="connsiteX94" fmla="*/ 2052754 w 6499257"/>
                  <a:gd name="connsiteY94" fmla="*/ 2902312 h 3498714"/>
                  <a:gd name="connsiteX95" fmla="*/ 682782 w 6499257"/>
                  <a:gd name="connsiteY95" fmla="*/ 0 h 3498714"/>
                  <a:gd name="connsiteX96" fmla="*/ 4492583 w 6499257"/>
                  <a:gd name="connsiteY96" fmla="*/ 2089512 h 3498714"/>
                  <a:gd name="connsiteX97" fmla="*/ 4311608 w 6499257"/>
                  <a:gd name="connsiteY97" fmla="*/ 2270487 h 3498714"/>
                  <a:gd name="connsiteX98" fmla="*/ 4492583 w 6499257"/>
                  <a:gd name="connsiteY98" fmla="*/ 2451462 h 3498714"/>
                  <a:gd name="connsiteX99" fmla="*/ 5407618 w 6499257"/>
                  <a:gd name="connsiteY99" fmla="*/ 2468742 h 3498714"/>
                  <a:gd name="connsiteX100" fmla="*/ 6498753 w 6499257"/>
                  <a:gd name="connsiteY100" fmla="*/ 2404799 h 3498714"/>
                  <a:gd name="connsiteX101" fmla="*/ 5388995 w 6499257"/>
                  <a:gd name="connsiteY101" fmla="*/ 2075460 h 3498714"/>
                  <a:gd name="connsiteX0" fmla="*/ 2979061 w 6499257"/>
                  <a:gd name="connsiteY0" fmla="*/ 2089512 h 3498714"/>
                  <a:gd name="connsiteX1" fmla="*/ 2671086 w 6499257"/>
                  <a:gd name="connsiteY1" fmla="*/ 2397487 h 3498714"/>
                  <a:gd name="connsiteX2" fmla="*/ 2671086 w 6499257"/>
                  <a:gd name="connsiteY2" fmla="*/ 2584811 h 3498714"/>
                  <a:gd name="connsiteX3" fmla="*/ 4083961 w 6499257"/>
                  <a:gd name="connsiteY3" fmla="*/ 2584811 h 3498714"/>
                  <a:gd name="connsiteX4" fmla="*/ 4083961 w 6499257"/>
                  <a:gd name="connsiteY4" fmla="*/ 2397487 h 3498714"/>
                  <a:gd name="connsiteX5" fmla="*/ 3775986 w 6499257"/>
                  <a:gd name="connsiteY5" fmla="*/ 2089512 h 3498714"/>
                  <a:gd name="connsiteX6" fmla="*/ 2979061 w 6499257"/>
                  <a:gd name="connsiteY6" fmla="*/ 2089512 h 3498714"/>
                  <a:gd name="connsiteX7" fmla="*/ 2251033 w 6499257"/>
                  <a:gd name="connsiteY7" fmla="*/ 2089512 h 3498714"/>
                  <a:gd name="connsiteX8" fmla="*/ 2070058 w 6499257"/>
                  <a:gd name="connsiteY8" fmla="*/ 2270487 h 3498714"/>
                  <a:gd name="connsiteX9" fmla="*/ 2251033 w 6499257"/>
                  <a:gd name="connsiteY9" fmla="*/ 2451462 h 3498714"/>
                  <a:gd name="connsiteX10" fmla="*/ 2432008 w 6499257"/>
                  <a:gd name="connsiteY10" fmla="*/ 2270487 h 3498714"/>
                  <a:gd name="connsiteX11" fmla="*/ 2251033 w 6499257"/>
                  <a:gd name="connsiteY11" fmla="*/ 2089512 h 3498714"/>
                  <a:gd name="connsiteX12" fmla="*/ 2842751 w 6499257"/>
                  <a:gd name="connsiteY12" fmla="*/ 1749356 h 3498714"/>
                  <a:gd name="connsiteX13" fmla="*/ 2392797 w 6499257"/>
                  <a:gd name="connsiteY13" fmla="*/ 1878907 h 3498714"/>
                  <a:gd name="connsiteX14" fmla="*/ 2478781 w 6499257"/>
                  <a:gd name="connsiteY14" fmla="*/ 1920808 h 3498714"/>
                  <a:gd name="connsiteX15" fmla="*/ 2842751 w 6499257"/>
                  <a:gd name="connsiteY15" fmla="*/ 1749356 h 3498714"/>
                  <a:gd name="connsiteX16" fmla="*/ 2534724 w 6499257"/>
                  <a:gd name="connsiteY16" fmla="*/ 982297 h 3498714"/>
                  <a:gd name="connsiteX17" fmla="*/ 4229172 w 6499257"/>
                  <a:gd name="connsiteY17" fmla="*/ 982297 h 3498714"/>
                  <a:gd name="connsiteX18" fmla="*/ 4546612 w 6499257"/>
                  <a:gd name="connsiteY18" fmla="*/ 1856643 h 3498714"/>
                  <a:gd name="connsiteX19" fmla="*/ 4936448 w 6499257"/>
                  <a:gd name="connsiteY19" fmla="*/ 2279217 h 3498714"/>
                  <a:gd name="connsiteX20" fmla="*/ 4802103 w 6499257"/>
                  <a:gd name="connsiteY20" fmla="*/ 2588456 h 3498714"/>
                  <a:gd name="connsiteX21" fmla="*/ 4904699 w 6499257"/>
                  <a:gd name="connsiteY21" fmla="*/ 2705462 h 3498714"/>
                  <a:gd name="connsiteX22" fmla="*/ 4904698 w 6499257"/>
                  <a:gd name="connsiteY22" fmla="*/ 2705462 h 3498714"/>
                  <a:gd name="connsiteX23" fmla="*/ 4784047 w 6499257"/>
                  <a:gd name="connsiteY23" fmla="*/ 2826113 h 3498714"/>
                  <a:gd name="connsiteX24" fmla="*/ 1970999 w 6499257"/>
                  <a:gd name="connsiteY24" fmla="*/ 2826112 h 3498714"/>
                  <a:gd name="connsiteX25" fmla="*/ 1850348 w 6499257"/>
                  <a:gd name="connsiteY25" fmla="*/ 2705462 h 3498714"/>
                  <a:gd name="connsiteX26" fmla="*/ 1956769 w 6499257"/>
                  <a:gd name="connsiteY26" fmla="*/ 2587684 h 3498714"/>
                  <a:gd name="connsiteX27" fmla="*/ 1823360 w 6499257"/>
                  <a:gd name="connsiteY27" fmla="*/ 2279217 h 3498714"/>
                  <a:gd name="connsiteX28" fmla="*/ 2217440 w 6499257"/>
                  <a:gd name="connsiteY28" fmla="*/ 1856216 h 3498714"/>
                  <a:gd name="connsiteX29" fmla="*/ 2534724 w 6499257"/>
                  <a:gd name="connsiteY29" fmla="*/ 982297 h 3498714"/>
                  <a:gd name="connsiteX30" fmla="*/ 358791 w 6499257"/>
                  <a:gd name="connsiteY30" fmla="*/ 644545 h 3498714"/>
                  <a:gd name="connsiteX31" fmla="*/ 1006774 w 6499257"/>
                  <a:gd name="connsiteY31" fmla="*/ 644545 h 3498714"/>
                  <a:gd name="connsiteX32" fmla="*/ 1542636 w 6499257"/>
                  <a:gd name="connsiteY32" fmla="*/ 1193969 h 3498714"/>
                  <a:gd name="connsiteX33" fmla="*/ 1929878 w 6499257"/>
                  <a:gd name="connsiteY33" fmla="*/ 1193970 h 3498714"/>
                  <a:gd name="connsiteX34" fmla="*/ 2070059 w 6499257"/>
                  <a:gd name="connsiteY34" fmla="*/ 1334152 h 3498714"/>
                  <a:gd name="connsiteX35" fmla="*/ 1929878 w 6499257"/>
                  <a:gd name="connsiteY35" fmla="*/ 1474333 h 3498714"/>
                  <a:gd name="connsiteX36" fmla="*/ 1520943 w 6499257"/>
                  <a:gd name="connsiteY36" fmla="*/ 1470388 h 3498714"/>
                  <a:gd name="connsiteX37" fmla="*/ 1332825 w 6499257"/>
                  <a:gd name="connsiteY37" fmla="*/ 1367201 h 3498714"/>
                  <a:gd name="connsiteX38" fmla="*/ 1106501 w 6499257"/>
                  <a:gd name="connsiteY38" fmla="*/ 1098289 h 3498714"/>
                  <a:gd name="connsiteX39" fmla="*/ 1101049 w 6499257"/>
                  <a:gd name="connsiteY39" fmla="*/ 1092836 h 3498714"/>
                  <a:gd name="connsiteX40" fmla="*/ 1046523 w 6499257"/>
                  <a:gd name="connsiteY40" fmla="*/ 1092836 h 3498714"/>
                  <a:gd name="connsiteX41" fmla="*/ 1041071 w 6499257"/>
                  <a:gd name="connsiteY41" fmla="*/ 1098289 h 3498714"/>
                  <a:gd name="connsiteX42" fmla="*/ 1042136 w 6499257"/>
                  <a:gd name="connsiteY42" fmla="*/ 1419754 h 3498714"/>
                  <a:gd name="connsiteX43" fmla="*/ 1042136 w 6499257"/>
                  <a:gd name="connsiteY43" fmla="*/ 3337652 h 3498714"/>
                  <a:gd name="connsiteX44" fmla="*/ 881075 w 6499257"/>
                  <a:gd name="connsiteY44" fmla="*/ 3498714 h 3498714"/>
                  <a:gd name="connsiteX45" fmla="*/ 720012 w 6499257"/>
                  <a:gd name="connsiteY45" fmla="*/ 3337652 h 3498714"/>
                  <a:gd name="connsiteX46" fmla="*/ 720012 w 6499257"/>
                  <a:gd name="connsiteY46" fmla="*/ 2125717 h 3498714"/>
                  <a:gd name="connsiteX47" fmla="*/ 718947 w 6499257"/>
                  <a:gd name="connsiteY47" fmla="*/ 2033194 h 3498714"/>
                  <a:gd name="connsiteX48" fmla="*/ 714162 w 6499257"/>
                  <a:gd name="connsiteY48" fmla="*/ 2028410 h 3498714"/>
                  <a:gd name="connsiteX49" fmla="*/ 654759 w 6499257"/>
                  <a:gd name="connsiteY49" fmla="*/ 2028410 h 3498714"/>
                  <a:gd name="connsiteX50" fmla="*/ 649974 w 6499257"/>
                  <a:gd name="connsiteY50" fmla="*/ 2033194 h 3498714"/>
                  <a:gd name="connsiteX51" fmla="*/ 649974 w 6499257"/>
                  <a:gd name="connsiteY51" fmla="*/ 2125717 h 3498714"/>
                  <a:gd name="connsiteX52" fmla="*/ 649574 w 6499257"/>
                  <a:gd name="connsiteY52" fmla="*/ 3337652 h 3498714"/>
                  <a:gd name="connsiteX53" fmla="*/ 488511 w 6499257"/>
                  <a:gd name="connsiteY53" fmla="*/ 3498714 h 3498714"/>
                  <a:gd name="connsiteX54" fmla="*/ 327450 w 6499257"/>
                  <a:gd name="connsiteY54" fmla="*/ 3337652 h 3498714"/>
                  <a:gd name="connsiteX55" fmla="*/ 327450 w 6499257"/>
                  <a:gd name="connsiteY55" fmla="*/ 1458216 h 3498714"/>
                  <a:gd name="connsiteX56" fmla="*/ 322427 w 6499257"/>
                  <a:gd name="connsiteY56" fmla="*/ 1098205 h 3498714"/>
                  <a:gd name="connsiteX57" fmla="*/ 317058 w 6499257"/>
                  <a:gd name="connsiteY57" fmla="*/ 1092836 h 3498714"/>
                  <a:gd name="connsiteX58" fmla="*/ 263371 w 6499257"/>
                  <a:gd name="connsiteY58" fmla="*/ 1092836 h 3498714"/>
                  <a:gd name="connsiteX59" fmla="*/ 258001 w 6499257"/>
                  <a:gd name="connsiteY59" fmla="*/ 1098205 h 3498714"/>
                  <a:gd name="connsiteX60" fmla="*/ 258001 w 6499257"/>
                  <a:gd name="connsiteY60" fmla="*/ 1444446 h 3498714"/>
                  <a:gd name="connsiteX61" fmla="*/ 257700 w 6499257"/>
                  <a:gd name="connsiteY61" fmla="*/ 1444370 h 3498714"/>
                  <a:gd name="connsiteX62" fmla="*/ 257700 w 6499257"/>
                  <a:gd name="connsiteY62" fmla="*/ 1912573 h 3498714"/>
                  <a:gd name="connsiteX63" fmla="*/ 128850 w 6499257"/>
                  <a:gd name="connsiteY63" fmla="*/ 2041423 h 3498714"/>
                  <a:gd name="connsiteX64" fmla="*/ 0 w 6499257"/>
                  <a:gd name="connsiteY64" fmla="*/ 1912573 h 3498714"/>
                  <a:gd name="connsiteX65" fmla="*/ 0 w 6499257"/>
                  <a:gd name="connsiteY65" fmla="*/ 1101802 h 3498714"/>
                  <a:gd name="connsiteX66" fmla="*/ 0 w 6499257"/>
                  <a:gd name="connsiteY66" fmla="*/ 1003338 h 3498714"/>
                  <a:gd name="connsiteX67" fmla="*/ 0 w 6499257"/>
                  <a:gd name="connsiteY67" fmla="*/ 982486 h 3498714"/>
                  <a:gd name="connsiteX68" fmla="*/ 12733 w 6499257"/>
                  <a:gd name="connsiteY68" fmla="*/ 894663 h 3498714"/>
                  <a:gd name="connsiteX69" fmla="*/ 20539 w 6499257"/>
                  <a:gd name="connsiteY69" fmla="*/ 868773 h 3498714"/>
                  <a:gd name="connsiteX70" fmla="*/ 358791 w 6499257"/>
                  <a:gd name="connsiteY70" fmla="*/ 644545 h 3498714"/>
                  <a:gd name="connsiteX71" fmla="*/ 682782 w 6499257"/>
                  <a:gd name="connsiteY71" fmla="*/ 0 h 3498714"/>
                  <a:gd name="connsiteX72" fmla="*/ 966919 w 6499257"/>
                  <a:gd name="connsiteY72" fmla="*/ 284138 h 3498714"/>
                  <a:gd name="connsiteX73" fmla="*/ 682782 w 6499257"/>
                  <a:gd name="connsiteY73" fmla="*/ 568275 h 3498714"/>
                  <a:gd name="connsiteX74" fmla="*/ 398645 w 6499257"/>
                  <a:gd name="connsiteY74" fmla="*/ 284138 h 3498714"/>
                  <a:gd name="connsiteX75" fmla="*/ 682782 w 6499257"/>
                  <a:gd name="connsiteY75" fmla="*/ 0 h 3498714"/>
                  <a:gd name="connsiteX76" fmla="*/ 4707054 w 6499257"/>
                  <a:gd name="connsiteY76" fmla="*/ 2902312 h 3498714"/>
                  <a:gd name="connsiteX77" fmla="*/ 4818179 w 6499257"/>
                  <a:gd name="connsiteY77" fmla="*/ 3013437 h 3498714"/>
                  <a:gd name="connsiteX78" fmla="*/ 4707054 w 6499257"/>
                  <a:gd name="connsiteY78" fmla="*/ 3124562 h 3498714"/>
                  <a:gd name="connsiteX79" fmla="*/ 4545125 w 6499257"/>
                  <a:gd name="connsiteY79" fmla="*/ 3124562 h 3498714"/>
                  <a:gd name="connsiteX80" fmla="*/ 4545125 w 6499257"/>
                  <a:gd name="connsiteY80" fmla="*/ 3361625 h 3498714"/>
                  <a:gd name="connsiteX81" fmla="*/ 4436113 w 6499257"/>
                  <a:gd name="connsiteY81" fmla="*/ 3470637 h 3498714"/>
                  <a:gd name="connsiteX82" fmla="*/ 4235039 w 6499257"/>
                  <a:gd name="connsiteY82" fmla="*/ 3470637 h 3498714"/>
                  <a:gd name="connsiteX83" fmla="*/ 4126027 w 6499257"/>
                  <a:gd name="connsiteY83" fmla="*/ 3361625 h 3498714"/>
                  <a:gd name="connsiteX84" fmla="*/ 4126027 w 6499257"/>
                  <a:gd name="connsiteY84" fmla="*/ 3124562 h 3498714"/>
                  <a:gd name="connsiteX85" fmla="*/ 2589325 w 6499257"/>
                  <a:gd name="connsiteY85" fmla="*/ 3124562 h 3498714"/>
                  <a:gd name="connsiteX86" fmla="*/ 2589325 w 6499257"/>
                  <a:gd name="connsiteY86" fmla="*/ 3361625 h 3498714"/>
                  <a:gd name="connsiteX87" fmla="*/ 2480313 w 6499257"/>
                  <a:gd name="connsiteY87" fmla="*/ 3470637 h 3498714"/>
                  <a:gd name="connsiteX88" fmla="*/ 2279239 w 6499257"/>
                  <a:gd name="connsiteY88" fmla="*/ 3470637 h 3498714"/>
                  <a:gd name="connsiteX89" fmla="*/ 2170227 w 6499257"/>
                  <a:gd name="connsiteY89" fmla="*/ 3361625 h 3498714"/>
                  <a:gd name="connsiteX90" fmla="*/ 2170227 w 6499257"/>
                  <a:gd name="connsiteY90" fmla="*/ 3124562 h 3498714"/>
                  <a:gd name="connsiteX91" fmla="*/ 2052754 w 6499257"/>
                  <a:gd name="connsiteY91" fmla="*/ 3124562 h 3498714"/>
                  <a:gd name="connsiteX92" fmla="*/ 1941629 w 6499257"/>
                  <a:gd name="connsiteY92" fmla="*/ 3013437 h 3498714"/>
                  <a:gd name="connsiteX93" fmla="*/ 2052754 w 6499257"/>
                  <a:gd name="connsiteY93" fmla="*/ 2902312 h 3498714"/>
                  <a:gd name="connsiteX94" fmla="*/ 682782 w 6499257"/>
                  <a:gd name="connsiteY94" fmla="*/ 0 h 3498714"/>
                  <a:gd name="connsiteX95" fmla="*/ 4492583 w 6499257"/>
                  <a:gd name="connsiteY95" fmla="*/ 2089512 h 3498714"/>
                  <a:gd name="connsiteX96" fmla="*/ 4311608 w 6499257"/>
                  <a:gd name="connsiteY96" fmla="*/ 2270487 h 3498714"/>
                  <a:gd name="connsiteX97" fmla="*/ 4492583 w 6499257"/>
                  <a:gd name="connsiteY97" fmla="*/ 2451462 h 3498714"/>
                  <a:gd name="connsiteX98" fmla="*/ 5407618 w 6499257"/>
                  <a:gd name="connsiteY98" fmla="*/ 2468742 h 3498714"/>
                  <a:gd name="connsiteX99" fmla="*/ 6498753 w 6499257"/>
                  <a:gd name="connsiteY99" fmla="*/ 2404799 h 3498714"/>
                  <a:gd name="connsiteX100" fmla="*/ 5388995 w 6499257"/>
                  <a:gd name="connsiteY100" fmla="*/ 2075460 h 3498714"/>
                  <a:gd name="connsiteX0" fmla="*/ 2979061 w 6499257"/>
                  <a:gd name="connsiteY0" fmla="*/ 2089512 h 3498714"/>
                  <a:gd name="connsiteX1" fmla="*/ 2671086 w 6499257"/>
                  <a:gd name="connsiteY1" fmla="*/ 2397487 h 3498714"/>
                  <a:gd name="connsiteX2" fmla="*/ 2671086 w 6499257"/>
                  <a:gd name="connsiteY2" fmla="*/ 2584811 h 3498714"/>
                  <a:gd name="connsiteX3" fmla="*/ 4083961 w 6499257"/>
                  <a:gd name="connsiteY3" fmla="*/ 2584811 h 3498714"/>
                  <a:gd name="connsiteX4" fmla="*/ 4083961 w 6499257"/>
                  <a:gd name="connsiteY4" fmla="*/ 2397487 h 3498714"/>
                  <a:gd name="connsiteX5" fmla="*/ 3775986 w 6499257"/>
                  <a:gd name="connsiteY5" fmla="*/ 2089512 h 3498714"/>
                  <a:gd name="connsiteX6" fmla="*/ 2979061 w 6499257"/>
                  <a:gd name="connsiteY6" fmla="*/ 2089512 h 3498714"/>
                  <a:gd name="connsiteX7" fmla="*/ 2251033 w 6499257"/>
                  <a:gd name="connsiteY7" fmla="*/ 2089512 h 3498714"/>
                  <a:gd name="connsiteX8" fmla="*/ 2070058 w 6499257"/>
                  <a:gd name="connsiteY8" fmla="*/ 2270487 h 3498714"/>
                  <a:gd name="connsiteX9" fmla="*/ 2251033 w 6499257"/>
                  <a:gd name="connsiteY9" fmla="*/ 2451462 h 3498714"/>
                  <a:gd name="connsiteX10" fmla="*/ 2432008 w 6499257"/>
                  <a:gd name="connsiteY10" fmla="*/ 2270487 h 3498714"/>
                  <a:gd name="connsiteX11" fmla="*/ 2251033 w 6499257"/>
                  <a:gd name="connsiteY11" fmla="*/ 2089512 h 3498714"/>
                  <a:gd name="connsiteX12" fmla="*/ 2842751 w 6499257"/>
                  <a:gd name="connsiteY12" fmla="*/ 1749356 h 3498714"/>
                  <a:gd name="connsiteX13" fmla="*/ 2392797 w 6499257"/>
                  <a:gd name="connsiteY13" fmla="*/ 1878907 h 3498714"/>
                  <a:gd name="connsiteX14" fmla="*/ 2478781 w 6499257"/>
                  <a:gd name="connsiteY14" fmla="*/ 1920808 h 3498714"/>
                  <a:gd name="connsiteX15" fmla="*/ 2842751 w 6499257"/>
                  <a:gd name="connsiteY15" fmla="*/ 1749356 h 3498714"/>
                  <a:gd name="connsiteX16" fmla="*/ 2534724 w 6499257"/>
                  <a:gd name="connsiteY16" fmla="*/ 982297 h 3498714"/>
                  <a:gd name="connsiteX17" fmla="*/ 4546612 w 6499257"/>
                  <a:gd name="connsiteY17" fmla="*/ 1856643 h 3498714"/>
                  <a:gd name="connsiteX18" fmla="*/ 4936448 w 6499257"/>
                  <a:gd name="connsiteY18" fmla="*/ 2279217 h 3498714"/>
                  <a:gd name="connsiteX19" fmla="*/ 4802103 w 6499257"/>
                  <a:gd name="connsiteY19" fmla="*/ 2588456 h 3498714"/>
                  <a:gd name="connsiteX20" fmla="*/ 4904699 w 6499257"/>
                  <a:gd name="connsiteY20" fmla="*/ 2705462 h 3498714"/>
                  <a:gd name="connsiteX21" fmla="*/ 4904698 w 6499257"/>
                  <a:gd name="connsiteY21" fmla="*/ 2705462 h 3498714"/>
                  <a:gd name="connsiteX22" fmla="*/ 4784047 w 6499257"/>
                  <a:gd name="connsiteY22" fmla="*/ 2826113 h 3498714"/>
                  <a:gd name="connsiteX23" fmla="*/ 1970999 w 6499257"/>
                  <a:gd name="connsiteY23" fmla="*/ 2826112 h 3498714"/>
                  <a:gd name="connsiteX24" fmla="*/ 1850348 w 6499257"/>
                  <a:gd name="connsiteY24" fmla="*/ 2705462 h 3498714"/>
                  <a:gd name="connsiteX25" fmla="*/ 1956769 w 6499257"/>
                  <a:gd name="connsiteY25" fmla="*/ 2587684 h 3498714"/>
                  <a:gd name="connsiteX26" fmla="*/ 1823360 w 6499257"/>
                  <a:gd name="connsiteY26" fmla="*/ 2279217 h 3498714"/>
                  <a:gd name="connsiteX27" fmla="*/ 2217440 w 6499257"/>
                  <a:gd name="connsiteY27" fmla="*/ 1856216 h 3498714"/>
                  <a:gd name="connsiteX28" fmla="*/ 2534724 w 6499257"/>
                  <a:gd name="connsiteY28" fmla="*/ 982297 h 3498714"/>
                  <a:gd name="connsiteX29" fmla="*/ 358791 w 6499257"/>
                  <a:gd name="connsiteY29" fmla="*/ 644545 h 3498714"/>
                  <a:gd name="connsiteX30" fmla="*/ 1006774 w 6499257"/>
                  <a:gd name="connsiteY30" fmla="*/ 644545 h 3498714"/>
                  <a:gd name="connsiteX31" fmla="*/ 1542636 w 6499257"/>
                  <a:gd name="connsiteY31" fmla="*/ 1193969 h 3498714"/>
                  <a:gd name="connsiteX32" fmla="*/ 1929878 w 6499257"/>
                  <a:gd name="connsiteY32" fmla="*/ 1193970 h 3498714"/>
                  <a:gd name="connsiteX33" fmla="*/ 2070059 w 6499257"/>
                  <a:gd name="connsiteY33" fmla="*/ 1334152 h 3498714"/>
                  <a:gd name="connsiteX34" fmla="*/ 1929878 w 6499257"/>
                  <a:gd name="connsiteY34" fmla="*/ 1474333 h 3498714"/>
                  <a:gd name="connsiteX35" fmla="*/ 1520943 w 6499257"/>
                  <a:gd name="connsiteY35" fmla="*/ 1470388 h 3498714"/>
                  <a:gd name="connsiteX36" fmla="*/ 1332825 w 6499257"/>
                  <a:gd name="connsiteY36" fmla="*/ 1367201 h 3498714"/>
                  <a:gd name="connsiteX37" fmla="*/ 1106501 w 6499257"/>
                  <a:gd name="connsiteY37" fmla="*/ 1098289 h 3498714"/>
                  <a:gd name="connsiteX38" fmla="*/ 1101049 w 6499257"/>
                  <a:gd name="connsiteY38" fmla="*/ 1092836 h 3498714"/>
                  <a:gd name="connsiteX39" fmla="*/ 1046523 w 6499257"/>
                  <a:gd name="connsiteY39" fmla="*/ 1092836 h 3498714"/>
                  <a:gd name="connsiteX40" fmla="*/ 1041071 w 6499257"/>
                  <a:gd name="connsiteY40" fmla="*/ 1098289 h 3498714"/>
                  <a:gd name="connsiteX41" fmla="*/ 1042136 w 6499257"/>
                  <a:gd name="connsiteY41" fmla="*/ 1419754 h 3498714"/>
                  <a:gd name="connsiteX42" fmla="*/ 1042136 w 6499257"/>
                  <a:gd name="connsiteY42" fmla="*/ 3337652 h 3498714"/>
                  <a:gd name="connsiteX43" fmla="*/ 881075 w 6499257"/>
                  <a:gd name="connsiteY43" fmla="*/ 3498714 h 3498714"/>
                  <a:gd name="connsiteX44" fmla="*/ 720012 w 6499257"/>
                  <a:gd name="connsiteY44" fmla="*/ 3337652 h 3498714"/>
                  <a:gd name="connsiteX45" fmla="*/ 720012 w 6499257"/>
                  <a:gd name="connsiteY45" fmla="*/ 2125717 h 3498714"/>
                  <a:gd name="connsiteX46" fmla="*/ 718947 w 6499257"/>
                  <a:gd name="connsiteY46" fmla="*/ 2033194 h 3498714"/>
                  <a:gd name="connsiteX47" fmla="*/ 714162 w 6499257"/>
                  <a:gd name="connsiteY47" fmla="*/ 2028410 h 3498714"/>
                  <a:gd name="connsiteX48" fmla="*/ 654759 w 6499257"/>
                  <a:gd name="connsiteY48" fmla="*/ 2028410 h 3498714"/>
                  <a:gd name="connsiteX49" fmla="*/ 649974 w 6499257"/>
                  <a:gd name="connsiteY49" fmla="*/ 2033194 h 3498714"/>
                  <a:gd name="connsiteX50" fmla="*/ 649974 w 6499257"/>
                  <a:gd name="connsiteY50" fmla="*/ 2125717 h 3498714"/>
                  <a:gd name="connsiteX51" fmla="*/ 649574 w 6499257"/>
                  <a:gd name="connsiteY51" fmla="*/ 3337652 h 3498714"/>
                  <a:gd name="connsiteX52" fmla="*/ 488511 w 6499257"/>
                  <a:gd name="connsiteY52" fmla="*/ 3498714 h 3498714"/>
                  <a:gd name="connsiteX53" fmla="*/ 327450 w 6499257"/>
                  <a:gd name="connsiteY53" fmla="*/ 3337652 h 3498714"/>
                  <a:gd name="connsiteX54" fmla="*/ 327450 w 6499257"/>
                  <a:gd name="connsiteY54" fmla="*/ 1458216 h 3498714"/>
                  <a:gd name="connsiteX55" fmla="*/ 322427 w 6499257"/>
                  <a:gd name="connsiteY55" fmla="*/ 1098205 h 3498714"/>
                  <a:gd name="connsiteX56" fmla="*/ 317058 w 6499257"/>
                  <a:gd name="connsiteY56" fmla="*/ 1092836 h 3498714"/>
                  <a:gd name="connsiteX57" fmla="*/ 263371 w 6499257"/>
                  <a:gd name="connsiteY57" fmla="*/ 1092836 h 3498714"/>
                  <a:gd name="connsiteX58" fmla="*/ 258001 w 6499257"/>
                  <a:gd name="connsiteY58" fmla="*/ 1098205 h 3498714"/>
                  <a:gd name="connsiteX59" fmla="*/ 258001 w 6499257"/>
                  <a:gd name="connsiteY59" fmla="*/ 1444446 h 3498714"/>
                  <a:gd name="connsiteX60" fmla="*/ 257700 w 6499257"/>
                  <a:gd name="connsiteY60" fmla="*/ 1444370 h 3498714"/>
                  <a:gd name="connsiteX61" fmla="*/ 257700 w 6499257"/>
                  <a:gd name="connsiteY61" fmla="*/ 1912573 h 3498714"/>
                  <a:gd name="connsiteX62" fmla="*/ 128850 w 6499257"/>
                  <a:gd name="connsiteY62" fmla="*/ 2041423 h 3498714"/>
                  <a:gd name="connsiteX63" fmla="*/ 0 w 6499257"/>
                  <a:gd name="connsiteY63" fmla="*/ 1912573 h 3498714"/>
                  <a:gd name="connsiteX64" fmla="*/ 0 w 6499257"/>
                  <a:gd name="connsiteY64" fmla="*/ 1101802 h 3498714"/>
                  <a:gd name="connsiteX65" fmla="*/ 0 w 6499257"/>
                  <a:gd name="connsiteY65" fmla="*/ 1003338 h 3498714"/>
                  <a:gd name="connsiteX66" fmla="*/ 0 w 6499257"/>
                  <a:gd name="connsiteY66" fmla="*/ 982486 h 3498714"/>
                  <a:gd name="connsiteX67" fmla="*/ 12733 w 6499257"/>
                  <a:gd name="connsiteY67" fmla="*/ 894663 h 3498714"/>
                  <a:gd name="connsiteX68" fmla="*/ 20539 w 6499257"/>
                  <a:gd name="connsiteY68" fmla="*/ 868773 h 3498714"/>
                  <a:gd name="connsiteX69" fmla="*/ 358791 w 6499257"/>
                  <a:gd name="connsiteY69" fmla="*/ 644545 h 3498714"/>
                  <a:gd name="connsiteX70" fmla="*/ 682782 w 6499257"/>
                  <a:gd name="connsiteY70" fmla="*/ 0 h 3498714"/>
                  <a:gd name="connsiteX71" fmla="*/ 966919 w 6499257"/>
                  <a:gd name="connsiteY71" fmla="*/ 284138 h 3498714"/>
                  <a:gd name="connsiteX72" fmla="*/ 682782 w 6499257"/>
                  <a:gd name="connsiteY72" fmla="*/ 568275 h 3498714"/>
                  <a:gd name="connsiteX73" fmla="*/ 398645 w 6499257"/>
                  <a:gd name="connsiteY73" fmla="*/ 284138 h 3498714"/>
                  <a:gd name="connsiteX74" fmla="*/ 682782 w 6499257"/>
                  <a:gd name="connsiteY74" fmla="*/ 0 h 3498714"/>
                  <a:gd name="connsiteX75" fmla="*/ 4707054 w 6499257"/>
                  <a:gd name="connsiteY75" fmla="*/ 2902312 h 3498714"/>
                  <a:gd name="connsiteX76" fmla="*/ 4818179 w 6499257"/>
                  <a:gd name="connsiteY76" fmla="*/ 3013437 h 3498714"/>
                  <a:gd name="connsiteX77" fmla="*/ 4707054 w 6499257"/>
                  <a:gd name="connsiteY77" fmla="*/ 3124562 h 3498714"/>
                  <a:gd name="connsiteX78" fmla="*/ 4545125 w 6499257"/>
                  <a:gd name="connsiteY78" fmla="*/ 3124562 h 3498714"/>
                  <a:gd name="connsiteX79" fmla="*/ 4545125 w 6499257"/>
                  <a:gd name="connsiteY79" fmla="*/ 3361625 h 3498714"/>
                  <a:gd name="connsiteX80" fmla="*/ 4436113 w 6499257"/>
                  <a:gd name="connsiteY80" fmla="*/ 3470637 h 3498714"/>
                  <a:gd name="connsiteX81" fmla="*/ 4235039 w 6499257"/>
                  <a:gd name="connsiteY81" fmla="*/ 3470637 h 3498714"/>
                  <a:gd name="connsiteX82" fmla="*/ 4126027 w 6499257"/>
                  <a:gd name="connsiteY82" fmla="*/ 3361625 h 3498714"/>
                  <a:gd name="connsiteX83" fmla="*/ 4126027 w 6499257"/>
                  <a:gd name="connsiteY83" fmla="*/ 3124562 h 3498714"/>
                  <a:gd name="connsiteX84" fmla="*/ 2589325 w 6499257"/>
                  <a:gd name="connsiteY84" fmla="*/ 3124562 h 3498714"/>
                  <a:gd name="connsiteX85" fmla="*/ 2589325 w 6499257"/>
                  <a:gd name="connsiteY85" fmla="*/ 3361625 h 3498714"/>
                  <a:gd name="connsiteX86" fmla="*/ 2480313 w 6499257"/>
                  <a:gd name="connsiteY86" fmla="*/ 3470637 h 3498714"/>
                  <a:gd name="connsiteX87" fmla="*/ 2279239 w 6499257"/>
                  <a:gd name="connsiteY87" fmla="*/ 3470637 h 3498714"/>
                  <a:gd name="connsiteX88" fmla="*/ 2170227 w 6499257"/>
                  <a:gd name="connsiteY88" fmla="*/ 3361625 h 3498714"/>
                  <a:gd name="connsiteX89" fmla="*/ 2170227 w 6499257"/>
                  <a:gd name="connsiteY89" fmla="*/ 3124562 h 3498714"/>
                  <a:gd name="connsiteX90" fmla="*/ 2052754 w 6499257"/>
                  <a:gd name="connsiteY90" fmla="*/ 3124562 h 3498714"/>
                  <a:gd name="connsiteX91" fmla="*/ 1941629 w 6499257"/>
                  <a:gd name="connsiteY91" fmla="*/ 3013437 h 3498714"/>
                  <a:gd name="connsiteX92" fmla="*/ 2052754 w 6499257"/>
                  <a:gd name="connsiteY92" fmla="*/ 2902312 h 3498714"/>
                  <a:gd name="connsiteX93" fmla="*/ 682782 w 6499257"/>
                  <a:gd name="connsiteY93" fmla="*/ 0 h 3498714"/>
                  <a:gd name="connsiteX94" fmla="*/ 4492583 w 6499257"/>
                  <a:gd name="connsiteY94" fmla="*/ 2089512 h 3498714"/>
                  <a:gd name="connsiteX95" fmla="*/ 4311608 w 6499257"/>
                  <a:gd name="connsiteY95" fmla="*/ 2270487 h 3498714"/>
                  <a:gd name="connsiteX96" fmla="*/ 4492583 w 6499257"/>
                  <a:gd name="connsiteY96" fmla="*/ 2451462 h 3498714"/>
                  <a:gd name="connsiteX97" fmla="*/ 5407618 w 6499257"/>
                  <a:gd name="connsiteY97" fmla="*/ 2468742 h 3498714"/>
                  <a:gd name="connsiteX98" fmla="*/ 6498753 w 6499257"/>
                  <a:gd name="connsiteY98" fmla="*/ 2404799 h 3498714"/>
                  <a:gd name="connsiteX99" fmla="*/ 5388995 w 6499257"/>
                  <a:gd name="connsiteY99" fmla="*/ 2075460 h 3498714"/>
                  <a:gd name="connsiteX0" fmla="*/ 2979061 w 6499257"/>
                  <a:gd name="connsiteY0" fmla="*/ 2089512 h 3498714"/>
                  <a:gd name="connsiteX1" fmla="*/ 2671086 w 6499257"/>
                  <a:gd name="connsiteY1" fmla="*/ 2397487 h 3498714"/>
                  <a:gd name="connsiteX2" fmla="*/ 2671086 w 6499257"/>
                  <a:gd name="connsiteY2" fmla="*/ 2584811 h 3498714"/>
                  <a:gd name="connsiteX3" fmla="*/ 4083961 w 6499257"/>
                  <a:gd name="connsiteY3" fmla="*/ 2584811 h 3498714"/>
                  <a:gd name="connsiteX4" fmla="*/ 4083961 w 6499257"/>
                  <a:gd name="connsiteY4" fmla="*/ 2397487 h 3498714"/>
                  <a:gd name="connsiteX5" fmla="*/ 3775986 w 6499257"/>
                  <a:gd name="connsiteY5" fmla="*/ 2089512 h 3498714"/>
                  <a:gd name="connsiteX6" fmla="*/ 2979061 w 6499257"/>
                  <a:gd name="connsiteY6" fmla="*/ 2089512 h 3498714"/>
                  <a:gd name="connsiteX7" fmla="*/ 2251033 w 6499257"/>
                  <a:gd name="connsiteY7" fmla="*/ 2089512 h 3498714"/>
                  <a:gd name="connsiteX8" fmla="*/ 2070058 w 6499257"/>
                  <a:gd name="connsiteY8" fmla="*/ 2270487 h 3498714"/>
                  <a:gd name="connsiteX9" fmla="*/ 2251033 w 6499257"/>
                  <a:gd name="connsiteY9" fmla="*/ 2451462 h 3498714"/>
                  <a:gd name="connsiteX10" fmla="*/ 2432008 w 6499257"/>
                  <a:gd name="connsiteY10" fmla="*/ 2270487 h 3498714"/>
                  <a:gd name="connsiteX11" fmla="*/ 2251033 w 6499257"/>
                  <a:gd name="connsiteY11" fmla="*/ 2089512 h 3498714"/>
                  <a:gd name="connsiteX12" fmla="*/ 2842751 w 6499257"/>
                  <a:gd name="connsiteY12" fmla="*/ 1749356 h 3498714"/>
                  <a:gd name="connsiteX13" fmla="*/ 2392797 w 6499257"/>
                  <a:gd name="connsiteY13" fmla="*/ 1878907 h 3498714"/>
                  <a:gd name="connsiteX14" fmla="*/ 2478781 w 6499257"/>
                  <a:gd name="connsiteY14" fmla="*/ 1920808 h 3498714"/>
                  <a:gd name="connsiteX15" fmla="*/ 2842751 w 6499257"/>
                  <a:gd name="connsiteY15" fmla="*/ 1749356 h 3498714"/>
                  <a:gd name="connsiteX16" fmla="*/ 2534724 w 6499257"/>
                  <a:gd name="connsiteY16" fmla="*/ 982297 h 3498714"/>
                  <a:gd name="connsiteX17" fmla="*/ 4936448 w 6499257"/>
                  <a:gd name="connsiteY17" fmla="*/ 2279217 h 3498714"/>
                  <a:gd name="connsiteX18" fmla="*/ 4802103 w 6499257"/>
                  <a:gd name="connsiteY18" fmla="*/ 2588456 h 3498714"/>
                  <a:gd name="connsiteX19" fmla="*/ 4904699 w 6499257"/>
                  <a:gd name="connsiteY19" fmla="*/ 2705462 h 3498714"/>
                  <a:gd name="connsiteX20" fmla="*/ 4904698 w 6499257"/>
                  <a:gd name="connsiteY20" fmla="*/ 2705462 h 3498714"/>
                  <a:gd name="connsiteX21" fmla="*/ 4784047 w 6499257"/>
                  <a:gd name="connsiteY21" fmla="*/ 2826113 h 3498714"/>
                  <a:gd name="connsiteX22" fmla="*/ 1970999 w 6499257"/>
                  <a:gd name="connsiteY22" fmla="*/ 2826112 h 3498714"/>
                  <a:gd name="connsiteX23" fmla="*/ 1850348 w 6499257"/>
                  <a:gd name="connsiteY23" fmla="*/ 2705462 h 3498714"/>
                  <a:gd name="connsiteX24" fmla="*/ 1956769 w 6499257"/>
                  <a:gd name="connsiteY24" fmla="*/ 2587684 h 3498714"/>
                  <a:gd name="connsiteX25" fmla="*/ 1823360 w 6499257"/>
                  <a:gd name="connsiteY25" fmla="*/ 2279217 h 3498714"/>
                  <a:gd name="connsiteX26" fmla="*/ 2217440 w 6499257"/>
                  <a:gd name="connsiteY26" fmla="*/ 1856216 h 3498714"/>
                  <a:gd name="connsiteX27" fmla="*/ 2534724 w 6499257"/>
                  <a:gd name="connsiteY27" fmla="*/ 982297 h 3498714"/>
                  <a:gd name="connsiteX28" fmla="*/ 358791 w 6499257"/>
                  <a:gd name="connsiteY28" fmla="*/ 644545 h 3498714"/>
                  <a:gd name="connsiteX29" fmla="*/ 1006774 w 6499257"/>
                  <a:gd name="connsiteY29" fmla="*/ 644545 h 3498714"/>
                  <a:gd name="connsiteX30" fmla="*/ 1542636 w 6499257"/>
                  <a:gd name="connsiteY30" fmla="*/ 1193969 h 3498714"/>
                  <a:gd name="connsiteX31" fmla="*/ 1929878 w 6499257"/>
                  <a:gd name="connsiteY31" fmla="*/ 1193970 h 3498714"/>
                  <a:gd name="connsiteX32" fmla="*/ 2070059 w 6499257"/>
                  <a:gd name="connsiteY32" fmla="*/ 1334152 h 3498714"/>
                  <a:gd name="connsiteX33" fmla="*/ 1929878 w 6499257"/>
                  <a:gd name="connsiteY33" fmla="*/ 1474333 h 3498714"/>
                  <a:gd name="connsiteX34" fmla="*/ 1520943 w 6499257"/>
                  <a:gd name="connsiteY34" fmla="*/ 1470388 h 3498714"/>
                  <a:gd name="connsiteX35" fmla="*/ 1332825 w 6499257"/>
                  <a:gd name="connsiteY35" fmla="*/ 1367201 h 3498714"/>
                  <a:gd name="connsiteX36" fmla="*/ 1106501 w 6499257"/>
                  <a:gd name="connsiteY36" fmla="*/ 1098289 h 3498714"/>
                  <a:gd name="connsiteX37" fmla="*/ 1101049 w 6499257"/>
                  <a:gd name="connsiteY37" fmla="*/ 1092836 h 3498714"/>
                  <a:gd name="connsiteX38" fmla="*/ 1046523 w 6499257"/>
                  <a:gd name="connsiteY38" fmla="*/ 1092836 h 3498714"/>
                  <a:gd name="connsiteX39" fmla="*/ 1041071 w 6499257"/>
                  <a:gd name="connsiteY39" fmla="*/ 1098289 h 3498714"/>
                  <a:gd name="connsiteX40" fmla="*/ 1042136 w 6499257"/>
                  <a:gd name="connsiteY40" fmla="*/ 1419754 h 3498714"/>
                  <a:gd name="connsiteX41" fmla="*/ 1042136 w 6499257"/>
                  <a:gd name="connsiteY41" fmla="*/ 3337652 h 3498714"/>
                  <a:gd name="connsiteX42" fmla="*/ 881075 w 6499257"/>
                  <a:gd name="connsiteY42" fmla="*/ 3498714 h 3498714"/>
                  <a:gd name="connsiteX43" fmla="*/ 720012 w 6499257"/>
                  <a:gd name="connsiteY43" fmla="*/ 3337652 h 3498714"/>
                  <a:gd name="connsiteX44" fmla="*/ 720012 w 6499257"/>
                  <a:gd name="connsiteY44" fmla="*/ 2125717 h 3498714"/>
                  <a:gd name="connsiteX45" fmla="*/ 718947 w 6499257"/>
                  <a:gd name="connsiteY45" fmla="*/ 2033194 h 3498714"/>
                  <a:gd name="connsiteX46" fmla="*/ 714162 w 6499257"/>
                  <a:gd name="connsiteY46" fmla="*/ 2028410 h 3498714"/>
                  <a:gd name="connsiteX47" fmla="*/ 654759 w 6499257"/>
                  <a:gd name="connsiteY47" fmla="*/ 2028410 h 3498714"/>
                  <a:gd name="connsiteX48" fmla="*/ 649974 w 6499257"/>
                  <a:gd name="connsiteY48" fmla="*/ 2033194 h 3498714"/>
                  <a:gd name="connsiteX49" fmla="*/ 649974 w 6499257"/>
                  <a:gd name="connsiteY49" fmla="*/ 2125717 h 3498714"/>
                  <a:gd name="connsiteX50" fmla="*/ 649574 w 6499257"/>
                  <a:gd name="connsiteY50" fmla="*/ 3337652 h 3498714"/>
                  <a:gd name="connsiteX51" fmla="*/ 488511 w 6499257"/>
                  <a:gd name="connsiteY51" fmla="*/ 3498714 h 3498714"/>
                  <a:gd name="connsiteX52" fmla="*/ 327450 w 6499257"/>
                  <a:gd name="connsiteY52" fmla="*/ 3337652 h 3498714"/>
                  <a:gd name="connsiteX53" fmla="*/ 327450 w 6499257"/>
                  <a:gd name="connsiteY53" fmla="*/ 1458216 h 3498714"/>
                  <a:gd name="connsiteX54" fmla="*/ 322427 w 6499257"/>
                  <a:gd name="connsiteY54" fmla="*/ 1098205 h 3498714"/>
                  <a:gd name="connsiteX55" fmla="*/ 317058 w 6499257"/>
                  <a:gd name="connsiteY55" fmla="*/ 1092836 h 3498714"/>
                  <a:gd name="connsiteX56" fmla="*/ 263371 w 6499257"/>
                  <a:gd name="connsiteY56" fmla="*/ 1092836 h 3498714"/>
                  <a:gd name="connsiteX57" fmla="*/ 258001 w 6499257"/>
                  <a:gd name="connsiteY57" fmla="*/ 1098205 h 3498714"/>
                  <a:gd name="connsiteX58" fmla="*/ 258001 w 6499257"/>
                  <a:gd name="connsiteY58" fmla="*/ 1444446 h 3498714"/>
                  <a:gd name="connsiteX59" fmla="*/ 257700 w 6499257"/>
                  <a:gd name="connsiteY59" fmla="*/ 1444370 h 3498714"/>
                  <a:gd name="connsiteX60" fmla="*/ 257700 w 6499257"/>
                  <a:gd name="connsiteY60" fmla="*/ 1912573 h 3498714"/>
                  <a:gd name="connsiteX61" fmla="*/ 128850 w 6499257"/>
                  <a:gd name="connsiteY61" fmla="*/ 2041423 h 3498714"/>
                  <a:gd name="connsiteX62" fmla="*/ 0 w 6499257"/>
                  <a:gd name="connsiteY62" fmla="*/ 1912573 h 3498714"/>
                  <a:gd name="connsiteX63" fmla="*/ 0 w 6499257"/>
                  <a:gd name="connsiteY63" fmla="*/ 1101802 h 3498714"/>
                  <a:gd name="connsiteX64" fmla="*/ 0 w 6499257"/>
                  <a:gd name="connsiteY64" fmla="*/ 1003338 h 3498714"/>
                  <a:gd name="connsiteX65" fmla="*/ 0 w 6499257"/>
                  <a:gd name="connsiteY65" fmla="*/ 982486 h 3498714"/>
                  <a:gd name="connsiteX66" fmla="*/ 12733 w 6499257"/>
                  <a:gd name="connsiteY66" fmla="*/ 894663 h 3498714"/>
                  <a:gd name="connsiteX67" fmla="*/ 20539 w 6499257"/>
                  <a:gd name="connsiteY67" fmla="*/ 868773 h 3498714"/>
                  <a:gd name="connsiteX68" fmla="*/ 358791 w 6499257"/>
                  <a:gd name="connsiteY68" fmla="*/ 644545 h 3498714"/>
                  <a:gd name="connsiteX69" fmla="*/ 682782 w 6499257"/>
                  <a:gd name="connsiteY69" fmla="*/ 0 h 3498714"/>
                  <a:gd name="connsiteX70" fmla="*/ 966919 w 6499257"/>
                  <a:gd name="connsiteY70" fmla="*/ 284138 h 3498714"/>
                  <a:gd name="connsiteX71" fmla="*/ 682782 w 6499257"/>
                  <a:gd name="connsiteY71" fmla="*/ 568275 h 3498714"/>
                  <a:gd name="connsiteX72" fmla="*/ 398645 w 6499257"/>
                  <a:gd name="connsiteY72" fmla="*/ 284138 h 3498714"/>
                  <a:gd name="connsiteX73" fmla="*/ 682782 w 6499257"/>
                  <a:gd name="connsiteY73" fmla="*/ 0 h 3498714"/>
                  <a:gd name="connsiteX74" fmla="*/ 4707054 w 6499257"/>
                  <a:gd name="connsiteY74" fmla="*/ 2902312 h 3498714"/>
                  <a:gd name="connsiteX75" fmla="*/ 4818179 w 6499257"/>
                  <a:gd name="connsiteY75" fmla="*/ 3013437 h 3498714"/>
                  <a:gd name="connsiteX76" fmla="*/ 4707054 w 6499257"/>
                  <a:gd name="connsiteY76" fmla="*/ 3124562 h 3498714"/>
                  <a:gd name="connsiteX77" fmla="*/ 4545125 w 6499257"/>
                  <a:gd name="connsiteY77" fmla="*/ 3124562 h 3498714"/>
                  <a:gd name="connsiteX78" fmla="*/ 4545125 w 6499257"/>
                  <a:gd name="connsiteY78" fmla="*/ 3361625 h 3498714"/>
                  <a:gd name="connsiteX79" fmla="*/ 4436113 w 6499257"/>
                  <a:gd name="connsiteY79" fmla="*/ 3470637 h 3498714"/>
                  <a:gd name="connsiteX80" fmla="*/ 4235039 w 6499257"/>
                  <a:gd name="connsiteY80" fmla="*/ 3470637 h 3498714"/>
                  <a:gd name="connsiteX81" fmla="*/ 4126027 w 6499257"/>
                  <a:gd name="connsiteY81" fmla="*/ 3361625 h 3498714"/>
                  <a:gd name="connsiteX82" fmla="*/ 4126027 w 6499257"/>
                  <a:gd name="connsiteY82" fmla="*/ 3124562 h 3498714"/>
                  <a:gd name="connsiteX83" fmla="*/ 2589325 w 6499257"/>
                  <a:gd name="connsiteY83" fmla="*/ 3124562 h 3498714"/>
                  <a:gd name="connsiteX84" fmla="*/ 2589325 w 6499257"/>
                  <a:gd name="connsiteY84" fmla="*/ 3361625 h 3498714"/>
                  <a:gd name="connsiteX85" fmla="*/ 2480313 w 6499257"/>
                  <a:gd name="connsiteY85" fmla="*/ 3470637 h 3498714"/>
                  <a:gd name="connsiteX86" fmla="*/ 2279239 w 6499257"/>
                  <a:gd name="connsiteY86" fmla="*/ 3470637 h 3498714"/>
                  <a:gd name="connsiteX87" fmla="*/ 2170227 w 6499257"/>
                  <a:gd name="connsiteY87" fmla="*/ 3361625 h 3498714"/>
                  <a:gd name="connsiteX88" fmla="*/ 2170227 w 6499257"/>
                  <a:gd name="connsiteY88" fmla="*/ 3124562 h 3498714"/>
                  <a:gd name="connsiteX89" fmla="*/ 2052754 w 6499257"/>
                  <a:gd name="connsiteY89" fmla="*/ 3124562 h 3498714"/>
                  <a:gd name="connsiteX90" fmla="*/ 1941629 w 6499257"/>
                  <a:gd name="connsiteY90" fmla="*/ 3013437 h 3498714"/>
                  <a:gd name="connsiteX91" fmla="*/ 2052754 w 6499257"/>
                  <a:gd name="connsiteY91" fmla="*/ 2902312 h 3498714"/>
                  <a:gd name="connsiteX92" fmla="*/ 682782 w 6499257"/>
                  <a:gd name="connsiteY92" fmla="*/ 0 h 3498714"/>
                  <a:gd name="connsiteX93" fmla="*/ 4492583 w 6499257"/>
                  <a:gd name="connsiteY93" fmla="*/ 2089512 h 3498714"/>
                  <a:gd name="connsiteX94" fmla="*/ 4311608 w 6499257"/>
                  <a:gd name="connsiteY94" fmla="*/ 2270487 h 3498714"/>
                  <a:gd name="connsiteX95" fmla="*/ 4492583 w 6499257"/>
                  <a:gd name="connsiteY95" fmla="*/ 2451462 h 3498714"/>
                  <a:gd name="connsiteX96" fmla="*/ 5407618 w 6499257"/>
                  <a:gd name="connsiteY96" fmla="*/ 2468742 h 3498714"/>
                  <a:gd name="connsiteX97" fmla="*/ 6498753 w 6499257"/>
                  <a:gd name="connsiteY97" fmla="*/ 2404799 h 3498714"/>
                  <a:gd name="connsiteX98" fmla="*/ 5388995 w 6499257"/>
                  <a:gd name="connsiteY98" fmla="*/ 2075460 h 3498714"/>
                  <a:gd name="connsiteX0" fmla="*/ 2979061 w 6499257"/>
                  <a:gd name="connsiteY0" fmla="*/ 2089512 h 3498714"/>
                  <a:gd name="connsiteX1" fmla="*/ 2671086 w 6499257"/>
                  <a:gd name="connsiteY1" fmla="*/ 2397487 h 3498714"/>
                  <a:gd name="connsiteX2" fmla="*/ 2671086 w 6499257"/>
                  <a:gd name="connsiteY2" fmla="*/ 2584811 h 3498714"/>
                  <a:gd name="connsiteX3" fmla="*/ 4083961 w 6499257"/>
                  <a:gd name="connsiteY3" fmla="*/ 2584811 h 3498714"/>
                  <a:gd name="connsiteX4" fmla="*/ 4083961 w 6499257"/>
                  <a:gd name="connsiteY4" fmla="*/ 2397487 h 3498714"/>
                  <a:gd name="connsiteX5" fmla="*/ 3775986 w 6499257"/>
                  <a:gd name="connsiteY5" fmla="*/ 2089512 h 3498714"/>
                  <a:gd name="connsiteX6" fmla="*/ 2979061 w 6499257"/>
                  <a:gd name="connsiteY6" fmla="*/ 2089512 h 3498714"/>
                  <a:gd name="connsiteX7" fmla="*/ 2251033 w 6499257"/>
                  <a:gd name="connsiteY7" fmla="*/ 2089512 h 3498714"/>
                  <a:gd name="connsiteX8" fmla="*/ 2070058 w 6499257"/>
                  <a:gd name="connsiteY8" fmla="*/ 2270487 h 3498714"/>
                  <a:gd name="connsiteX9" fmla="*/ 2251033 w 6499257"/>
                  <a:gd name="connsiteY9" fmla="*/ 2451462 h 3498714"/>
                  <a:gd name="connsiteX10" fmla="*/ 2432008 w 6499257"/>
                  <a:gd name="connsiteY10" fmla="*/ 2270487 h 3498714"/>
                  <a:gd name="connsiteX11" fmla="*/ 2251033 w 6499257"/>
                  <a:gd name="connsiteY11" fmla="*/ 2089512 h 3498714"/>
                  <a:gd name="connsiteX12" fmla="*/ 2842751 w 6499257"/>
                  <a:gd name="connsiteY12" fmla="*/ 1749356 h 3498714"/>
                  <a:gd name="connsiteX13" fmla="*/ 2392797 w 6499257"/>
                  <a:gd name="connsiteY13" fmla="*/ 1878907 h 3498714"/>
                  <a:gd name="connsiteX14" fmla="*/ 2478781 w 6499257"/>
                  <a:gd name="connsiteY14" fmla="*/ 1920808 h 3498714"/>
                  <a:gd name="connsiteX15" fmla="*/ 2842751 w 6499257"/>
                  <a:gd name="connsiteY15" fmla="*/ 1749356 h 3498714"/>
                  <a:gd name="connsiteX16" fmla="*/ 2534724 w 6499257"/>
                  <a:gd name="connsiteY16" fmla="*/ 982297 h 3498714"/>
                  <a:gd name="connsiteX17" fmla="*/ 4936448 w 6499257"/>
                  <a:gd name="connsiteY17" fmla="*/ 2279217 h 3498714"/>
                  <a:gd name="connsiteX18" fmla="*/ 4802103 w 6499257"/>
                  <a:gd name="connsiteY18" fmla="*/ 2588456 h 3498714"/>
                  <a:gd name="connsiteX19" fmla="*/ 4904699 w 6499257"/>
                  <a:gd name="connsiteY19" fmla="*/ 2705462 h 3498714"/>
                  <a:gd name="connsiteX20" fmla="*/ 4904698 w 6499257"/>
                  <a:gd name="connsiteY20" fmla="*/ 2705462 h 3498714"/>
                  <a:gd name="connsiteX21" fmla="*/ 4784047 w 6499257"/>
                  <a:gd name="connsiteY21" fmla="*/ 2826113 h 3498714"/>
                  <a:gd name="connsiteX22" fmla="*/ 1970999 w 6499257"/>
                  <a:gd name="connsiteY22" fmla="*/ 2826112 h 3498714"/>
                  <a:gd name="connsiteX23" fmla="*/ 1850348 w 6499257"/>
                  <a:gd name="connsiteY23" fmla="*/ 2705462 h 3498714"/>
                  <a:gd name="connsiteX24" fmla="*/ 1956769 w 6499257"/>
                  <a:gd name="connsiteY24" fmla="*/ 2587684 h 3498714"/>
                  <a:gd name="connsiteX25" fmla="*/ 1823360 w 6499257"/>
                  <a:gd name="connsiteY25" fmla="*/ 2279217 h 3498714"/>
                  <a:gd name="connsiteX26" fmla="*/ 2217440 w 6499257"/>
                  <a:gd name="connsiteY26" fmla="*/ 1856216 h 3498714"/>
                  <a:gd name="connsiteX27" fmla="*/ 2534724 w 6499257"/>
                  <a:gd name="connsiteY27" fmla="*/ 982297 h 3498714"/>
                  <a:gd name="connsiteX28" fmla="*/ 358791 w 6499257"/>
                  <a:gd name="connsiteY28" fmla="*/ 644545 h 3498714"/>
                  <a:gd name="connsiteX29" fmla="*/ 1006774 w 6499257"/>
                  <a:gd name="connsiteY29" fmla="*/ 644545 h 3498714"/>
                  <a:gd name="connsiteX30" fmla="*/ 1542636 w 6499257"/>
                  <a:gd name="connsiteY30" fmla="*/ 1193969 h 3498714"/>
                  <a:gd name="connsiteX31" fmla="*/ 1929878 w 6499257"/>
                  <a:gd name="connsiteY31" fmla="*/ 1193970 h 3498714"/>
                  <a:gd name="connsiteX32" fmla="*/ 2070059 w 6499257"/>
                  <a:gd name="connsiteY32" fmla="*/ 1334152 h 3498714"/>
                  <a:gd name="connsiteX33" fmla="*/ 1929878 w 6499257"/>
                  <a:gd name="connsiteY33" fmla="*/ 1474333 h 3498714"/>
                  <a:gd name="connsiteX34" fmla="*/ 1520943 w 6499257"/>
                  <a:gd name="connsiteY34" fmla="*/ 1470388 h 3498714"/>
                  <a:gd name="connsiteX35" fmla="*/ 1332825 w 6499257"/>
                  <a:gd name="connsiteY35" fmla="*/ 1367201 h 3498714"/>
                  <a:gd name="connsiteX36" fmla="*/ 1106501 w 6499257"/>
                  <a:gd name="connsiteY36" fmla="*/ 1098289 h 3498714"/>
                  <a:gd name="connsiteX37" fmla="*/ 1101049 w 6499257"/>
                  <a:gd name="connsiteY37" fmla="*/ 1092836 h 3498714"/>
                  <a:gd name="connsiteX38" fmla="*/ 1046523 w 6499257"/>
                  <a:gd name="connsiteY38" fmla="*/ 1092836 h 3498714"/>
                  <a:gd name="connsiteX39" fmla="*/ 1041071 w 6499257"/>
                  <a:gd name="connsiteY39" fmla="*/ 1098289 h 3498714"/>
                  <a:gd name="connsiteX40" fmla="*/ 1042136 w 6499257"/>
                  <a:gd name="connsiteY40" fmla="*/ 1419754 h 3498714"/>
                  <a:gd name="connsiteX41" fmla="*/ 1042136 w 6499257"/>
                  <a:gd name="connsiteY41" fmla="*/ 3337652 h 3498714"/>
                  <a:gd name="connsiteX42" fmla="*/ 881075 w 6499257"/>
                  <a:gd name="connsiteY42" fmla="*/ 3498714 h 3498714"/>
                  <a:gd name="connsiteX43" fmla="*/ 720012 w 6499257"/>
                  <a:gd name="connsiteY43" fmla="*/ 3337652 h 3498714"/>
                  <a:gd name="connsiteX44" fmla="*/ 720012 w 6499257"/>
                  <a:gd name="connsiteY44" fmla="*/ 2125717 h 3498714"/>
                  <a:gd name="connsiteX45" fmla="*/ 718947 w 6499257"/>
                  <a:gd name="connsiteY45" fmla="*/ 2033194 h 3498714"/>
                  <a:gd name="connsiteX46" fmla="*/ 714162 w 6499257"/>
                  <a:gd name="connsiteY46" fmla="*/ 2028410 h 3498714"/>
                  <a:gd name="connsiteX47" fmla="*/ 654759 w 6499257"/>
                  <a:gd name="connsiteY47" fmla="*/ 2028410 h 3498714"/>
                  <a:gd name="connsiteX48" fmla="*/ 649974 w 6499257"/>
                  <a:gd name="connsiteY48" fmla="*/ 2033194 h 3498714"/>
                  <a:gd name="connsiteX49" fmla="*/ 649974 w 6499257"/>
                  <a:gd name="connsiteY49" fmla="*/ 2125717 h 3498714"/>
                  <a:gd name="connsiteX50" fmla="*/ 649574 w 6499257"/>
                  <a:gd name="connsiteY50" fmla="*/ 3337652 h 3498714"/>
                  <a:gd name="connsiteX51" fmla="*/ 488511 w 6499257"/>
                  <a:gd name="connsiteY51" fmla="*/ 3498714 h 3498714"/>
                  <a:gd name="connsiteX52" fmla="*/ 327450 w 6499257"/>
                  <a:gd name="connsiteY52" fmla="*/ 3337652 h 3498714"/>
                  <a:gd name="connsiteX53" fmla="*/ 327450 w 6499257"/>
                  <a:gd name="connsiteY53" fmla="*/ 1458216 h 3498714"/>
                  <a:gd name="connsiteX54" fmla="*/ 322427 w 6499257"/>
                  <a:gd name="connsiteY54" fmla="*/ 1098205 h 3498714"/>
                  <a:gd name="connsiteX55" fmla="*/ 317058 w 6499257"/>
                  <a:gd name="connsiteY55" fmla="*/ 1092836 h 3498714"/>
                  <a:gd name="connsiteX56" fmla="*/ 263371 w 6499257"/>
                  <a:gd name="connsiteY56" fmla="*/ 1092836 h 3498714"/>
                  <a:gd name="connsiteX57" fmla="*/ 258001 w 6499257"/>
                  <a:gd name="connsiteY57" fmla="*/ 1098205 h 3498714"/>
                  <a:gd name="connsiteX58" fmla="*/ 258001 w 6499257"/>
                  <a:gd name="connsiteY58" fmla="*/ 1444446 h 3498714"/>
                  <a:gd name="connsiteX59" fmla="*/ 257700 w 6499257"/>
                  <a:gd name="connsiteY59" fmla="*/ 1444370 h 3498714"/>
                  <a:gd name="connsiteX60" fmla="*/ 257700 w 6499257"/>
                  <a:gd name="connsiteY60" fmla="*/ 1912573 h 3498714"/>
                  <a:gd name="connsiteX61" fmla="*/ 128850 w 6499257"/>
                  <a:gd name="connsiteY61" fmla="*/ 2041423 h 3498714"/>
                  <a:gd name="connsiteX62" fmla="*/ 0 w 6499257"/>
                  <a:gd name="connsiteY62" fmla="*/ 1912573 h 3498714"/>
                  <a:gd name="connsiteX63" fmla="*/ 0 w 6499257"/>
                  <a:gd name="connsiteY63" fmla="*/ 1101802 h 3498714"/>
                  <a:gd name="connsiteX64" fmla="*/ 0 w 6499257"/>
                  <a:gd name="connsiteY64" fmla="*/ 1003338 h 3498714"/>
                  <a:gd name="connsiteX65" fmla="*/ 0 w 6499257"/>
                  <a:gd name="connsiteY65" fmla="*/ 982486 h 3498714"/>
                  <a:gd name="connsiteX66" fmla="*/ 12733 w 6499257"/>
                  <a:gd name="connsiteY66" fmla="*/ 894663 h 3498714"/>
                  <a:gd name="connsiteX67" fmla="*/ 20539 w 6499257"/>
                  <a:gd name="connsiteY67" fmla="*/ 868773 h 3498714"/>
                  <a:gd name="connsiteX68" fmla="*/ 358791 w 6499257"/>
                  <a:gd name="connsiteY68" fmla="*/ 644545 h 3498714"/>
                  <a:gd name="connsiteX69" fmla="*/ 682782 w 6499257"/>
                  <a:gd name="connsiteY69" fmla="*/ 0 h 3498714"/>
                  <a:gd name="connsiteX70" fmla="*/ 966919 w 6499257"/>
                  <a:gd name="connsiteY70" fmla="*/ 284138 h 3498714"/>
                  <a:gd name="connsiteX71" fmla="*/ 682782 w 6499257"/>
                  <a:gd name="connsiteY71" fmla="*/ 568275 h 3498714"/>
                  <a:gd name="connsiteX72" fmla="*/ 398645 w 6499257"/>
                  <a:gd name="connsiteY72" fmla="*/ 284138 h 3498714"/>
                  <a:gd name="connsiteX73" fmla="*/ 682782 w 6499257"/>
                  <a:gd name="connsiteY73" fmla="*/ 0 h 3498714"/>
                  <a:gd name="connsiteX74" fmla="*/ 4707054 w 6499257"/>
                  <a:gd name="connsiteY74" fmla="*/ 2902312 h 3498714"/>
                  <a:gd name="connsiteX75" fmla="*/ 4818179 w 6499257"/>
                  <a:gd name="connsiteY75" fmla="*/ 3013437 h 3498714"/>
                  <a:gd name="connsiteX76" fmla="*/ 4707054 w 6499257"/>
                  <a:gd name="connsiteY76" fmla="*/ 3124562 h 3498714"/>
                  <a:gd name="connsiteX77" fmla="*/ 4545125 w 6499257"/>
                  <a:gd name="connsiteY77" fmla="*/ 3124562 h 3498714"/>
                  <a:gd name="connsiteX78" fmla="*/ 4545125 w 6499257"/>
                  <a:gd name="connsiteY78" fmla="*/ 3361625 h 3498714"/>
                  <a:gd name="connsiteX79" fmla="*/ 4436113 w 6499257"/>
                  <a:gd name="connsiteY79" fmla="*/ 3470637 h 3498714"/>
                  <a:gd name="connsiteX80" fmla="*/ 4235039 w 6499257"/>
                  <a:gd name="connsiteY80" fmla="*/ 3470637 h 3498714"/>
                  <a:gd name="connsiteX81" fmla="*/ 4126027 w 6499257"/>
                  <a:gd name="connsiteY81" fmla="*/ 3361625 h 3498714"/>
                  <a:gd name="connsiteX82" fmla="*/ 4126027 w 6499257"/>
                  <a:gd name="connsiteY82" fmla="*/ 3124562 h 3498714"/>
                  <a:gd name="connsiteX83" fmla="*/ 2589325 w 6499257"/>
                  <a:gd name="connsiteY83" fmla="*/ 3124562 h 3498714"/>
                  <a:gd name="connsiteX84" fmla="*/ 2589325 w 6499257"/>
                  <a:gd name="connsiteY84" fmla="*/ 3361625 h 3498714"/>
                  <a:gd name="connsiteX85" fmla="*/ 2480313 w 6499257"/>
                  <a:gd name="connsiteY85" fmla="*/ 3470637 h 3498714"/>
                  <a:gd name="connsiteX86" fmla="*/ 2279239 w 6499257"/>
                  <a:gd name="connsiteY86" fmla="*/ 3470637 h 3498714"/>
                  <a:gd name="connsiteX87" fmla="*/ 2170227 w 6499257"/>
                  <a:gd name="connsiteY87" fmla="*/ 3361625 h 3498714"/>
                  <a:gd name="connsiteX88" fmla="*/ 2170227 w 6499257"/>
                  <a:gd name="connsiteY88" fmla="*/ 3124562 h 3498714"/>
                  <a:gd name="connsiteX89" fmla="*/ 2052754 w 6499257"/>
                  <a:gd name="connsiteY89" fmla="*/ 3124562 h 3498714"/>
                  <a:gd name="connsiteX90" fmla="*/ 1941629 w 6499257"/>
                  <a:gd name="connsiteY90" fmla="*/ 3013437 h 3498714"/>
                  <a:gd name="connsiteX91" fmla="*/ 2052754 w 6499257"/>
                  <a:gd name="connsiteY91" fmla="*/ 2902312 h 3498714"/>
                  <a:gd name="connsiteX92" fmla="*/ 682782 w 6499257"/>
                  <a:gd name="connsiteY92" fmla="*/ 0 h 3498714"/>
                  <a:gd name="connsiteX93" fmla="*/ 4492583 w 6499257"/>
                  <a:gd name="connsiteY93" fmla="*/ 2089512 h 3498714"/>
                  <a:gd name="connsiteX94" fmla="*/ 4311608 w 6499257"/>
                  <a:gd name="connsiteY94" fmla="*/ 2270487 h 3498714"/>
                  <a:gd name="connsiteX95" fmla="*/ 4492583 w 6499257"/>
                  <a:gd name="connsiteY95" fmla="*/ 2451462 h 3498714"/>
                  <a:gd name="connsiteX96" fmla="*/ 5407618 w 6499257"/>
                  <a:gd name="connsiteY96" fmla="*/ 2468742 h 3498714"/>
                  <a:gd name="connsiteX97" fmla="*/ 6498753 w 6499257"/>
                  <a:gd name="connsiteY97" fmla="*/ 2404799 h 3498714"/>
                  <a:gd name="connsiteX98" fmla="*/ 5388995 w 6499257"/>
                  <a:gd name="connsiteY98" fmla="*/ 2075460 h 3498714"/>
                  <a:gd name="connsiteX0" fmla="*/ 2979061 w 6499257"/>
                  <a:gd name="connsiteY0" fmla="*/ 2089512 h 3498714"/>
                  <a:gd name="connsiteX1" fmla="*/ 2671086 w 6499257"/>
                  <a:gd name="connsiteY1" fmla="*/ 2397487 h 3498714"/>
                  <a:gd name="connsiteX2" fmla="*/ 2671086 w 6499257"/>
                  <a:gd name="connsiteY2" fmla="*/ 2584811 h 3498714"/>
                  <a:gd name="connsiteX3" fmla="*/ 4083961 w 6499257"/>
                  <a:gd name="connsiteY3" fmla="*/ 2584811 h 3498714"/>
                  <a:gd name="connsiteX4" fmla="*/ 4083961 w 6499257"/>
                  <a:gd name="connsiteY4" fmla="*/ 2397487 h 3498714"/>
                  <a:gd name="connsiteX5" fmla="*/ 3775986 w 6499257"/>
                  <a:gd name="connsiteY5" fmla="*/ 2089512 h 3498714"/>
                  <a:gd name="connsiteX6" fmla="*/ 2979061 w 6499257"/>
                  <a:gd name="connsiteY6" fmla="*/ 2089512 h 3498714"/>
                  <a:gd name="connsiteX7" fmla="*/ 2251033 w 6499257"/>
                  <a:gd name="connsiteY7" fmla="*/ 2089512 h 3498714"/>
                  <a:gd name="connsiteX8" fmla="*/ 2070058 w 6499257"/>
                  <a:gd name="connsiteY8" fmla="*/ 2270487 h 3498714"/>
                  <a:gd name="connsiteX9" fmla="*/ 2251033 w 6499257"/>
                  <a:gd name="connsiteY9" fmla="*/ 2451462 h 3498714"/>
                  <a:gd name="connsiteX10" fmla="*/ 2432008 w 6499257"/>
                  <a:gd name="connsiteY10" fmla="*/ 2270487 h 3498714"/>
                  <a:gd name="connsiteX11" fmla="*/ 2251033 w 6499257"/>
                  <a:gd name="connsiteY11" fmla="*/ 2089512 h 3498714"/>
                  <a:gd name="connsiteX12" fmla="*/ 2842751 w 6499257"/>
                  <a:gd name="connsiteY12" fmla="*/ 1749356 h 3498714"/>
                  <a:gd name="connsiteX13" fmla="*/ 2392797 w 6499257"/>
                  <a:gd name="connsiteY13" fmla="*/ 1878907 h 3498714"/>
                  <a:gd name="connsiteX14" fmla="*/ 2478781 w 6499257"/>
                  <a:gd name="connsiteY14" fmla="*/ 1920808 h 3498714"/>
                  <a:gd name="connsiteX15" fmla="*/ 2842751 w 6499257"/>
                  <a:gd name="connsiteY15" fmla="*/ 1749356 h 3498714"/>
                  <a:gd name="connsiteX16" fmla="*/ 2534724 w 6499257"/>
                  <a:gd name="connsiteY16" fmla="*/ 982297 h 3498714"/>
                  <a:gd name="connsiteX17" fmla="*/ 4802103 w 6499257"/>
                  <a:gd name="connsiteY17" fmla="*/ 2588456 h 3498714"/>
                  <a:gd name="connsiteX18" fmla="*/ 4904699 w 6499257"/>
                  <a:gd name="connsiteY18" fmla="*/ 2705462 h 3498714"/>
                  <a:gd name="connsiteX19" fmla="*/ 4904698 w 6499257"/>
                  <a:gd name="connsiteY19" fmla="*/ 2705462 h 3498714"/>
                  <a:gd name="connsiteX20" fmla="*/ 4784047 w 6499257"/>
                  <a:gd name="connsiteY20" fmla="*/ 2826113 h 3498714"/>
                  <a:gd name="connsiteX21" fmla="*/ 1970999 w 6499257"/>
                  <a:gd name="connsiteY21" fmla="*/ 2826112 h 3498714"/>
                  <a:gd name="connsiteX22" fmla="*/ 1850348 w 6499257"/>
                  <a:gd name="connsiteY22" fmla="*/ 2705462 h 3498714"/>
                  <a:gd name="connsiteX23" fmla="*/ 1956769 w 6499257"/>
                  <a:gd name="connsiteY23" fmla="*/ 2587684 h 3498714"/>
                  <a:gd name="connsiteX24" fmla="*/ 1823360 w 6499257"/>
                  <a:gd name="connsiteY24" fmla="*/ 2279217 h 3498714"/>
                  <a:gd name="connsiteX25" fmla="*/ 2217440 w 6499257"/>
                  <a:gd name="connsiteY25" fmla="*/ 1856216 h 3498714"/>
                  <a:gd name="connsiteX26" fmla="*/ 2534724 w 6499257"/>
                  <a:gd name="connsiteY26" fmla="*/ 982297 h 3498714"/>
                  <a:gd name="connsiteX27" fmla="*/ 358791 w 6499257"/>
                  <a:gd name="connsiteY27" fmla="*/ 644545 h 3498714"/>
                  <a:gd name="connsiteX28" fmla="*/ 1006774 w 6499257"/>
                  <a:gd name="connsiteY28" fmla="*/ 644545 h 3498714"/>
                  <a:gd name="connsiteX29" fmla="*/ 1542636 w 6499257"/>
                  <a:gd name="connsiteY29" fmla="*/ 1193969 h 3498714"/>
                  <a:gd name="connsiteX30" fmla="*/ 1929878 w 6499257"/>
                  <a:gd name="connsiteY30" fmla="*/ 1193970 h 3498714"/>
                  <a:gd name="connsiteX31" fmla="*/ 2070059 w 6499257"/>
                  <a:gd name="connsiteY31" fmla="*/ 1334152 h 3498714"/>
                  <a:gd name="connsiteX32" fmla="*/ 1929878 w 6499257"/>
                  <a:gd name="connsiteY32" fmla="*/ 1474333 h 3498714"/>
                  <a:gd name="connsiteX33" fmla="*/ 1520943 w 6499257"/>
                  <a:gd name="connsiteY33" fmla="*/ 1470388 h 3498714"/>
                  <a:gd name="connsiteX34" fmla="*/ 1332825 w 6499257"/>
                  <a:gd name="connsiteY34" fmla="*/ 1367201 h 3498714"/>
                  <a:gd name="connsiteX35" fmla="*/ 1106501 w 6499257"/>
                  <a:gd name="connsiteY35" fmla="*/ 1098289 h 3498714"/>
                  <a:gd name="connsiteX36" fmla="*/ 1101049 w 6499257"/>
                  <a:gd name="connsiteY36" fmla="*/ 1092836 h 3498714"/>
                  <a:gd name="connsiteX37" fmla="*/ 1046523 w 6499257"/>
                  <a:gd name="connsiteY37" fmla="*/ 1092836 h 3498714"/>
                  <a:gd name="connsiteX38" fmla="*/ 1041071 w 6499257"/>
                  <a:gd name="connsiteY38" fmla="*/ 1098289 h 3498714"/>
                  <a:gd name="connsiteX39" fmla="*/ 1042136 w 6499257"/>
                  <a:gd name="connsiteY39" fmla="*/ 1419754 h 3498714"/>
                  <a:gd name="connsiteX40" fmla="*/ 1042136 w 6499257"/>
                  <a:gd name="connsiteY40" fmla="*/ 3337652 h 3498714"/>
                  <a:gd name="connsiteX41" fmla="*/ 881075 w 6499257"/>
                  <a:gd name="connsiteY41" fmla="*/ 3498714 h 3498714"/>
                  <a:gd name="connsiteX42" fmla="*/ 720012 w 6499257"/>
                  <a:gd name="connsiteY42" fmla="*/ 3337652 h 3498714"/>
                  <a:gd name="connsiteX43" fmla="*/ 720012 w 6499257"/>
                  <a:gd name="connsiteY43" fmla="*/ 2125717 h 3498714"/>
                  <a:gd name="connsiteX44" fmla="*/ 718947 w 6499257"/>
                  <a:gd name="connsiteY44" fmla="*/ 2033194 h 3498714"/>
                  <a:gd name="connsiteX45" fmla="*/ 714162 w 6499257"/>
                  <a:gd name="connsiteY45" fmla="*/ 2028410 h 3498714"/>
                  <a:gd name="connsiteX46" fmla="*/ 654759 w 6499257"/>
                  <a:gd name="connsiteY46" fmla="*/ 2028410 h 3498714"/>
                  <a:gd name="connsiteX47" fmla="*/ 649974 w 6499257"/>
                  <a:gd name="connsiteY47" fmla="*/ 2033194 h 3498714"/>
                  <a:gd name="connsiteX48" fmla="*/ 649974 w 6499257"/>
                  <a:gd name="connsiteY48" fmla="*/ 2125717 h 3498714"/>
                  <a:gd name="connsiteX49" fmla="*/ 649574 w 6499257"/>
                  <a:gd name="connsiteY49" fmla="*/ 3337652 h 3498714"/>
                  <a:gd name="connsiteX50" fmla="*/ 488511 w 6499257"/>
                  <a:gd name="connsiteY50" fmla="*/ 3498714 h 3498714"/>
                  <a:gd name="connsiteX51" fmla="*/ 327450 w 6499257"/>
                  <a:gd name="connsiteY51" fmla="*/ 3337652 h 3498714"/>
                  <a:gd name="connsiteX52" fmla="*/ 327450 w 6499257"/>
                  <a:gd name="connsiteY52" fmla="*/ 1458216 h 3498714"/>
                  <a:gd name="connsiteX53" fmla="*/ 322427 w 6499257"/>
                  <a:gd name="connsiteY53" fmla="*/ 1098205 h 3498714"/>
                  <a:gd name="connsiteX54" fmla="*/ 317058 w 6499257"/>
                  <a:gd name="connsiteY54" fmla="*/ 1092836 h 3498714"/>
                  <a:gd name="connsiteX55" fmla="*/ 263371 w 6499257"/>
                  <a:gd name="connsiteY55" fmla="*/ 1092836 h 3498714"/>
                  <a:gd name="connsiteX56" fmla="*/ 258001 w 6499257"/>
                  <a:gd name="connsiteY56" fmla="*/ 1098205 h 3498714"/>
                  <a:gd name="connsiteX57" fmla="*/ 258001 w 6499257"/>
                  <a:gd name="connsiteY57" fmla="*/ 1444446 h 3498714"/>
                  <a:gd name="connsiteX58" fmla="*/ 257700 w 6499257"/>
                  <a:gd name="connsiteY58" fmla="*/ 1444370 h 3498714"/>
                  <a:gd name="connsiteX59" fmla="*/ 257700 w 6499257"/>
                  <a:gd name="connsiteY59" fmla="*/ 1912573 h 3498714"/>
                  <a:gd name="connsiteX60" fmla="*/ 128850 w 6499257"/>
                  <a:gd name="connsiteY60" fmla="*/ 2041423 h 3498714"/>
                  <a:gd name="connsiteX61" fmla="*/ 0 w 6499257"/>
                  <a:gd name="connsiteY61" fmla="*/ 1912573 h 3498714"/>
                  <a:gd name="connsiteX62" fmla="*/ 0 w 6499257"/>
                  <a:gd name="connsiteY62" fmla="*/ 1101802 h 3498714"/>
                  <a:gd name="connsiteX63" fmla="*/ 0 w 6499257"/>
                  <a:gd name="connsiteY63" fmla="*/ 1003338 h 3498714"/>
                  <a:gd name="connsiteX64" fmla="*/ 0 w 6499257"/>
                  <a:gd name="connsiteY64" fmla="*/ 982486 h 3498714"/>
                  <a:gd name="connsiteX65" fmla="*/ 12733 w 6499257"/>
                  <a:gd name="connsiteY65" fmla="*/ 894663 h 3498714"/>
                  <a:gd name="connsiteX66" fmla="*/ 20539 w 6499257"/>
                  <a:gd name="connsiteY66" fmla="*/ 868773 h 3498714"/>
                  <a:gd name="connsiteX67" fmla="*/ 358791 w 6499257"/>
                  <a:gd name="connsiteY67" fmla="*/ 644545 h 3498714"/>
                  <a:gd name="connsiteX68" fmla="*/ 682782 w 6499257"/>
                  <a:gd name="connsiteY68" fmla="*/ 0 h 3498714"/>
                  <a:gd name="connsiteX69" fmla="*/ 966919 w 6499257"/>
                  <a:gd name="connsiteY69" fmla="*/ 284138 h 3498714"/>
                  <a:gd name="connsiteX70" fmla="*/ 682782 w 6499257"/>
                  <a:gd name="connsiteY70" fmla="*/ 568275 h 3498714"/>
                  <a:gd name="connsiteX71" fmla="*/ 398645 w 6499257"/>
                  <a:gd name="connsiteY71" fmla="*/ 284138 h 3498714"/>
                  <a:gd name="connsiteX72" fmla="*/ 682782 w 6499257"/>
                  <a:gd name="connsiteY72" fmla="*/ 0 h 3498714"/>
                  <a:gd name="connsiteX73" fmla="*/ 4707054 w 6499257"/>
                  <a:gd name="connsiteY73" fmla="*/ 2902312 h 3498714"/>
                  <a:gd name="connsiteX74" fmla="*/ 4818179 w 6499257"/>
                  <a:gd name="connsiteY74" fmla="*/ 3013437 h 3498714"/>
                  <a:gd name="connsiteX75" fmla="*/ 4707054 w 6499257"/>
                  <a:gd name="connsiteY75" fmla="*/ 3124562 h 3498714"/>
                  <a:gd name="connsiteX76" fmla="*/ 4545125 w 6499257"/>
                  <a:gd name="connsiteY76" fmla="*/ 3124562 h 3498714"/>
                  <a:gd name="connsiteX77" fmla="*/ 4545125 w 6499257"/>
                  <a:gd name="connsiteY77" fmla="*/ 3361625 h 3498714"/>
                  <a:gd name="connsiteX78" fmla="*/ 4436113 w 6499257"/>
                  <a:gd name="connsiteY78" fmla="*/ 3470637 h 3498714"/>
                  <a:gd name="connsiteX79" fmla="*/ 4235039 w 6499257"/>
                  <a:gd name="connsiteY79" fmla="*/ 3470637 h 3498714"/>
                  <a:gd name="connsiteX80" fmla="*/ 4126027 w 6499257"/>
                  <a:gd name="connsiteY80" fmla="*/ 3361625 h 3498714"/>
                  <a:gd name="connsiteX81" fmla="*/ 4126027 w 6499257"/>
                  <a:gd name="connsiteY81" fmla="*/ 3124562 h 3498714"/>
                  <a:gd name="connsiteX82" fmla="*/ 2589325 w 6499257"/>
                  <a:gd name="connsiteY82" fmla="*/ 3124562 h 3498714"/>
                  <a:gd name="connsiteX83" fmla="*/ 2589325 w 6499257"/>
                  <a:gd name="connsiteY83" fmla="*/ 3361625 h 3498714"/>
                  <a:gd name="connsiteX84" fmla="*/ 2480313 w 6499257"/>
                  <a:gd name="connsiteY84" fmla="*/ 3470637 h 3498714"/>
                  <a:gd name="connsiteX85" fmla="*/ 2279239 w 6499257"/>
                  <a:gd name="connsiteY85" fmla="*/ 3470637 h 3498714"/>
                  <a:gd name="connsiteX86" fmla="*/ 2170227 w 6499257"/>
                  <a:gd name="connsiteY86" fmla="*/ 3361625 h 3498714"/>
                  <a:gd name="connsiteX87" fmla="*/ 2170227 w 6499257"/>
                  <a:gd name="connsiteY87" fmla="*/ 3124562 h 3498714"/>
                  <a:gd name="connsiteX88" fmla="*/ 2052754 w 6499257"/>
                  <a:gd name="connsiteY88" fmla="*/ 3124562 h 3498714"/>
                  <a:gd name="connsiteX89" fmla="*/ 1941629 w 6499257"/>
                  <a:gd name="connsiteY89" fmla="*/ 3013437 h 3498714"/>
                  <a:gd name="connsiteX90" fmla="*/ 2052754 w 6499257"/>
                  <a:gd name="connsiteY90" fmla="*/ 2902312 h 3498714"/>
                  <a:gd name="connsiteX91" fmla="*/ 682782 w 6499257"/>
                  <a:gd name="connsiteY91" fmla="*/ 0 h 3498714"/>
                  <a:gd name="connsiteX92" fmla="*/ 4492583 w 6499257"/>
                  <a:gd name="connsiteY92" fmla="*/ 2089512 h 3498714"/>
                  <a:gd name="connsiteX93" fmla="*/ 4311608 w 6499257"/>
                  <a:gd name="connsiteY93" fmla="*/ 2270487 h 3498714"/>
                  <a:gd name="connsiteX94" fmla="*/ 4492583 w 6499257"/>
                  <a:gd name="connsiteY94" fmla="*/ 2451462 h 3498714"/>
                  <a:gd name="connsiteX95" fmla="*/ 5407618 w 6499257"/>
                  <a:gd name="connsiteY95" fmla="*/ 2468742 h 3498714"/>
                  <a:gd name="connsiteX96" fmla="*/ 6498753 w 6499257"/>
                  <a:gd name="connsiteY96" fmla="*/ 2404799 h 3498714"/>
                  <a:gd name="connsiteX97" fmla="*/ 5388995 w 6499257"/>
                  <a:gd name="connsiteY97" fmla="*/ 2075460 h 3498714"/>
                  <a:gd name="connsiteX0" fmla="*/ 2979061 w 6462083"/>
                  <a:gd name="connsiteY0" fmla="*/ 2089512 h 3498714"/>
                  <a:gd name="connsiteX1" fmla="*/ 2671086 w 6462083"/>
                  <a:gd name="connsiteY1" fmla="*/ 2397487 h 3498714"/>
                  <a:gd name="connsiteX2" fmla="*/ 2671086 w 6462083"/>
                  <a:gd name="connsiteY2" fmla="*/ 2584811 h 3498714"/>
                  <a:gd name="connsiteX3" fmla="*/ 4083961 w 6462083"/>
                  <a:gd name="connsiteY3" fmla="*/ 2584811 h 3498714"/>
                  <a:gd name="connsiteX4" fmla="*/ 4083961 w 6462083"/>
                  <a:gd name="connsiteY4" fmla="*/ 2397487 h 3498714"/>
                  <a:gd name="connsiteX5" fmla="*/ 3775986 w 6462083"/>
                  <a:gd name="connsiteY5" fmla="*/ 2089512 h 3498714"/>
                  <a:gd name="connsiteX6" fmla="*/ 2979061 w 6462083"/>
                  <a:gd name="connsiteY6" fmla="*/ 2089512 h 3498714"/>
                  <a:gd name="connsiteX7" fmla="*/ 2251033 w 6462083"/>
                  <a:gd name="connsiteY7" fmla="*/ 2089512 h 3498714"/>
                  <a:gd name="connsiteX8" fmla="*/ 2070058 w 6462083"/>
                  <a:gd name="connsiteY8" fmla="*/ 2270487 h 3498714"/>
                  <a:gd name="connsiteX9" fmla="*/ 2251033 w 6462083"/>
                  <a:gd name="connsiteY9" fmla="*/ 2451462 h 3498714"/>
                  <a:gd name="connsiteX10" fmla="*/ 2432008 w 6462083"/>
                  <a:gd name="connsiteY10" fmla="*/ 2270487 h 3498714"/>
                  <a:gd name="connsiteX11" fmla="*/ 2251033 w 6462083"/>
                  <a:gd name="connsiteY11" fmla="*/ 2089512 h 3498714"/>
                  <a:gd name="connsiteX12" fmla="*/ 2842751 w 6462083"/>
                  <a:gd name="connsiteY12" fmla="*/ 1749356 h 3498714"/>
                  <a:gd name="connsiteX13" fmla="*/ 2392797 w 6462083"/>
                  <a:gd name="connsiteY13" fmla="*/ 1878907 h 3498714"/>
                  <a:gd name="connsiteX14" fmla="*/ 2478781 w 6462083"/>
                  <a:gd name="connsiteY14" fmla="*/ 1920808 h 3498714"/>
                  <a:gd name="connsiteX15" fmla="*/ 2842751 w 6462083"/>
                  <a:gd name="connsiteY15" fmla="*/ 1749356 h 3498714"/>
                  <a:gd name="connsiteX16" fmla="*/ 2534724 w 6462083"/>
                  <a:gd name="connsiteY16" fmla="*/ 982297 h 3498714"/>
                  <a:gd name="connsiteX17" fmla="*/ 4802103 w 6462083"/>
                  <a:gd name="connsiteY17" fmla="*/ 2588456 h 3498714"/>
                  <a:gd name="connsiteX18" fmla="*/ 4904699 w 6462083"/>
                  <a:gd name="connsiteY18" fmla="*/ 2705462 h 3498714"/>
                  <a:gd name="connsiteX19" fmla="*/ 4904698 w 6462083"/>
                  <a:gd name="connsiteY19" fmla="*/ 2705462 h 3498714"/>
                  <a:gd name="connsiteX20" fmla="*/ 4784047 w 6462083"/>
                  <a:gd name="connsiteY20" fmla="*/ 2826113 h 3498714"/>
                  <a:gd name="connsiteX21" fmla="*/ 1970999 w 6462083"/>
                  <a:gd name="connsiteY21" fmla="*/ 2826112 h 3498714"/>
                  <a:gd name="connsiteX22" fmla="*/ 1850348 w 6462083"/>
                  <a:gd name="connsiteY22" fmla="*/ 2705462 h 3498714"/>
                  <a:gd name="connsiteX23" fmla="*/ 1956769 w 6462083"/>
                  <a:gd name="connsiteY23" fmla="*/ 2587684 h 3498714"/>
                  <a:gd name="connsiteX24" fmla="*/ 1823360 w 6462083"/>
                  <a:gd name="connsiteY24" fmla="*/ 2279217 h 3498714"/>
                  <a:gd name="connsiteX25" fmla="*/ 2217440 w 6462083"/>
                  <a:gd name="connsiteY25" fmla="*/ 1856216 h 3498714"/>
                  <a:gd name="connsiteX26" fmla="*/ 2534724 w 6462083"/>
                  <a:gd name="connsiteY26" fmla="*/ 982297 h 3498714"/>
                  <a:gd name="connsiteX27" fmla="*/ 358791 w 6462083"/>
                  <a:gd name="connsiteY27" fmla="*/ 644545 h 3498714"/>
                  <a:gd name="connsiteX28" fmla="*/ 1006774 w 6462083"/>
                  <a:gd name="connsiteY28" fmla="*/ 644545 h 3498714"/>
                  <a:gd name="connsiteX29" fmla="*/ 1542636 w 6462083"/>
                  <a:gd name="connsiteY29" fmla="*/ 1193969 h 3498714"/>
                  <a:gd name="connsiteX30" fmla="*/ 1929878 w 6462083"/>
                  <a:gd name="connsiteY30" fmla="*/ 1193970 h 3498714"/>
                  <a:gd name="connsiteX31" fmla="*/ 2070059 w 6462083"/>
                  <a:gd name="connsiteY31" fmla="*/ 1334152 h 3498714"/>
                  <a:gd name="connsiteX32" fmla="*/ 1929878 w 6462083"/>
                  <a:gd name="connsiteY32" fmla="*/ 1474333 h 3498714"/>
                  <a:gd name="connsiteX33" fmla="*/ 1520943 w 6462083"/>
                  <a:gd name="connsiteY33" fmla="*/ 1470388 h 3498714"/>
                  <a:gd name="connsiteX34" fmla="*/ 1332825 w 6462083"/>
                  <a:gd name="connsiteY34" fmla="*/ 1367201 h 3498714"/>
                  <a:gd name="connsiteX35" fmla="*/ 1106501 w 6462083"/>
                  <a:gd name="connsiteY35" fmla="*/ 1098289 h 3498714"/>
                  <a:gd name="connsiteX36" fmla="*/ 1101049 w 6462083"/>
                  <a:gd name="connsiteY36" fmla="*/ 1092836 h 3498714"/>
                  <a:gd name="connsiteX37" fmla="*/ 1046523 w 6462083"/>
                  <a:gd name="connsiteY37" fmla="*/ 1092836 h 3498714"/>
                  <a:gd name="connsiteX38" fmla="*/ 1041071 w 6462083"/>
                  <a:gd name="connsiteY38" fmla="*/ 1098289 h 3498714"/>
                  <a:gd name="connsiteX39" fmla="*/ 1042136 w 6462083"/>
                  <a:gd name="connsiteY39" fmla="*/ 1419754 h 3498714"/>
                  <a:gd name="connsiteX40" fmla="*/ 1042136 w 6462083"/>
                  <a:gd name="connsiteY40" fmla="*/ 3337652 h 3498714"/>
                  <a:gd name="connsiteX41" fmla="*/ 881075 w 6462083"/>
                  <a:gd name="connsiteY41" fmla="*/ 3498714 h 3498714"/>
                  <a:gd name="connsiteX42" fmla="*/ 720012 w 6462083"/>
                  <a:gd name="connsiteY42" fmla="*/ 3337652 h 3498714"/>
                  <a:gd name="connsiteX43" fmla="*/ 720012 w 6462083"/>
                  <a:gd name="connsiteY43" fmla="*/ 2125717 h 3498714"/>
                  <a:gd name="connsiteX44" fmla="*/ 718947 w 6462083"/>
                  <a:gd name="connsiteY44" fmla="*/ 2033194 h 3498714"/>
                  <a:gd name="connsiteX45" fmla="*/ 714162 w 6462083"/>
                  <a:gd name="connsiteY45" fmla="*/ 2028410 h 3498714"/>
                  <a:gd name="connsiteX46" fmla="*/ 654759 w 6462083"/>
                  <a:gd name="connsiteY46" fmla="*/ 2028410 h 3498714"/>
                  <a:gd name="connsiteX47" fmla="*/ 649974 w 6462083"/>
                  <a:gd name="connsiteY47" fmla="*/ 2033194 h 3498714"/>
                  <a:gd name="connsiteX48" fmla="*/ 649974 w 6462083"/>
                  <a:gd name="connsiteY48" fmla="*/ 2125717 h 3498714"/>
                  <a:gd name="connsiteX49" fmla="*/ 649574 w 6462083"/>
                  <a:gd name="connsiteY49" fmla="*/ 3337652 h 3498714"/>
                  <a:gd name="connsiteX50" fmla="*/ 488511 w 6462083"/>
                  <a:gd name="connsiteY50" fmla="*/ 3498714 h 3498714"/>
                  <a:gd name="connsiteX51" fmla="*/ 327450 w 6462083"/>
                  <a:gd name="connsiteY51" fmla="*/ 3337652 h 3498714"/>
                  <a:gd name="connsiteX52" fmla="*/ 327450 w 6462083"/>
                  <a:gd name="connsiteY52" fmla="*/ 1458216 h 3498714"/>
                  <a:gd name="connsiteX53" fmla="*/ 322427 w 6462083"/>
                  <a:gd name="connsiteY53" fmla="*/ 1098205 h 3498714"/>
                  <a:gd name="connsiteX54" fmla="*/ 317058 w 6462083"/>
                  <a:gd name="connsiteY54" fmla="*/ 1092836 h 3498714"/>
                  <a:gd name="connsiteX55" fmla="*/ 263371 w 6462083"/>
                  <a:gd name="connsiteY55" fmla="*/ 1092836 h 3498714"/>
                  <a:gd name="connsiteX56" fmla="*/ 258001 w 6462083"/>
                  <a:gd name="connsiteY56" fmla="*/ 1098205 h 3498714"/>
                  <a:gd name="connsiteX57" fmla="*/ 258001 w 6462083"/>
                  <a:gd name="connsiteY57" fmla="*/ 1444446 h 3498714"/>
                  <a:gd name="connsiteX58" fmla="*/ 257700 w 6462083"/>
                  <a:gd name="connsiteY58" fmla="*/ 1444370 h 3498714"/>
                  <a:gd name="connsiteX59" fmla="*/ 257700 w 6462083"/>
                  <a:gd name="connsiteY59" fmla="*/ 1912573 h 3498714"/>
                  <a:gd name="connsiteX60" fmla="*/ 128850 w 6462083"/>
                  <a:gd name="connsiteY60" fmla="*/ 2041423 h 3498714"/>
                  <a:gd name="connsiteX61" fmla="*/ 0 w 6462083"/>
                  <a:gd name="connsiteY61" fmla="*/ 1912573 h 3498714"/>
                  <a:gd name="connsiteX62" fmla="*/ 0 w 6462083"/>
                  <a:gd name="connsiteY62" fmla="*/ 1101802 h 3498714"/>
                  <a:gd name="connsiteX63" fmla="*/ 0 w 6462083"/>
                  <a:gd name="connsiteY63" fmla="*/ 1003338 h 3498714"/>
                  <a:gd name="connsiteX64" fmla="*/ 0 w 6462083"/>
                  <a:gd name="connsiteY64" fmla="*/ 982486 h 3498714"/>
                  <a:gd name="connsiteX65" fmla="*/ 12733 w 6462083"/>
                  <a:gd name="connsiteY65" fmla="*/ 894663 h 3498714"/>
                  <a:gd name="connsiteX66" fmla="*/ 20539 w 6462083"/>
                  <a:gd name="connsiteY66" fmla="*/ 868773 h 3498714"/>
                  <a:gd name="connsiteX67" fmla="*/ 358791 w 6462083"/>
                  <a:gd name="connsiteY67" fmla="*/ 644545 h 3498714"/>
                  <a:gd name="connsiteX68" fmla="*/ 682782 w 6462083"/>
                  <a:gd name="connsiteY68" fmla="*/ 0 h 3498714"/>
                  <a:gd name="connsiteX69" fmla="*/ 966919 w 6462083"/>
                  <a:gd name="connsiteY69" fmla="*/ 284138 h 3498714"/>
                  <a:gd name="connsiteX70" fmla="*/ 682782 w 6462083"/>
                  <a:gd name="connsiteY70" fmla="*/ 568275 h 3498714"/>
                  <a:gd name="connsiteX71" fmla="*/ 398645 w 6462083"/>
                  <a:gd name="connsiteY71" fmla="*/ 284138 h 3498714"/>
                  <a:gd name="connsiteX72" fmla="*/ 682782 w 6462083"/>
                  <a:gd name="connsiteY72" fmla="*/ 0 h 3498714"/>
                  <a:gd name="connsiteX73" fmla="*/ 4707054 w 6462083"/>
                  <a:gd name="connsiteY73" fmla="*/ 2902312 h 3498714"/>
                  <a:gd name="connsiteX74" fmla="*/ 4818179 w 6462083"/>
                  <a:gd name="connsiteY74" fmla="*/ 3013437 h 3498714"/>
                  <a:gd name="connsiteX75" fmla="*/ 4707054 w 6462083"/>
                  <a:gd name="connsiteY75" fmla="*/ 3124562 h 3498714"/>
                  <a:gd name="connsiteX76" fmla="*/ 4545125 w 6462083"/>
                  <a:gd name="connsiteY76" fmla="*/ 3124562 h 3498714"/>
                  <a:gd name="connsiteX77" fmla="*/ 4545125 w 6462083"/>
                  <a:gd name="connsiteY77" fmla="*/ 3361625 h 3498714"/>
                  <a:gd name="connsiteX78" fmla="*/ 4436113 w 6462083"/>
                  <a:gd name="connsiteY78" fmla="*/ 3470637 h 3498714"/>
                  <a:gd name="connsiteX79" fmla="*/ 4235039 w 6462083"/>
                  <a:gd name="connsiteY79" fmla="*/ 3470637 h 3498714"/>
                  <a:gd name="connsiteX80" fmla="*/ 4126027 w 6462083"/>
                  <a:gd name="connsiteY80" fmla="*/ 3361625 h 3498714"/>
                  <a:gd name="connsiteX81" fmla="*/ 4126027 w 6462083"/>
                  <a:gd name="connsiteY81" fmla="*/ 3124562 h 3498714"/>
                  <a:gd name="connsiteX82" fmla="*/ 2589325 w 6462083"/>
                  <a:gd name="connsiteY82" fmla="*/ 3124562 h 3498714"/>
                  <a:gd name="connsiteX83" fmla="*/ 2589325 w 6462083"/>
                  <a:gd name="connsiteY83" fmla="*/ 3361625 h 3498714"/>
                  <a:gd name="connsiteX84" fmla="*/ 2480313 w 6462083"/>
                  <a:gd name="connsiteY84" fmla="*/ 3470637 h 3498714"/>
                  <a:gd name="connsiteX85" fmla="*/ 2279239 w 6462083"/>
                  <a:gd name="connsiteY85" fmla="*/ 3470637 h 3498714"/>
                  <a:gd name="connsiteX86" fmla="*/ 2170227 w 6462083"/>
                  <a:gd name="connsiteY86" fmla="*/ 3361625 h 3498714"/>
                  <a:gd name="connsiteX87" fmla="*/ 2170227 w 6462083"/>
                  <a:gd name="connsiteY87" fmla="*/ 3124562 h 3498714"/>
                  <a:gd name="connsiteX88" fmla="*/ 2052754 w 6462083"/>
                  <a:gd name="connsiteY88" fmla="*/ 3124562 h 3498714"/>
                  <a:gd name="connsiteX89" fmla="*/ 1941629 w 6462083"/>
                  <a:gd name="connsiteY89" fmla="*/ 3013437 h 3498714"/>
                  <a:gd name="connsiteX90" fmla="*/ 2052754 w 6462083"/>
                  <a:gd name="connsiteY90" fmla="*/ 2902312 h 3498714"/>
                  <a:gd name="connsiteX91" fmla="*/ 682782 w 6462083"/>
                  <a:gd name="connsiteY91" fmla="*/ 0 h 3498714"/>
                  <a:gd name="connsiteX92" fmla="*/ 4492583 w 6462083"/>
                  <a:gd name="connsiteY92" fmla="*/ 2089512 h 3498714"/>
                  <a:gd name="connsiteX93" fmla="*/ 4311608 w 6462083"/>
                  <a:gd name="connsiteY93" fmla="*/ 2270487 h 3498714"/>
                  <a:gd name="connsiteX94" fmla="*/ 4492583 w 6462083"/>
                  <a:gd name="connsiteY94" fmla="*/ 2451462 h 3498714"/>
                  <a:gd name="connsiteX95" fmla="*/ 5407618 w 6462083"/>
                  <a:gd name="connsiteY95" fmla="*/ 2468742 h 3498714"/>
                  <a:gd name="connsiteX96" fmla="*/ 6461556 w 6462083"/>
                  <a:gd name="connsiteY96" fmla="*/ 2404799 h 3498714"/>
                  <a:gd name="connsiteX97" fmla="*/ 5388995 w 6462083"/>
                  <a:gd name="connsiteY97" fmla="*/ 2075460 h 3498714"/>
                  <a:gd name="connsiteX0" fmla="*/ 2979061 w 5470282"/>
                  <a:gd name="connsiteY0" fmla="*/ 2089512 h 3498714"/>
                  <a:gd name="connsiteX1" fmla="*/ 2671086 w 5470282"/>
                  <a:gd name="connsiteY1" fmla="*/ 2397487 h 3498714"/>
                  <a:gd name="connsiteX2" fmla="*/ 2671086 w 5470282"/>
                  <a:gd name="connsiteY2" fmla="*/ 2584811 h 3498714"/>
                  <a:gd name="connsiteX3" fmla="*/ 4083961 w 5470282"/>
                  <a:gd name="connsiteY3" fmla="*/ 2584811 h 3498714"/>
                  <a:gd name="connsiteX4" fmla="*/ 4083961 w 5470282"/>
                  <a:gd name="connsiteY4" fmla="*/ 2397487 h 3498714"/>
                  <a:gd name="connsiteX5" fmla="*/ 3775986 w 5470282"/>
                  <a:gd name="connsiteY5" fmla="*/ 2089512 h 3498714"/>
                  <a:gd name="connsiteX6" fmla="*/ 2979061 w 5470282"/>
                  <a:gd name="connsiteY6" fmla="*/ 2089512 h 3498714"/>
                  <a:gd name="connsiteX7" fmla="*/ 2251033 w 5470282"/>
                  <a:gd name="connsiteY7" fmla="*/ 2089512 h 3498714"/>
                  <a:gd name="connsiteX8" fmla="*/ 2070058 w 5470282"/>
                  <a:gd name="connsiteY8" fmla="*/ 2270487 h 3498714"/>
                  <a:gd name="connsiteX9" fmla="*/ 2251033 w 5470282"/>
                  <a:gd name="connsiteY9" fmla="*/ 2451462 h 3498714"/>
                  <a:gd name="connsiteX10" fmla="*/ 2432008 w 5470282"/>
                  <a:gd name="connsiteY10" fmla="*/ 2270487 h 3498714"/>
                  <a:gd name="connsiteX11" fmla="*/ 2251033 w 5470282"/>
                  <a:gd name="connsiteY11" fmla="*/ 2089512 h 3498714"/>
                  <a:gd name="connsiteX12" fmla="*/ 2842751 w 5470282"/>
                  <a:gd name="connsiteY12" fmla="*/ 1749356 h 3498714"/>
                  <a:gd name="connsiteX13" fmla="*/ 2392797 w 5470282"/>
                  <a:gd name="connsiteY13" fmla="*/ 1878907 h 3498714"/>
                  <a:gd name="connsiteX14" fmla="*/ 2478781 w 5470282"/>
                  <a:gd name="connsiteY14" fmla="*/ 1920808 h 3498714"/>
                  <a:gd name="connsiteX15" fmla="*/ 2842751 w 5470282"/>
                  <a:gd name="connsiteY15" fmla="*/ 1749356 h 3498714"/>
                  <a:gd name="connsiteX16" fmla="*/ 2534724 w 5470282"/>
                  <a:gd name="connsiteY16" fmla="*/ 982297 h 3498714"/>
                  <a:gd name="connsiteX17" fmla="*/ 4802103 w 5470282"/>
                  <a:gd name="connsiteY17" fmla="*/ 2588456 h 3498714"/>
                  <a:gd name="connsiteX18" fmla="*/ 4904699 w 5470282"/>
                  <a:gd name="connsiteY18" fmla="*/ 2705462 h 3498714"/>
                  <a:gd name="connsiteX19" fmla="*/ 4904698 w 5470282"/>
                  <a:gd name="connsiteY19" fmla="*/ 2705462 h 3498714"/>
                  <a:gd name="connsiteX20" fmla="*/ 4784047 w 5470282"/>
                  <a:gd name="connsiteY20" fmla="*/ 2826113 h 3498714"/>
                  <a:gd name="connsiteX21" fmla="*/ 1970999 w 5470282"/>
                  <a:gd name="connsiteY21" fmla="*/ 2826112 h 3498714"/>
                  <a:gd name="connsiteX22" fmla="*/ 1850348 w 5470282"/>
                  <a:gd name="connsiteY22" fmla="*/ 2705462 h 3498714"/>
                  <a:gd name="connsiteX23" fmla="*/ 1956769 w 5470282"/>
                  <a:gd name="connsiteY23" fmla="*/ 2587684 h 3498714"/>
                  <a:gd name="connsiteX24" fmla="*/ 1823360 w 5470282"/>
                  <a:gd name="connsiteY24" fmla="*/ 2279217 h 3498714"/>
                  <a:gd name="connsiteX25" fmla="*/ 2217440 w 5470282"/>
                  <a:gd name="connsiteY25" fmla="*/ 1856216 h 3498714"/>
                  <a:gd name="connsiteX26" fmla="*/ 2534724 w 5470282"/>
                  <a:gd name="connsiteY26" fmla="*/ 982297 h 3498714"/>
                  <a:gd name="connsiteX27" fmla="*/ 358791 w 5470282"/>
                  <a:gd name="connsiteY27" fmla="*/ 644545 h 3498714"/>
                  <a:gd name="connsiteX28" fmla="*/ 1006774 w 5470282"/>
                  <a:gd name="connsiteY28" fmla="*/ 644545 h 3498714"/>
                  <a:gd name="connsiteX29" fmla="*/ 1542636 w 5470282"/>
                  <a:gd name="connsiteY29" fmla="*/ 1193969 h 3498714"/>
                  <a:gd name="connsiteX30" fmla="*/ 1929878 w 5470282"/>
                  <a:gd name="connsiteY30" fmla="*/ 1193970 h 3498714"/>
                  <a:gd name="connsiteX31" fmla="*/ 2070059 w 5470282"/>
                  <a:gd name="connsiteY31" fmla="*/ 1334152 h 3498714"/>
                  <a:gd name="connsiteX32" fmla="*/ 1929878 w 5470282"/>
                  <a:gd name="connsiteY32" fmla="*/ 1474333 h 3498714"/>
                  <a:gd name="connsiteX33" fmla="*/ 1520943 w 5470282"/>
                  <a:gd name="connsiteY33" fmla="*/ 1470388 h 3498714"/>
                  <a:gd name="connsiteX34" fmla="*/ 1332825 w 5470282"/>
                  <a:gd name="connsiteY34" fmla="*/ 1367201 h 3498714"/>
                  <a:gd name="connsiteX35" fmla="*/ 1106501 w 5470282"/>
                  <a:gd name="connsiteY35" fmla="*/ 1098289 h 3498714"/>
                  <a:gd name="connsiteX36" fmla="*/ 1101049 w 5470282"/>
                  <a:gd name="connsiteY36" fmla="*/ 1092836 h 3498714"/>
                  <a:gd name="connsiteX37" fmla="*/ 1046523 w 5470282"/>
                  <a:gd name="connsiteY37" fmla="*/ 1092836 h 3498714"/>
                  <a:gd name="connsiteX38" fmla="*/ 1041071 w 5470282"/>
                  <a:gd name="connsiteY38" fmla="*/ 1098289 h 3498714"/>
                  <a:gd name="connsiteX39" fmla="*/ 1042136 w 5470282"/>
                  <a:gd name="connsiteY39" fmla="*/ 1419754 h 3498714"/>
                  <a:gd name="connsiteX40" fmla="*/ 1042136 w 5470282"/>
                  <a:gd name="connsiteY40" fmla="*/ 3337652 h 3498714"/>
                  <a:gd name="connsiteX41" fmla="*/ 881075 w 5470282"/>
                  <a:gd name="connsiteY41" fmla="*/ 3498714 h 3498714"/>
                  <a:gd name="connsiteX42" fmla="*/ 720012 w 5470282"/>
                  <a:gd name="connsiteY42" fmla="*/ 3337652 h 3498714"/>
                  <a:gd name="connsiteX43" fmla="*/ 720012 w 5470282"/>
                  <a:gd name="connsiteY43" fmla="*/ 2125717 h 3498714"/>
                  <a:gd name="connsiteX44" fmla="*/ 718947 w 5470282"/>
                  <a:gd name="connsiteY44" fmla="*/ 2033194 h 3498714"/>
                  <a:gd name="connsiteX45" fmla="*/ 714162 w 5470282"/>
                  <a:gd name="connsiteY45" fmla="*/ 2028410 h 3498714"/>
                  <a:gd name="connsiteX46" fmla="*/ 654759 w 5470282"/>
                  <a:gd name="connsiteY46" fmla="*/ 2028410 h 3498714"/>
                  <a:gd name="connsiteX47" fmla="*/ 649974 w 5470282"/>
                  <a:gd name="connsiteY47" fmla="*/ 2033194 h 3498714"/>
                  <a:gd name="connsiteX48" fmla="*/ 649974 w 5470282"/>
                  <a:gd name="connsiteY48" fmla="*/ 2125717 h 3498714"/>
                  <a:gd name="connsiteX49" fmla="*/ 649574 w 5470282"/>
                  <a:gd name="connsiteY49" fmla="*/ 3337652 h 3498714"/>
                  <a:gd name="connsiteX50" fmla="*/ 488511 w 5470282"/>
                  <a:gd name="connsiteY50" fmla="*/ 3498714 h 3498714"/>
                  <a:gd name="connsiteX51" fmla="*/ 327450 w 5470282"/>
                  <a:gd name="connsiteY51" fmla="*/ 3337652 h 3498714"/>
                  <a:gd name="connsiteX52" fmla="*/ 327450 w 5470282"/>
                  <a:gd name="connsiteY52" fmla="*/ 1458216 h 3498714"/>
                  <a:gd name="connsiteX53" fmla="*/ 322427 w 5470282"/>
                  <a:gd name="connsiteY53" fmla="*/ 1098205 h 3498714"/>
                  <a:gd name="connsiteX54" fmla="*/ 317058 w 5470282"/>
                  <a:gd name="connsiteY54" fmla="*/ 1092836 h 3498714"/>
                  <a:gd name="connsiteX55" fmla="*/ 263371 w 5470282"/>
                  <a:gd name="connsiteY55" fmla="*/ 1092836 h 3498714"/>
                  <a:gd name="connsiteX56" fmla="*/ 258001 w 5470282"/>
                  <a:gd name="connsiteY56" fmla="*/ 1098205 h 3498714"/>
                  <a:gd name="connsiteX57" fmla="*/ 258001 w 5470282"/>
                  <a:gd name="connsiteY57" fmla="*/ 1444446 h 3498714"/>
                  <a:gd name="connsiteX58" fmla="*/ 257700 w 5470282"/>
                  <a:gd name="connsiteY58" fmla="*/ 1444370 h 3498714"/>
                  <a:gd name="connsiteX59" fmla="*/ 257700 w 5470282"/>
                  <a:gd name="connsiteY59" fmla="*/ 1912573 h 3498714"/>
                  <a:gd name="connsiteX60" fmla="*/ 128850 w 5470282"/>
                  <a:gd name="connsiteY60" fmla="*/ 2041423 h 3498714"/>
                  <a:gd name="connsiteX61" fmla="*/ 0 w 5470282"/>
                  <a:gd name="connsiteY61" fmla="*/ 1912573 h 3498714"/>
                  <a:gd name="connsiteX62" fmla="*/ 0 w 5470282"/>
                  <a:gd name="connsiteY62" fmla="*/ 1101802 h 3498714"/>
                  <a:gd name="connsiteX63" fmla="*/ 0 w 5470282"/>
                  <a:gd name="connsiteY63" fmla="*/ 1003338 h 3498714"/>
                  <a:gd name="connsiteX64" fmla="*/ 0 w 5470282"/>
                  <a:gd name="connsiteY64" fmla="*/ 982486 h 3498714"/>
                  <a:gd name="connsiteX65" fmla="*/ 12733 w 5470282"/>
                  <a:gd name="connsiteY65" fmla="*/ 894663 h 3498714"/>
                  <a:gd name="connsiteX66" fmla="*/ 20539 w 5470282"/>
                  <a:gd name="connsiteY66" fmla="*/ 868773 h 3498714"/>
                  <a:gd name="connsiteX67" fmla="*/ 358791 w 5470282"/>
                  <a:gd name="connsiteY67" fmla="*/ 644545 h 3498714"/>
                  <a:gd name="connsiteX68" fmla="*/ 682782 w 5470282"/>
                  <a:gd name="connsiteY68" fmla="*/ 0 h 3498714"/>
                  <a:gd name="connsiteX69" fmla="*/ 966919 w 5470282"/>
                  <a:gd name="connsiteY69" fmla="*/ 284138 h 3498714"/>
                  <a:gd name="connsiteX70" fmla="*/ 682782 w 5470282"/>
                  <a:gd name="connsiteY70" fmla="*/ 568275 h 3498714"/>
                  <a:gd name="connsiteX71" fmla="*/ 398645 w 5470282"/>
                  <a:gd name="connsiteY71" fmla="*/ 284138 h 3498714"/>
                  <a:gd name="connsiteX72" fmla="*/ 682782 w 5470282"/>
                  <a:gd name="connsiteY72" fmla="*/ 0 h 3498714"/>
                  <a:gd name="connsiteX73" fmla="*/ 4707054 w 5470282"/>
                  <a:gd name="connsiteY73" fmla="*/ 2902312 h 3498714"/>
                  <a:gd name="connsiteX74" fmla="*/ 4818179 w 5470282"/>
                  <a:gd name="connsiteY74" fmla="*/ 3013437 h 3498714"/>
                  <a:gd name="connsiteX75" fmla="*/ 4707054 w 5470282"/>
                  <a:gd name="connsiteY75" fmla="*/ 3124562 h 3498714"/>
                  <a:gd name="connsiteX76" fmla="*/ 4545125 w 5470282"/>
                  <a:gd name="connsiteY76" fmla="*/ 3124562 h 3498714"/>
                  <a:gd name="connsiteX77" fmla="*/ 4545125 w 5470282"/>
                  <a:gd name="connsiteY77" fmla="*/ 3361625 h 3498714"/>
                  <a:gd name="connsiteX78" fmla="*/ 4436113 w 5470282"/>
                  <a:gd name="connsiteY78" fmla="*/ 3470637 h 3498714"/>
                  <a:gd name="connsiteX79" fmla="*/ 4235039 w 5470282"/>
                  <a:gd name="connsiteY79" fmla="*/ 3470637 h 3498714"/>
                  <a:gd name="connsiteX80" fmla="*/ 4126027 w 5470282"/>
                  <a:gd name="connsiteY80" fmla="*/ 3361625 h 3498714"/>
                  <a:gd name="connsiteX81" fmla="*/ 4126027 w 5470282"/>
                  <a:gd name="connsiteY81" fmla="*/ 3124562 h 3498714"/>
                  <a:gd name="connsiteX82" fmla="*/ 2589325 w 5470282"/>
                  <a:gd name="connsiteY82" fmla="*/ 3124562 h 3498714"/>
                  <a:gd name="connsiteX83" fmla="*/ 2589325 w 5470282"/>
                  <a:gd name="connsiteY83" fmla="*/ 3361625 h 3498714"/>
                  <a:gd name="connsiteX84" fmla="*/ 2480313 w 5470282"/>
                  <a:gd name="connsiteY84" fmla="*/ 3470637 h 3498714"/>
                  <a:gd name="connsiteX85" fmla="*/ 2279239 w 5470282"/>
                  <a:gd name="connsiteY85" fmla="*/ 3470637 h 3498714"/>
                  <a:gd name="connsiteX86" fmla="*/ 2170227 w 5470282"/>
                  <a:gd name="connsiteY86" fmla="*/ 3361625 h 3498714"/>
                  <a:gd name="connsiteX87" fmla="*/ 2170227 w 5470282"/>
                  <a:gd name="connsiteY87" fmla="*/ 3124562 h 3498714"/>
                  <a:gd name="connsiteX88" fmla="*/ 2052754 w 5470282"/>
                  <a:gd name="connsiteY88" fmla="*/ 3124562 h 3498714"/>
                  <a:gd name="connsiteX89" fmla="*/ 1941629 w 5470282"/>
                  <a:gd name="connsiteY89" fmla="*/ 3013437 h 3498714"/>
                  <a:gd name="connsiteX90" fmla="*/ 2052754 w 5470282"/>
                  <a:gd name="connsiteY90" fmla="*/ 2902312 h 3498714"/>
                  <a:gd name="connsiteX91" fmla="*/ 682782 w 5470282"/>
                  <a:gd name="connsiteY91" fmla="*/ 0 h 3498714"/>
                  <a:gd name="connsiteX92" fmla="*/ 4492583 w 5470282"/>
                  <a:gd name="connsiteY92" fmla="*/ 2089512 h 3498714"/>
                  <a:gd name="connsiteX93" fmla="*/ 4311608 w 5470282"/>
                  <a:gd name="connsiteY93" fmla="*/ 2270487 h 3498714"/>
                  <a:gd name="connsiteX94" fmla="*/ 4492583 w 5470282"/>
                  <a:gd name="connsiteY94" fmla="*/ 2451462 h 3498714"/>
                  <a:gd name="connsiteX95" fmla="*/ 5407618 w 5470282"/>
                  <a:gd name="connsiteY95" fmla="*/ 2468742 h 3498714"/>
                  <a:gd name="connsiteX96" fmla="*/ 5388995 w 5470282"/>
                  <a:gd name="connsiteY96" fmla="*/ 2075460 h 3498714"/>
                  <a:gd name="connsiteX0" fmla="*/ 2979061 w 5388995"/>
                  <a:gd name="connsiteY0" fmla="*/ 2089512 h 3498714"/>
                  <a:gd name="connsiteX1" fmla="*/ 2671086 w 5388995"/>
                  <a:gd name="connsiteY1" fmla="*/ 2397487 h 3498714"/>
                  <a:gd name="connsiteX2" fmla="*/ 2671086 w 5388995"/>
                  <a:gd name="connsiteY2" fmla="*/ 2584811 h 3498714"/>
                  <a:gd name="connsiteX3" fmla="*/ 4083961 w 5388995"/>
                  <a:gd name="connsiteY3" fmla="*/ 2584811 h 3498714"/>
                  <a:gd name="connsiteX4" fmla="*/ 4083961 w 5388995"/>
                  <a:gd name="connsiteY4" fmla="*/ 2397487 h 3498714"/>
                  <a:gd name="connsiteX5" fmla="*/ 3775986 w 5388995"/>
                  <a:gd name="connsiteY5" fmla="*/ 2089512 h 3498714"/>
                  <a:gd name="connsiteX6" fmla="*/ 2979061 w 5388995"/>
                  <a:gd name="connsiteY6" fmla="*/ 2089512 h 3498714"/>
                  <a:gd name="connsiteX7" fmla="*/ 2251033 w 5388995"/>
                  <a:gd name="connsiteY7" fmla="*/ 2089512 h 3498714"/>
                  <a:gd name="connsiteX8" fmla="*/ 2070058 w 5388995"/>
                  <a:gd name="connsiteY8" fmla="*/ 2270487 h 3498714"/>
                  <a:gd name="connsiteX9" fmla="*/ 2251033 w 5388995"/>
                  <a:gd name="connsiteY9" fmla="*/ 2451462 h 3498714"/>
                  <a:gd name="connsiteX10" fmla="*/ 2432008 w 5388995"/>
                  <a:gd name="connsiteY10" fmla="*/ 2270487 h 3498714"/>
                  <a:gd name="connsiteX11" fmla="*/ 2251033 w 5388995"/>
                  <a:gd name="connsiteY11" fmla="*/ 2089512 h 3498714"/>
                  <a:gd name="connsiteX12" fmla="*/ 2842751 w 5388995"/>
                  <a:gd name="connsiteY12" fmla="*/ 1749356 h 3498714"/>
                  <a:gd name="connsiteX13" fmla="*/ 2392797 w 5388995"/>
                  <a:gd name="connsiteY13" fmla="*/ 1878907 h 3498714"/>
                  <a:gd name="connsiteX14" fmla="*/ 2478781 w 5388995"/>
                  <a:gd name="connsiteY14" fmla="*/ 1920808 h 3498714"/>
                  <a:gd name="connsiteX15" fmla="*/ 2842751 w 5388995"/>
                  <a:gd name="connsiteY15" fmla="*/ 1749356 h 3498714"/>
                  <a:gd name="connsiteX16" fmla="*/ 2534724 w 5388995"/>
                  <a:gd name="connsiteY16" fmla="*/ 982297 h 3498714"/>
                  <a:gd name="connsiteX17" fmla="*/ 4802103 w 5388995"/>
                  <a:gd name="connsiteY17" fmla="*/ 2588456 h 3498714"/>
                  <a:gd name="connsiteX18" fmla="*/ 4904699 w 5388995"/>
                  <a:gd name="connsiteY18" fmla="*/ 2705462 h 3498714"/>
                  <a:gd name="connsiteX19" fmla="*/ 4904698 w 5388995"/>
                  <a:gd name="connsiteY19" fmla="*/ 2705462 h 3498714"/>
                  <a:gd name="connsiteX20" fmla="*/ 4784047 w 5388995"/>
                  <a:gd name="connsiteY20" fmla="*/ 2826113 h 3498714"/>
                  <a:gd name="connsiteX21" fmla="*/ 1970999 w 5388995"/>
                  <a:gd name="connsiteY21" fmla="*/ 2826112 h 3498714"/>
                  <a:gd name="connsiteX22" fmla="*/ 1850348 w 5388995"/>
                  <a:gd name="connsiteY22" fmla="*/ 2705462 h 3498714"/>
                  <a:gd name="connsiteX23" fmla="*/ 1956769 w 5388995"/>
                  <a:gd name="connsiteY23" fmla="*/ 2587684 h 3498714"/>
                  <a:gd name="connsiteX24" fmla="*/ 1823360 w 5388995"/>
                  <a:gd name="connsiteY24" fmla="*/ 2279217 h 3498714"/>
                  <a:gd name="connsiteX25" fmla="*/ 2217440 w 5388995"/>
                  <a:gd name="connsiteY25" fmla="*/ 1856216 h 3498714"/>
                  <a:gd name="connsiteX26" fmla="*/ 2534724 w 5388995"/>
                  <a:gd name="connsiteY26" fmla="*/ 982297 h 3498714"/>
                  <a:gd name="connsiteX27" fmla="*/ 358791 w 5388995"/>
                  <a:gd name="connsiteY27" fmla="*/ 644545 h 3498714"/>
                  <a:gd name="connsiteX28" fmla="*/ 1006774 w 5388995"/>
                  <a:gd name="connsiteY28" fmla="*/ 644545 h 3498714"/>
                  <a:gd name="connsiteX29" fmla="*/ 1542636 w 5388995"/>
                  <a:gd name="connsiteY29" fmla="*/ 1193969 h 3498714"/>
                  <a:gd name="connsiteX30" fmla="*/ 1929878 w 5388995"/>
                  <a:gd name="connsiteY30" fmla="*/ 1193970 h 3498714"/>
                  <a:gd name="connsiteX31" fmla="*/ 2070059 w 5388995"/>
                  <a:gd name="connsiteY31" fmla="*/ 1334152 h 3498714"/>
                  <a:gd name="connsiteX32" fmla="*/ 1929878 w 5388995"/>
                  <a:gd name="connsiteY32" fmla="*/ 1474333 h 3498714"/>
                  <a:gd name="connsiteX33" fmla="*/ 1520943 w 5388995"/>
                  <a:gd name="connsiteY33" fmla="*/ 1470388 h 3498714"/>
                  <a:gd name="connsiteX34" fmla="*/ 1332825 w 5388995"/>
                  <a:gd name="connsiteY34" fmla="*/ 1367201 h 3498714"/>
                  <a:gd name="connsiteX35" fmla="*/ 1106501 w 5388995"/>
                  <a:gd name="connsiteY35" fmla="*/ 1098289 h 3498714"/>
                  <a:gd name="connsiteX36" fmla="*/ 1101049 w 5388995"/>
                  <a:gd name="connsiteY36" fmla="*/ 1092836 h 3498714"/>
                  <a:gd name="connsiteX37" fmla="*/ 1046523 w 5388995"/>
                  <a:gd name="connsiteY37" fmla="*/ 1092836 h 3498714"/>
                  <a:gd name="connsiteX38" fmla="*/ 1041071 w 5388995"/>
                  <a:gd name="connsiteY38" fmla="*/ 1098289 h 3498714"/>
                  <a:gd name="connsiteX39" fmla="*/ 1042136 w 5388995"/>
                  <a:gd name="connsiteY39" fmla="*/ 1419754 h 3498714"/>
                  <a:gd name="connsiteX40" fmla="*/ 1042136 w 5388995"/>
                  <a:gd name="connsiteY40" fmla="*/ 3337652 h 3498714"/>
                  <a:gd name="connsiteX41" fmla="*/ 881075 w 5388995"/>
                  <a:gd name="connsiteY41" fmla="*/ 3498714 h 3498714"/>
                  <a:gd name="connsiteX42" fmla="*/ 720012 w 5388995"/>
                  <a:gd name="connsiteY42" fmla="*/ 3337652 h 3498714"/>
                  <a:gd name="connsiteX43" fmla="*/ 720012 w 5388995"/>
                  <a:gd name="connsiteY43" fmla="*/ 2125717 h 3498714"/>
                  <a:gd name="connsiteX44" fmla="*/ 718947 w 5388995"/>
                  <a:gd name="connsiteY44" fmla="*/ 2033194 h 3498714"/>
                  <a:gd name="connsiteX45" fmla="*/ 714162 w 5388995"/>
                  <a:gd name="connsiteY45" fmla="*/ 2028410 h 3498714"/>
                  <a:gd name="connsiteX46" fmla="*/ 654759 w 5388995"/>
                  <a:gd name="connsiteY46" fmla="*/ 2028410 h 3498714"/>
                  <a:gd name="connsiteX47" fmla="*/ 649974 w 5388995"/>
                  <a:gd name="connsiteY47" fmla="*/ 2033194 h 3498714"/>
                  <a:gd name="connsiteX48" fmla="*/ 649974 w 5388995"/>
                  <a:gd name="connsiteY48" fmla="*/ 2125717 h 3498714"/>
                  <a:gd name="connsiteX49" fmla="*/ 649574 w 5388995"/>
                  <a:gd name="connsiteY49" fmla="*/ 3337652 h 3498714"/>
                  <a:gd name="connsiteX50" fmla="*/ 488511 w 5388995"/>
                  <a:gd name="connsiteY50" fmla="*/ 3498714 h 3498714"/>
                  <a:gd name="connsiteX51" fmla="*/ 327450 w 5388995"/>
                  <a:gd name="connsiteY51" fmla="*/ 3337652 h 3498714"/>
                  <a:gd name="connsiteX52" fmla="*/ 327450 w 5388995"/>
                  <a:gd name="connsiteY52" fmla="*/ 1458216 h 3498714"/>
                  <a:gd name="connsiteX53" fmla="*/ 322427 w 5388995"/>
                  <a:gd name="connsiteY53" fmla="*/ 1098205 h 3498714"/>
                  <a:gd name="connsiteX54" fmla="*/ 317058 w 5388995"/>
                  <a:gd name="connsiteY54" fmla="*/ 1092836 h 3498714"/>
                  <a:gd name="connsiteX55" fmla="*/ 263371 w 5388995"/>
                  <a:gd name="connsiteY55" fmla="*/ 1092836 h 3498714"/>
                  <a:gd name="connsiteX56" fmla="*/ 258001 w 5388995"/>
                  <a:gd name="connsiteY56" fmla="*/ 1098205 h 3498714"/>
                  <a:gd name="connsiteX57" fmla="*/ 258001 w 5388995"/>
                  <a:gd name="connsiteY57" fmla="*/ 1444446 h 3498714"/>
                  <a:gd name="connsiteX58" fmla="*/ 257700 w 5388995"/>
                  <a:gd name="connsiteY58" fmla="*/ 1444370 h 3498714"/>
                  <a:gd name="connsiteX59" fmla="*/ 257700 w 5388995"/>
                  <a:gd name="connsiteY59" fmla="*/ 1912573 h 3498714"/>
                  <a:gd name="connsiteX60" fmla="*/ 128850 w 5388995"/>
                  <a:gd name="connsiteY60" fmla="*/ 2041423 h 3498714"/>
                  <a:gd name="connsiteX61" fmla="*/ 0 w 5388995"/>
                  <a:gd name="connsiteY61" fmla="*/ 1912573 h 3498714"/>
                  <a:gd name="connsiteX62" fmla="*/ 0 w 5388995"/>
                  <a:gd name="connsiteY62" fmla="*/ 1101802 h 3498714"/>
                  <a:gd name="connsiteX63" fmla="*/ 0 w 5388995"/>
                  <a:gd name="connsiteY63" fmla="*/ 1003338 h 3498714"/>
                  <a:gd name="connsiteX64" fmla="*/ 0 w 5388995"/>
                  <a:gd name="connsiteY64" fmla="*/ 982486 h 3498714"/>
                  <a:gd name="connsiteX65" fmla="*/ 12733 w 5388995"/>
                  <a:gd name="connsiteY65" fmla="*/ 894663 h 3498714"/>
                  <a:gd name="connsiteX66" fmla="*/ 20539 w 5388995"/>
                  <a:gd name="connsiteY66" fmla="*/ 868773 h 3498714"/>
                  <a:gd name="connsiteX67" fmla="*/ 358791 w 5388995"/>
                  <a:gd name="connsiteY67" fmla="*/ 644545 h 3498714"/>
                  <a:gd name="connsiteX68" fmla="*/ 682782 w 5388995"/>
                  <a:gd name="connsiteY68" fmla="*/ 0 h 3498714"/>
                  <a:gd name="connsiteX69" fmla="*/ 966919 w 5388995"/>
                  <a:gd name="connsiteY69" fmla="*/ 284138 h 3498714"/>
                  <a:gd name="connsiteX70" fmla="*/ 682782 w 5388995"/>
                  <a:gd name="connsiteY70" fmla="*/ 568275 h 3498714"/>
                  <a:gd name="connsiteX71" fmla="*/ 398645 w 5388995"/>
                  <a:gd name="connsiteY71" fmla="*/ 284138 h 3498714"/>
                  <a:gd name="connsiteX72" fmla="*/ 682782 w 5388995"/>
                  <a:gd name="connsiteY72" fmla="*/ 0 h 3498714"/>
                  <a:gd name="connsiteX73" fmla="*/ 4707054 w 5388995"/>
                  <a:gd name="connsiteY73" fmla="*/ 2902312 h 3498714"/>
                  <a:gd name="connsiteX74" fmla="*/ 4818179 w 5388995"/>
                  <a:gd name="connsiteY74" fmla="*/ 3013437 h 3498714"/>
                  <a:gd name="connsiteX75" fmla="*/ 4707054 w 5388995"/>
                  <a:gd name="connsiteY75" fmla="*/ 3124562 h 3498714"/>
                  <a:gd name="connsiteX76" fmla="*/ 4545125 w 5388995"/>
                  <a:gd name="connsiteY76" fmla="*/ 3124562 h 3498714"/>
                  <a:gd name="connsiteX77" fmla="*/ 4545125 w 5388995"/>
                  <a:gd name="connsiteY77" fmla="*/ 3361625 h 3498714"/>
                  <a:gd name="connsiteX78" fmla="*/ 4436113 w 5388995"/>
                  <a:gd name="connsiteY78" fmla="*/ 3470637 h 3498714"/>
                  <a:gd name="connsiteX79" fmla="*/ 4235039 w 5388995"/>
                  <a:gd name="connsiteY79" fmla="*/ 3470637 h 3498714"/>
                  <a:gd name="connsiteX80" fmla="*/ 4126027 w 5388995"/>
                  <a:gd name="connsiteY80" fmla="*/ 3361625 h 3498714"/>
                  <a:gd name="connsiteX81" fmla="*/ 4126027 w 5388995"/>
                  <a:gd name="connsiteY81" fmla="*/ 3124562 h 3498714"/>
                  <a:gd name="connsiteX82" fmla="*/ 2589325 w 5388995"/>
                  <a:gd name="connsiteY82" fmla="*/ 3124562 h 3498714"/>
                  <a:gd name="connsiteX83" fmla="*/ 2589325 w 5388995"/>
                  <a:gd name="connsiteY83" fmla="*/ 3361625 h 3498714"/>
                  <a:gd name="connsiteX84" fmla="*/ 2480313 w 5388995"/>
                  <a:gd name="connsiteY84" fmla="*/ 3470637 h 3498714"/>
                  <a:gd name="connsiteX85" fmla="*/ 2279239 w 5388995"/>
                  <a:gd name="connsiteY85" fmla="*/ 3470637 h 3498714"/>
                  <a:gd name="connsiteX86" fmla="*/ 2170227 w 5388995"/>
                  <a:gd name="connsiteY86" fmla="*/ 3361625 h 3498714"/>
                  <a:gd name="connsiteX87" fmla="*/ 2170227 w 5388995"/>
                  <a:gd name="connsiteY87" fmla="*/ 3124562 h 3498714"/>
                  <a:gd name="connsiteX88" fmla="*/ 2052754 w 5388995"/>
                  <a:gd name="connsiteY88" fmla="*/ 3124562 h 3498714"/>
                  <a:gd name="connsiteX89" fmla="*/ 1941629 w 5388995"/>
                  <a:gd name="connsiteY89" fmla="*/ 3013437 h 3498714"/>
                  <a:gd name="connsiteX90" fmla="*/ 2052754 w 5388995"/>
                  <a:gd name="connsiteY90" fmla="*/ 2902312 h 3498714"/>
                  <a:gd name="connsiteX91" fmla="*/ 682782 w 5388995"/>
                  <a:gd name="connsiteY91" fmla="*/ 0 h 3498714"/>
                  <a:gd name="connsiteX92" fmla="*/ 4492583 w 5388995"/>
                  <a:gd name="connsiteY92" fmla="*/ 2089512 h 3498714"/>
                  <a:gd name="connsiteX93" fmla="*/ 4311608 w 5388995"/>
                  <a:gd name="connsiteY93" fmla="*/ 2270487 h 3498714"/>
                  <a:gd name="connsiteX94" fmla="*/ 4492583 w 5388995"/>
                  <a:gd name="connsiteY94" fmla="*/ 2451462 h 3498714"/>
                  <a:gd name="connsiteX95" fmla="*/ 5388995 w 5388995"/>
                  <a:gd name="connsiteY95" fmla="*/ 2075460 h 3498714"/>
                  <a:gd name="connsiteX0" fmla="*/ 2979061 w 4904699"/>
                  <a:gd name="connsiteY0" fmla="*/ 2089512 h 3498714"/>
                  <a:gd name="connsiteX1" fmla="*/ 2671086 w 4904699"/>
                  <a:gd name="connsiteY1" fmla="*/ 2397487 h 3498714"/>
                  <a:gd name="connsiteX2" fmla="*/ 2671086 w 4904699"/>
                  <a:gd name="connsiteY2" fmla="*/ 2584811 h 3498714"/>
                  <a:gd name="connsiteX3" fmla="*/ 4083961 w 4904699"/>
                  <a:gd name="connsiteY3" fmla="*/ 2584811 h 3498714"/>
                  <a:gd name="connsiteX4" fmla="*/ 4083961 w 4904699"/>
                  <a:gd name="connsiteY4" fmla="*/ 2397487 h 3498714"/>
                  <a:gd name="connsiteX5" fmla="*/ 3775986 w 4904699"/>
                  <a:gd name="connsiteY5" fmla="*/ 2089512 h 3498714"/>
                  <a:gd name="connsiteX6" fmla="*/ 2979061 w 4904699"/>
                  <a:gd name="connsiteY6" fmla="*/ 2089512 h 3498714"/>
                  <a:gd name="connsiteX7" fmla="*/ 2251033 w 4904699"/>
                  <a:gd name="connsiteY7" fmla="*/ 2089512 h 3498714"/>
                  <a:gd name="connsiteX8" fmla="*/ 2070058 w 4904699"/>
                  <a:gd name="connsiteY8" fmla="*/ 2270487 h 3498714"/>
                  <a:gd name="connsiteX9" fmla="*/ 2251033 w 4904699"/>
                  <a:gd name="connsiteY9" fmla="*/ 2451462 h 3498714"/>
                  <a:gd name="connsiteX10" fmla="*/ 2432008 w 4904699"/>
                  <a:gd name="connsiteY10" fmla="*/ 2270487 h 3498714"/>
                  <a:gd name="connsiteX11" fmla="*/ 2251033 w 4904699"/>
                  <a:gd name="connsiteY11" fmla="*/ 2089512 h 3498714"/>
                  <a:gd name="connsiteX12" fmla="*/ 2842751 w 4904699"/>
                  <a:gd name="connsiteY12" fmla="*/ 1749356 h 3498714"/>
                  <a:gd name="connsiteX13" fmla="*/ 2392797 w 4904699"/>
                  <a:gd name="connsiteY13" fmla="*/ 1878907 h 3498714"/>
                  <a:gd name="connsiteX14" fmla="*/ 2478781 w 4904699"/>
                  <a:gd name="connsiteY14" fmla="*/ 1920808 h 3498714"/>
                  <a:gd name="connsiteX15" fmla="*/ 2842751 w 4904699"/>
                  <a:gd name="connsiteY15" fmla="*/ 1749356 h 3498714"/>
                  <a:gd name="connsiteX16" fmla="*/ 2534724 w 4904699"/>
                  <a:gd name="connsiteY16" fmla="*/ 982297 h 3498714"/>
                  <a:gd name="connsiteX17" fmla="*/ 4802103 w 4904699"/>
                  <a:gd name="connsiteY17" fmla="*/ 2588456 h 3498714"/>
                  <a:gd name="connsiteX18" fmla="*/ 4904699 w 4904699"/>
                  <a:gd name="connsiteY18" fmla="*/ 2705462 h 3498714"/>
                  <a:gd name="connsiteX19" fmla="*/ 4904698 w 4904699"/>
                  <a:gd name="connsiteY19" fmla="*/ 2705462 h 3498714"/>
                  <a:gd name="connsiteX20" fmla="*/ 4784047 w 4904699"/>
                  <a:gd name="connsiteY20" fmla="*/ 2826113 h 3498714"/>
                  <a:gd name="connsiteX21" fmla="*/ 1970999 w 4904699"/>
                  <a:gd name="connsiteY21" fmla="*/ 2826112 h 3498714"/>
                  <a:gd name="connsiteX22" fmla="*/ 1850348 w 4904699"/>
                  <a:gd name="connsiteY22" fmla="*/ 2705462 h 3498714"/>
                  <a:gd name="connsiteX23" fmla="*/ 1956769 w 4904699"/>
                  <a:gd name="connsiteY23" fmla="*/ 2587684 h 3498714"/>
                  <a:gd name="connsiteX24" fmla="*/ 1823360 w 4904699"/>
                  <a:gd name="connsiteY24" fmla="*/ 2279217 h 3498714"/>
                  <a:gd name="connsiteX25" fmla="*/ 2217440 w 4904699"/>
                  <a:gd name="connsiteY25" fmla="*/ 1856216 h 3498714"/>
                  <a:gd name="connsiteX26" fmla="*/ 2534724 w 4904699"/>
                  <a:gd name="connsiteY26" fmla="*/ 982297 h 3498714"/>
                  <a:gd name="connsiteX27" fmla="*/ 358791 w 4904699"/>
                  <a:gd name="connsiteY27" fmla="*/ 644545 h 3498714"/>
                  <a:gd name="connsiteX28" fmla="*/ 1006774 w 4904699"/>
                  <a:gd name="connsiteY28" fmla="*/ 644545 h 3498714"/>
                  <a:gd name="connsiteX29" fmla="*/ 1542636 w 4904699"/>
                  <a:gd name="connsiteY29" fmla="*/ 1193969 h 3498714"/>
                  <a:gd name="connsiteX30" fmla="*/ 1929878 w 4904699"/>
                  <a:gd name="connsiteY30" fmla="*/ 1193970 h 3498714"/>
                  <a:gd name="connsiteX31" fmla="*/ 2070059 w 4904699"/>
                  <a:gd name="connsiteY31" fmla="*/ 1334152 h 3498714"/>
                  <a:gd name="connsiteX32" fmla="*/ 1929878 w 4904699"/>
                  <a:gd name="connsiteY32" fmla="*/ 1474333 h 3498714"/>
                  <a:gd name="connsiteX33" fmla="*/ 1520943 w 4904699"/>
                  <a:gd name="connsiteY33" fmla="*/ 1470388 h 3498714"/>
                  <a:gd name="connsiteX34" fmla="*/ 1332825 w 4904699"/>
                  <a:gd name="connsiteY34" fmla="*/ 1367201 h 3498714"/>
                  <a:gd name="connsiteX35" fmla="*/ 1106501 w 4904699"/>
                  <a:gd name="connsiteY35" fmla="*/ 1098289 h 3498714"/>
                  <a:gd name="connsiteX36" fmla="*/ 1101049 w 4904699"/>
                  <a:gd name="connsiteY36" fmla="*/ 1092836 h 3498714"/>
                  <a:gd name="connsiteX37" fmla="*/ 1046523 w 4904699"/>
                  <a:gd name="connsiteY37" fmla="*/ 1092836 h 3498714"/>
                  <a:gd name="connsiteX38" fmla="*/ 1041071 w 4904699"/>
                  <a:gd name="connsiteY38" fmla="*/ 1098289 h 3498714"/>
                  <a:gd name="connsiteX39" fmla="*/ 1042136 w 4904699"/>
                  <a:gd name="connsiteY39" fmla="*/ 1419754 h 3498714"/>
                  <a:gd name="connsiteX40" fmla="*/ 1042136 w 4904699"/>
                  <a:gd name="connsiteY40" fmla="*/ 3337652 h 3498714"/>
                  <a:gd name="connsiteX41" fmla="*/ 881075 w 4904699"/>
                  <a:gd name="connsiteY41" fmla="*/ 3498714 h 3498714"/>
                  <a:gd name="connsiteX42" fmla="*/ 720012 w 4904699"/>
                  <a:gd name="connsiteY42" fmla="*/ 3337652 h 3498714"/>
                  <a:gd name="connsiteX43" fmla="*/ 720012 w 4904699"/>
                  <a:gd name="connsiteY43" fmla="*/ 2125717 h 3498714"/>
                  <a:gd name="connsiteX44" fmla="*/ 718947 w 4904699"/>
                  <a:gd name="connsiteY44" fmla="*/ 2033194 h 3498714"/>
                  <a:gd name="connsiteX45" fmla="*/ 714162 w 4904699"/>
                  <a:gd name="connsiteY45" fmla="*/ 2028410 h 3498714"/>
                  <a:gd name="connsiteX46" fmla="*/ 654759 w 4904699"/>
                  <a:gd name="connsiteY46" fmla="*/ 2028410 h 3498714"/>
                  <a:gd name="connsiteX47" fmla="*/ 649974 w 4904699"/>
                  <a:gd name="connsiteY47" fmla="*/ 2033194 h 3498714"/>
                  <a:gd name="connsiteX48" fmla="*/ 649974 w 4904699"/>
                  <a:gd name="connsiteY48" fmla="*/ 2125717 h 3498714"/>
                  <a:gd name="connsiteX49" fmla="*/ 649574 w 4904699"/>
                  <a:gd name="connsiteY49" fmla="*/ 3337652 h 3498714"/>
                  <a:gd name="connsiteX50" fmla="*/ 488511 w 4904699"/>
                  <a:gd name="connsiteY50" fmla="*/ 3498714 h 3498714"/>
                  <a:gd name="connsiteX51" fmla="*/ 327450 w 4904699"/>
                  <a:gd name="connsiteY51" fmla="*/ 3337652 h 3498714"/>
                  <a:gd name="connsiteX52" fmla="*/ 327450 w 4904699"/>
                  <a:gd name="connsiteY52" fmla="*/ 1458216 h 3498714"/>
                  <a:gd name="connsiteX53" fmla="*/ 322427 w 4904699"/>
                  <a:gd name="connsiteY53" fmla="*/ 1098205 h 3498714"/>
                  <a:gd name="connsiteX54" fmla="*/ 317058 w 4904699"/>
                  <a:gd name="connsiteY54" fmla="*/ 1092836 h 3498714"/>
                  <a:gd name="connsiteX55" fmla="*/ 263371 w 4904699"/>
                  <a:gd name="connsiteY55" fmla="*/ 1092836 h 3498714"/>
                  <a:gd name="connsiteX56" fmla="*/ 258001 w 4904699"/>
                  <a:gd name="connsiteY56" fmla="*/ 1098205 h 3498714"/>
                  <a:gd name="connsiteX57" fmla="*/ 258001 w 4904699"/>
                  <a:gd name="connsiteY57" fmla="*/ 1444446 h 3498714"/>
                  <a:gd name="connsiteX58" fmla="*/ 257700 w 4904699"/>
                  <a:gd name="connsiteY58" fmla="*/ 1444370 h 3498714"/>
                  <a:gd name="connsiteX59" fmla="*/ 257700 w 4904699"/>
                  <a:gd name="connsiteY59" fmla="*/ 1912573 h 3498714"/>
                  <a:gd name="connsiteX60" fmla="*/ 128850 w 4904699"/>
                  <a:gd name="connsiteY60" fmla="*/ 2041423 h 3498714"/>
                  <a:gd name="connsiteX61" fmla="*/ 0 w 4904699"/>
                  <a:gd name="connsiteY61" fmla="*/ 1912573 h 3498714"/>
                  <a:gd name="connsiteX62" fmla="*/ 0 w 4904699"/>
                  <a:gd name="connsiteY62" fmla="*/ 1101802 h 3498714"/>
                  <a:gd name="connsiteX63" fmla="*/ 0 w 4904699"/>
                  <a:gd name="connsiteY63" fmla="*/ 1003338 h 3498714"/>
                  <a:gd name="connsiteX64" fmla="*/ 0 w 4904699"/>
                  <a:gd name="connsiteY64" fmla="*/ 982486 h 3498714"/>
                  <a:gd name="connsiteX65" fmla="*/ 12733 w 4904699"/>
                  <a:gd name="connsiteY65" fmla="*/ 894663 h 3498714"/>
                  <a:gd name="connsiteX66" fmla="*/ 20539 w 4904699"/>
                  <a:gd name="connsiteY66" fmla="*/ 868773 h 3498714"/>
                  <a:gd name="connsiteX67" fmla="*/ 358791 w 4904699"/>
                  <a:gd name="connsiteY67" fmla="*/ 644545 h 3498714"/>
                  <a:gd name="connsiteX68" fmla="*/ 682782 w 4904699"/>
                  <a:gd name="connsiteY68" fmla="*/ 0 h 3498714"/>
                  <a:gd name="connsiteX69" fmla="*/ 966919 w 4904699"/>
                  <a:gd name="connsiteY69" fmla="*/ 284138 h 3498714"/>
                  <a:gd name="connsiteX70" fmla="*/ 682782 w 4904699"/>
                  <a:gd name="connsiteY70" fmla="*/ 568275 h 3498714"/>
                  <a:gd name="connsiteX71" fmla="*/ 398645 w 4904699"/>
                  <a:gd name="connsiteY71" fmla="*/ 284138 h 3498714"/>
                  <a:gd name="connsiteX72" fmla="*/ 682782 w 4904699"/>
                  <a:gd name="connsiteY72" fmla="*/ 0 h 3498714"/>
                  <a:gd name="connsiteX73" fmla="*/ 4707054 w 4904699"/>
                  <a:gd name="connsiteY73" fmla="*/ 2902312 h 3498714"/>
                  <a:gd name="connsiteX74" fmla="*/ 4818179 w 4904699"/>
                  <a:gd name="connsiteY74" fmla="*/ 3013437 h 3498714"/>
                  <a:gd name="connsiteX75" fmla="*/ 4707054 w 4904699"/>
                  <a:gd name="connsiteY75" fmla="*/ 3124562 h 3498714"/>
                  <a:gd name="connsiteX76" fmla="*/ 4545125 w 4904699"/>
                  <a:gd name="connsiteY76" fmla="*/ 3124562 h 3498714"/>
                  <a:gd name="connsiteX77" fmla="*/ 4545125 w 4904699"/>
                  <a:gd name="connsiteY77" fmla="*/ 3361625 h 3498714"/>
                  <a:gd name="connsiteX78" fmla="*/ 4436113 w 4904699"/>
                  <a:gd name="connsiteY78" fmla="*/ 3470637 h 3498714"/>
                  <a:gd name="connsiteX79" fmla="*/ 4235039 w 4904699"/>
                  <a:gd name="connsiteY79" fmla="*/ 3470637 h 3498714"/>
                  <a:gd name="connsiteX80" fmla="*/ 4126027 w 4904699"/>
                  <a:gd name="connsiteY80" fmla="*/ 3361625 h 3498714"/>
                  <a:gd name="connsiteX81" fmla="*/ 4126027 w 4904699"/>
                  <a:gd name="connsiteY81" fmla="*/ 3124562 h 3498714"/>
                  <a:gd name="connsiteX82" fmla="*/ 2589325 w 4904699"/>
                  <a:gd name="connsiteY82" fmla="*/ 3124562 h 3498714"/>
                  <a:gd name="connsiteX83" fmla="*/ 2589325 w 4904699"/>
                  <a:gd name="connsiteY83" fmla="*/ 3361625 h 3498714"/>
                  <a:gd name="connsiteX84" fmla="*/ 2480313 w 4904699"/>
                  <a:gd name="connsiteY84" fmla="*/ 3470637 h 3498714"/>
                  <a:gd name="connsiteX85" fmla="*/ 2279239 w 4904699"/>
                  <a:gd name="connsiteY85" fmla="*/ 3470637 h 3498714"/>
                  <a:gd name="connsiteX86" fmla="*/ 2170227 w 4904699"/>
                  <a:gd name="connsiteY86" fmla="*/ 3361625 h 3498714"/>
                  <a:gd name="connsiteX87" fmla="*/ 2170227 w 4904699"/>
                  <a:gd name="connsiteY87" fmla="*/ 3124562 h 3498714"/>
                  <a:gd name="connsiteX88" fmla="*/ 2052754 w 4904699"/>
                  <a:gd name="connsiteY88" fmla="*/ 3124562 h 3498714"/>
                  <a:gd name="connsiteX89" fmla="*/ 1941629 w 4904699"/>
                  <a:gd name="connsiteY89" fmla="*/ 3013437 h 3498714"/>
                  <a:gd name="connsiteX90" fmla="*/ 2052754 w 4904699"/>
                  <a:gd name="connsiteY90" fmla="*/ 2902312 h 3498714"/>
                  <a:gd name="connsiteX91" fmla="*/ 682782 w 4904699"/>
                  <a:gd name="connsiteY91" fmla="*/ 0 h 3498714"/>
                  <a:gd name="connsiteX92" fmla="*/ 4492583 w 4904699"/>
                  <a:gd name="connsiteY92" fmla="*/ 2089512 h 3498714"/>
                  <a:gd name="connsiteX93" fmla="*/ 4311608 w 4904699"/>
                  <a:gd name="connsiteY93" fmla="*/ 2270487 h 3498714"/>
                  <a:gd name="connsiteX94" fmla="*/ 4492583 w 4904699"/>
                  <a:gd name="connsiteY94" fmla="*/ 2451462 h 3498714"/>
                  <a:gd name="connsiteX0" fmla="*/ 2979061 w 4904699"/>
                  <a:gd name="connsiteY0" fmla="*/ 2089512 h 3498714"/>
                  <a:gd name="connsiteX1" fmla="*/ 2671086 w 4904699"/>
                  <a:gd name="connsiteY1" fmla="*/ 2397487 h 3498714"/>
                  <a:gd name="connsiteX2" fmla="*/ 2671086 w 4904699"/>
                  <a:gd name="connsiteY2" fmla="*/ 2584811 h 3498714"/>
                  <a:gd name="connsiteX3" fmla="*/ 4083961 w 4904699"/>
                  <a:gd name="connsiteY3" fmla="*/ 2584811 h 3498714"/>
                  <a:gd name="connsiteX4" fmla="*/ 4083961 w 4904699"/>
                  <a:gd name="connsiteY4" fmla="*/ 2397487 h 3498714"/>
                  <a:gd name="connsiteX5" fmla="*/ 3775986 w 4904699"/>
                  <a:gd name="connsiteY5" fmla="*/ 2089512 h 3498714"/>
                  <a:gd name="connsiteX6" fmla="*/ 2979061 w 4904699"/>
                  <a:gd name="connsiteY6" fmla="*/ 2089512 h 3498714"/>
                  <a:gd name="connsiteX7" fmla="*/ 2251033 w 4904699"/>
                  <a:gd name="connsiteY7" fmla="*/ 2089512 h 3498714"/>
                  <a:gd name="connsiteX8" fmla="*/ 2070058 w 4904699"/>
                  <a:gd name="connsiteY8" fmla="*/ 2270487 h 3498714"/>
                  <a:gd name="connsiteX9" fmla="*/ 2251033 w 4904699"/>
                  <a:gd name="connsiteY9" fmla="*/ 2451462 h 3498714"/>
                  <a:gd name="connsiteX10" fmla="*/ 2432008 w 4904699"/>
                  <a:gd name="connsiteY10" fmla="*/ 2270487 h 3498714"/>
                  <a:gd name="connsiteX11" fmla="*/ 2251033 w 4904699"/>
                  <a:gd name="connsiteY11" fmla="*/ 2089512 h 3498714"/>
                  <a:gd name="connsiteX12" fmla="*/ 2842751 w 4904699"/>
                  <a:gd name="connsiteY12" fmla="*/ 1749356 h 3498714"/>
                  <a:gd name="connsiteX13" fmla="*/ 2392797 w 4904699"/>
                  <a:gd name="connsiteY13" fmla="*/ 1878907 h 3498714"/>
                  <a:gd name="connsiteX14" fmla="*/ 2478781 w 4904699"/>
                  <a:gd name="connsiteY14" fmla="*/ 1920808 h 3498714"/>
                  <a:gd name="connsiteX15" fmla="*/ 2842751 w 4904699"/>
                  <a:gd name="connsiteY15" fmla="*/ 1749356 h 3498714"/>
                  <a:gd name="connsiteX16" fmla="*/ 2534724 w 4904699"/>
                  <a:gd name="connsiteY16" fmla="*/ 982297 h 3498714"/>
                  <a:gd name="connsiteX17" fmla="*/ 4802103 w 4904699"/>
                  <a:gd name="connsiteY17" fmla="*/ 2588456 h 3498714"/>
                  <a:gd name="connsiteX18" fmla="*/ 4904699 w 4904699"/>
                  <a:gd name="connsiteY18" fmla="*/ 2705462 h 3498714"/>
                  <a:gd name="connsiteX19" fmla="*/ 4904698 w 4904699"/>
                  <a:gd name="connsiteY19" fmla="*/ 2705462 h 3498714"/>
                  <a:gd name="connsiteX20" fmla="*/ 4784047 w 4904699"/>
                  <a:gd name="connsiteY20" fmla="*/ 2826113 h 3498714"/>
                  <a:gd name="connsiteX21" fmla="*/ 1970999 w 4904699"/>
                  <a:gd name="connsiteY21" fmla="*/ 2826112 h 3498714"/>
                  <a:gd name="connsiteX22" fmla="*/ 1850348 w 4904699"/>
                  <a:gd name="connsiteY22" fmla="*/ 2705462 h 3498714"/>
                  <a:gd name="connsiteX23" fmla="*/ 1956769 w 4904699"/>
                  <a:gd name="connsiteY23" fmla="*/ 2587684 h 3498714"/>
                  <a:gd name="connsiteX24" fmla="*/ 1823360 w 4904699"/>
                  <a:gd name="connsiteY24" fmla="*/ 2279217 h 3498714"/>
                  <a:gd name="connsiteX25" fmla="*/ 2217440 w 4904699"/>
                  <a:gd name="connsiteY25" fmla="*/ 1856216 h 3498714"/>
                  <a:gd name="connsiteX26" fmla="*/ 2534724 w 4904699"/>
                  <a:gd name="connsiteY26" fmla="*/ 982297 h 3498714"/>
                  <a:gd name="connsiteX27" fmla="*/ 358791 w 4904699"/>
                  <a:gd name="connsiteY27" fmla="*/ 644545 h 3498714"/>
                  <a:gd name="connsiteX28" fmla="*/ 1006774 w 4904699"/>
                  <a:gd name="connsiteY28" fmla="*/ 644545 h 3498714"/>
                  <a:gd name="connsiteX29" fmla="*/ 1542636 w 4904699"/>
                  <a:gd name="connsiteY29" fmla="*/ 1193969 h 3498714"/>
                  <a:gd name="connsiteX30" fmla="*/ 1929878 w 4904699"/>
                  <a:gd name="connsiteY30" fmla="*/ 1193970 h 3498714"/>
                  <a:gd name="connsiteX31" fmla="*/ 2070059 w 4904699"/>
                  <a:gd name="connsiteY31" fmla="*/ 1334152 h 3498714"/>
                  <a:gd name="connsiteX32" fmla="*/ 1929878 w 4904699"/>
                  <a:gd name="connsiteY32" fmla="*/ 1474333 h 3498714"/>
                  <a:gd name="connsiteX33" fmla="*/ 1520943 w 4904699"/>
                  <a:gd name="connsiteY33" fmla="*/ 1470388 h 3498714"/>
                  <a:gd name="connsiteX34" fmla="*/ 1332825 w 4904699"/>
                  <a:gd name="connsiteY34" fmla="*/ 1367201 h 3498714"/>
                  <a:gd name="connsiteX35" fmla="*/ 1106501 w 4904699"/>
                  <a:gd name="connsiteY35" fmla="*/ 1098289 h 3498714"/>
                  <a:gd name="connsiteX36" fmla="*/ 1101049 w 4904699"/>
                  <a:gd name="connsiteY36" fmla="*/ 1092836 h 3498714"/>
                  <a:gd name="connsiteX37" fmla="*/ 1046523 w 4904699"/>
                  <a:gd name="connsiteY37" fmla="*/ 1092836 h 3498714"/>
                  <a:gd name="connsiteX38" fmla="*/ 1041071 w 4904699"/>
                  <a:gd name="connsiteY38" fmla="*/ 1098289 h 3498714"/>
                  <a:gd name="connsiteX39" fmla="*/ 1042136 w 4904699"/>
                  <a:gd name="connsiteY39" fmla="*/ 1419754 h 3498714"/>
                  <a:gd name="connsiteX40" fmla="*/ 1042136 w 4904699"/>
                  <a:gd name="connsiteY40" fmla="*/ 3337652 h 3498714"/>
                  <a:gd name="connsiteX41" fmla="*/ 881075 w 4904699"/>
                  <a:gd name="connsiteY41" fmla="*/ 3498714 h 3498714"/>
                  <a:gd name="connsiteX42" fmla="*/ 720012 w 4904699"/>
                  <a:gd name="connsiteY42" fmla="*/ 3337652 h 3498714"/>
                  <a:gd name="connsiteX43" fmla="*/ 720012 w 4904699"/>
                  <a:gd name="connsiteY43" fmla="*/ 2125717 h 3498714"/>
                  <a:gd name="connsiteX44" fmla="*/ 718947 w 4904699"/>
                  <a:gd name="connsiteY44" fmla="*/ 2033194 h 3498714"/>
                  <a:gd name="connsiteX45" fmla="*/ 714162 w 4904699"/>
                  <a:gd name="connsiteY45" fmla="*/ 2028410 h 3498714"/>
                  <a:gd name="connsiteX46" fmla="*/ 654759 w 4904699"/>
                  <a:gd name="connsiteY46" fmla="*/ 2028410 h 3498714"/>
                  <a:gd name="connsiteX47" fmla="*/ 649974 w 4904699"/>
                  <a:gd name="connsiteY47" fmla="*/ 2033194 h 3498714"/>
                  <a:gd name="connsiteX48" fmla="*/ 649974 w 4904699"/>
                  <a:gd name="connsiteY48" fmla="*/ 2125717 h 3498714"/>
                  <a:gd name="connsiteX49" fmla="*/ 649574 w 4904699"/>
                  <a:gd name="connsiteY49" fmla="*/ 3337652 h 3498714"/>
                  <a:gd name="connsiteX50" fmla="*/ 488511 w 4904699"/>
                  <a:gd name="connsiteY50" fmla="*/ 3498714 h 3498714"/>
                  <a:gd name="connsiteX51" fmla="*/ 327450 w 4904699"/>
                  <a:gd name="connsiteY51" fmla="*/ 3337652 h 3498714"/>
                  <a:gd name="connsiteX52" fmla="*/ 327450 w 4904699"/>
                  <a:gd name="connsiteY52" fmla="*/ 1458216 h 3498714"/>
                  <a:gd name="connsiteX53" fmla="*/ 322427 w 4904699"/>
                  <a:gd name="connsiteY53" fmla="*/ 1098205 h 3498714"/>
                  <a:gd name="connsiteX54" fmla="*/ 317058 w 4904699"/>
                  <a:gd name="connsiteY54" fmla="*/ 1092836 h 3498714"/>
                  <a:gd name="connsiteX55" fmla="*/ 263371 w 4904699"/>
                  <a:gd name="connsiteY55" fmla="*/ 1092836 h 3498714"/>
                  <a:gd name="connsiteX56" fmla="*/ 258001 w 4904699"/>
                  <a:gd name="connsiteY56" fmla="*/ 1098205 h 3498714"/>
                  <a:gd name="connsiteX57" fmla="*/ 258001 w 4904699"/>
                  <a:gd name="connsiteY57" fmla="*/ 1444446 h 3498714"/>
                  <a:gd name="connsiteX58" fmla="*/ 257700 w 4904699"/>
                  <a:gd name="connsiteY58" fmla="*/ 1444370 h 3498714"/>
                  <a:gd name="connsiteX59" fmla="*/ 257700 w 4904699"/>
                  <a:gd name="connsiteY59" fmla="*/ 1912573 h 3498714"/>
                  <a:gd name="connsiteX60" fmla="*/ 128850 w 4904699"/>
                  <a:gd name="connsiteY60" fmla="*/ 2041423 h 3498714"/>
                  <a:gd name="connsiteX61" fmla="*/ 0 w 4904699"/>
                  <a:gd name="connsiteY61" fmla="*/ 1912573 h 3498714"/>
                  <a:gd name="connsiteX62" fmla="*/ 0 w 4904699"/>
                  <a:gd name="connsiteY62" fmla="*/ 1101802 h 3498714"/>
                  <a:gd name="connsiteX63" fmla="*/ 0 w 4904699"/>
                  <a:gd name="connsiteY63" fmla="*/ 1003338 h 3498714"/>
                  <a:gd name="connsiteX64" fmla="*/ 0 w 4904699"/>
                  <a:gd name="connsiteY64" fmla="*/ 982486 h 3498714"/>
                  <a:gd name="connsiteX65" fmla="*/ 12733 w 4904699"/>
                  <a:gd name="connsiteY65" fmla="*/ 894663 h 3498714"/>
                  <a:gd name="connsiteX66" fmla="*/ 20539 w 4904699"/>
                  <a:gd name="connsiteY66" fmla="*/ 868773 h 3498714"/>
                  <a:gd name="connsiteX67" fmla="*/ 358791 w 4904699"/>
                  <a:gd name="connsiteY67" fmla="*/ 644545 h 3498714"/>
                  <a:gd name="connsiteX68" fmla="*/ 682782 w 4904699"/>
                  <a:gd name="connsiteY68" fmla="*/ 0 h 3498714"/>
                  <a:gd name="connsiteX69" fmla="*/ 966919 w 4904699"/>
                  <a:gd name="connsiteY69" fmla="*/ 284138 h 3498714"/>
                  <a:gd name="connsiteX70" fmla="*/ 682782 w 4904699"/>
                  <a:gd name="connsiteY70" fmla="*/ 568275 h 3498714"/>
                  <a:gd name="connsiteX71" fmla="*/ 398645 w 4904699"/>
                  <a:gd name="connsiteY71" fmla="*/ 284138 h 3498714"/>
                  <a:gd name="connsiteX72" fmla="*/ 682782 w 4904699"/>
                  <a:gd name="connsiteY72" fmla="*/ 0 h 3498714"/>
                  <a:gd name="connsiteX73" fmla="*/ 4707054 w 4904699"/>
                  <a:gd name="connsiteY73" fmla="*/ 2902312 h 3498714"/>
                  <a:gd name="connsiteX74" fmla="*/ 4818179 w 4904699"/>
                  <a:gd name="connsiteY74" fmla="*/ 3013437 h 3498714"/>
                  <a:gd name="connsiteX75" fmla="*/ 4707054 w 4904699"/>
                  <a:gd name="connsiteY75" fmla="*/ 3124562 h 3498714"/>
                  <a:gd name="connsiteX76" fmla="*/ 4545125 w 4904699"/>
                  <a:gd name="connsiteY76" fmla="*/ 3124562 h 3498714"/>
                  <a:gd name="connsiteX77" fmla="*/ 4545125 w 4904699"/>
                  <a:gd name="connsiteY77" fmla="*/ 3361625 h 3498714"/>
                  <a:gd name="connsiteX78" fmla="*/ 4436113 w 4904699"/>
                  <a:gd name="connsiteY78" fmla="*/ 3470637 h 3498714"/>
                  <a:gd name="connsiteX79" fmla="*/ 4235039 w 4904699"/>
                  <a:gd name="connsiteY79" fmla="*/ 3470637 h 3498714"/>
                  <a:gd name="connsiteX80" fmla="*/ 4126027 w 4904699"/>
                  <a:gd name="connsiteY80" fmla="*/ 3361625 h 3498714"/>
                  <a:gd name="connsiteX81" fmla="*/ 4126027 w 4904699"/>
                  <a:gd name="connsiteY81" fmla="*/ 3124562 h 3498714"/>
                  <a:gd name="connsiteX82" fmla="*/ 2589325 w 4904699"/>
                  <a:gd name="connsiteY82" fmla="*/ 3124562 h 3498714"/>
                  <a:gd name="connsiteX83" fmla="*/ 2589325 w 4904699"/>
                  <a:gd name="connsiteY83" fmla="*/ 3361625 h 3498714"/>
                  <a:gd name="connsiteX84" fmla="*/ 2480313 w 4904699"/>
                  <a:gd name="connsiteY84" fmla="*/ 3470637 h 3498714"/>
                  <a:gd name="connsiteX85" fmla="*/ 2279239 w 4904699"/>
                  <a:gd name="connsiteY85" fmla="*/ 3470637 h 3498714"/>
                  <a:gd name="connsiteX86" fmla="*/ 2170227 w 4904699"/>
                  <a:gd name="connsiteY86" fmla="*/ 3361625 h 3498714"/>
                  <a:gd name="connsiteX87" fmla="*/ 2170227 w 4904699"/>
                  <a:gd name="connsiteY87" fmla="*/ 3124562 h 3498714"/>
                  <a:gd name="connsiteX88" fmla="*/ 2052754 w 4904699"/>
                  <a:gd name="connsiteY88" fmla="*/ 3124562 h 3498714"/>
                  <a:gd name="connsiteX89" fmla="*/ 1941629 w 4904699"/>
                  <a:gd name="connsiteY89" fmla="*/ 3013437 h 3498714"/>
                  <a:gd name="connsiteX90" fmla="*/ 2052754 w 4904699"/>
                  <a:gd name="connsiteY90" fmla="*/ 2902312 h 3498714"/>
                  <a:gd name="connsiteX91" fmla="*/ 682782 w 4904699"/>
                  <a:gd name="connsiteY91" fmla="*/ 0 h 3498714"/>
                  <a:gd name="connsiteX92" fmla="*/ 4311608 w 4904699"/>
                  <a:gd name="connsiteY92" fmla="*/ 2270487 h 3498714"/>
                  <a:gd name="connsiteX93" fmla="*/ 4492583 w 4904699"/>
                  <a:gd name="connsiteY93" fmla="*/ 2451462 h 3498714"/>
                  <a:gd name="connsiteX0" fmla="*/ 2979061 w 4904699"/>
                  <a:gd name="connsiteY0" fmla="*/ 2089512 h 3498714"/>
                  <a:gd name="connsiteX1" fmla="*/ 2671086 w 4904699"/>
                  <a:gd name="connsiteY1" fmla="*/ 2397487 h 3498714"/>
                  <a:gd name="connsiteX2" fmla="*/ 2671086 w 4904699"/>
                  <a:gd name="connsiteY2" fmla="*/ 2584811 h 3498714"/>
                  <a:gd name="connsiteX3" fmla="*/ 4083961 w 4904699"/>
                  <a:gd name="connsiteY3" fmla="*/ 2584811 h 3498714"/>
                  <a:gd name="connsiteX4" fmla="*/ 4083961 w 4904699"/>
                  <a:gd name="connsiteY4" fmla="*/ 2397487 h 3498714"/>
                  <a:gd name="connsiteX5" fmla="*/ 3775986 w 4904699"/>
                  <a:gd name="connsiteY5" fmla="*/ 2089512 h 3498714"/>
                  <a:gd name="connsiteX6" fmla="*/ 2979061 w 4904699"/>
                  <a:gd name="connsiteY6" fmla="*/ 2089512 h 3498714"/>
                  <a:gd name="connsiteX7" fmla="*/ 2251033 w 4904699"/>
                  <a:gd name="connsiteY7" fmla="*/ 2089512 h 3498714"/>
                  <a:gd name="connsiteX8" fmla="*/ 2070058 w 4904699"/>
                  <a:gd name="connsiteY8" fmla="*/ 2270487 h 3498714"/>
                  <a:gd name="connsiteX9" fmla="*/ 2251033 w 4904699"/>
                  <a:gd name="connsiteY9" fmla="*/ 2451462 h 3498714"/>
                  <a:gd name="connsiteX10" fmla="*/ 2432008 w 4904699"/>
                  <a:gd name="connsiteY10" fmla="*/ 2270487 h 3498714"/>
                  <a:gd name="connsiteX11" fmla="*/ 2251033 w 4904699"/>
                  <a:gd name="connsiteY11" fmla="*/ 2089512 h 3498714"/>
                  <a:gd name="connsiteX12" fmla="*/ 2842751 w 4904699"/>
                  <a:gd name="connsiteY12" fmla="*/ 1749356 h 3498714"/>
                  <a:gd name="connsiteX13" fmla="*/ 2392797 w 4904699"/>
                  <a:gd name="connsiteY13" fmla="*/ 1878907 h 3498714"/>
                  <a:gd name="connsiteX14" fmla="*/ 2478781 w 4904699"/>
                  <a:gd name="connsiteY14" fmla="*/ 1920808 h 3498714"/>
                  <a:gd name="connsiteX15" fmla="*/ 2842751 w 4904699"/>
                  <a:gd name="connsiteY15" fmla="*/ 1749356 h 3498714"/>
                  <a:gd name="connsiteX16" fmla="*/ 2534724 w 4904699"/>
                  <a:gd name="connsiteY16" fmla="*/ 982297 h 3498714"/>
                  <a:gd name="connsiteX17" fmla="*/ 4802103 w 4904699"/>
                  <a:gd name="connsiteY17" fmla="*/ 2588456 h 3498714"/>
                  <a:gd name="connsiteX18" fmla="*/ 4904699 w 4904699"/>
                  <a:gd name="connsiteY18" fmla="*/ 2705462 h 3498714"/>
                  <a:gd name="connsiteX19" fmla="*/ 4904698 w 4904699"/>
                  <a:gd name="connsiteY19" fmla="*/ 2705462 h 3498714"/>
                  <a:gd name="connsiteX20" fmla="*/ 4784047 w 4904699"/>
                  <a:gd name="connsiteY20" fmla="*/ 2826113 h 3498714"/>
                  <a:gd name="connsiteX21" fmla="*/ 1970999 w 4904699"/>
                  <a:gd name="connsiteY21" fmla="*/ 2826112 h 3498714"/>
                  <a:gd name="connsiteX22" fmla="*/ 1850348 w 4904699"/>
                  <a:gd name="connsiteY22" fmla="*/ 2705462 h 3498714"/>
                  <a:gd name="connsiteX23" fmla="*/ 1956769 w 4904699"/>
                  <a:gd name="connsiteY23" fmla="*/ 2587684 h 3498714"/>
                  <a:gd name="connsiteX24" fmla="*/ 1823360 w 4904699"/>
                  <a:gd name="connsiteY24" fmla="*/ 2279217 h 3498714"/>
                  <a:gd name="connsiteX25" fmla="*/ 2217440 w 4904699"/>
                  <a:gd name="connsiteY25" fmla="*/ 1856216 h 3498714"/>
                  <a:gd name="connsiteX26" fmla="*/ 2534724 w 4904699"/>
                  <a:gd name="connsiteY26" fmla="*/ 982297 h 3498714"/>
                  <a:gd name="connsiteX27" fmla="*/ 358791 w 4904699"/>
                  <a:gd name="connsiteY27" fmla="*/ 644545 h 3498714"/>
                  <a:gd name="connsiteX28" fmla="*/ 1006774 w 4904699"/>
                  <a:gd name="connsiteY28" fmla="*/ 644545 h 3498714"/>
                  <a:gd name="connsiteX29" fmla="*/ 1542636 w 4904699"/>
                  <a:gd name="connsiteY29" fmla="*/ 1193969 h 3498714"/>
                  <a:gd name="connsiteX30" fmla="*/ 1929878 w 4904699"/>
                  <a:gd name="connsiteY30" fmla="*/ 1193970 h 3498714"/>
                  <a:gd name="connsiteX31" fmla="*/ 2070059 w 4904699"/>
                  <a:gd name="connsiteY31" fmla="*/ 1334152 h 3498714"/>
                  <a:gd name="connsiteX32" fmla="*/ 1929878 w 4904699"/>
                  <a:gd name="connsiteY32" fmla="*/ 1474333 h 3498714"/>
                  <a:gd name="connsiteX33" fmla="*/ 1520943 w 4904699"/>
                  <a:gd name="connsiteY33" fmla="*/ 1470388 h 3498714"/>
                  <a:gd name="connsiteX34" fmla="*/ 1332825 w 4904699"/>
                  <a:gd name="connsiteY34" fmla="*/ 1367201 h 3498714"/>
                  <a:gd name="connsiteX35" fmla="*/ 1106501 w 4904699"/>
                  <a:gd name="connsiteY35" fmla="*/ 1098289 h 3498714"/>
                  <a:gd name="connsiteX36" fmla="*/ 1101049 w 4904699"/>
                  <a:gd name="connsiteY36" fmla="*/ 1092836 h 3498714"/>
                  <a:gd name="connsiteX37" fmla="*/ 1046523 w 4904699"/>
                  <a:gd name="connsiteY37" fmla="*/ 1092836 h 3498714"/>
                  <a:gd name="connsiteX38" fmla="*/ 1041071 w 4904699"/>
                  <a:gd name="connsiteY38" fmla="*/ 1098289 h 3498714"/>
                  <a:gd name="connsiteX39" fmla="*/ 1042136 w 4904699"/>
                  <a:gd name="connsiteY39" fmla="*/ 1419754 h 3498714"/>
                  <a:gd name="connsiteX40" fmla="*/ 1042136 w 4904699"/>
                  <a:gd name="connsiteY40" fmla="*/ 3337652 h 3498714"/>
                  <a:gd name="connsiteX41" fmla="*/ 881075 w 4904699"/>
                  <a:gd name="connsiteY41" fmla="*/ 3498714 h 3498714"/>
                  <a:gd name="connsiteX42" fmla="*/ 720012 w 4904699"/>
                  <a:gd name="connsiteY42" fmla="*/ 3337652 h 3498714"/>
                  <a:gd name="connsiteX43" fmla="*/ 720012 w 4904699"/>
                  <a:gd name="connsiteY43" fmla="*/ 2125717 h 3498714"/>
                  <a:gd name="connsiteX44" fmla="*/ 718947 w 4904699"/>
                  <a:gd name="connsiteY44" fmla="*/ 2033194 h 3498714"/>
                  <a:gd name="connsiteX45" fmla="*/ 714162 w 4904699"/>
                  <a:gd name="connsiteY45" fmla="*/ 2028410 h 3498714"/>
                  <a:gd name="connsiteX46" fmla="*/ 654759 w 4904699"/>
                  <a:gd name="connsiteY46" fmla="*/ 2028410 h 3498714"/>
                  <a:gd name="connsiteX47" fmla="*/ 649974 w 4904699"/>
                  <a:gd name="connsiteY47" fmla="*/ 2033194 h 3498714"/>
                  <a:gd name="connsiteX48" fmla="*/ 649974 w 4904699"/>
                  <a:gd name="connsiteY48" fmla="*/ 2125717 h 3498714"/>
                  <a:gd name="connsiteX49" fmla="*/ 649574 w 4904699"/>
                  <a:gd name="connsiteY49" fmla="*/ 3337652 h 3498714"/>
                  <a:gd name="connsiteX50" fmla="*/ 488511 w 4904699"/>
                  <a:gd name="connsiteY50" fmla="*/ 3498714 h 3498714"/>
                  <a:gd name="connsiteX51" fmla="*/ 327450 w 4904699"/>
                  <a:gd name="connsiteY51" fmla="*/ 3337652 h 3498714"/>
                  <a:gd name="connsiteX52" fmla="*/ 327450 w 4904699"/>
                  <a:gd name="connsiteY52" fmla="*/ 1458216 h 3498714"/>
                  <a:gd name="connsiteX53" fmla="*/ 322427 w 4904699"/>
                  <a:gd name="connsiteY53" fmla="*/ 1098205 h 3498714"/>
                  <a:gd name="connsiteX54" fmla="*/ 317058 w 4904699"/>
                  <a:gd name="connsiteY54" fmla="*/ 1092836 h 3498714"/>
                  <a:gd name="connsiteX55" fmla="*/ 263371 w 4904699"/>
                  <a:gd name="connsiteY55" fmla="*/ 1092836 h 3498714"/>
                  <a:gd name="connsiteX56" fmla="*/ 258001 w 4904699"/>
                  <a:gd name="connsiteY56" fmla="*/ 1098205 h 3498714"/>
                  <a:gd name="connsiteX57" fmla="*/ 258001 w 4904699"/>
                  <a:gd name="connsiteY57" fmla="*/ 1444446 h 3498714"/>
                  <a:gd name="connsiteX58" fmla="*/ 257700 w 4904699"/>
                  <a:gd name="connsiteY58" fmla="*/ 1444370 h 3498714"/>
                  <a:gd name="connsiteX59" fmla="*/ 257700 w 4904699"/>
                  <a:gd name="connsiteY59" fmla="*/ 1912573 h 3498714"/>
                  <a:gd name="connsiteX60" fmla="*/ 128850 w 4904699"/>
                  <a:gd name="connsiteY60" fmla="*/ 2041423 h 3498714"/>
                  <a:gd name="connsiteX61" fmla="*/ 0 w 4904699"/>
                  <a:gd name="connsiteY61" fmla="*/ 1912573 h 3498714"/>
                  <a:gd name="connsiteX62" fmla="*/ 0 w 4904699"/>
                  <a:gd name="connsiteY62" fmla="*/ 1101802 h 3498714"/>
                  <a:gd name="connsiteX63" fmla="*/ 0 w 4904699"/>
                  <a:gd name="connsiteY63" fmla="*/ 1003338 h 3498714"/>
                  <a:gd name="connsiteX64" fmla="*/ 0 w 4904699"/>
                  <a:gd name="connsiteY64" fmla="*/ 982486 h 3498714"/>
                  <a:gd name="connsiteX65" fmla="*/ 12733 w 4904699"/>
                  <a:gd name="connsiteY65" fmla="*/ 894663 h 3498714"/>
                  <a:gd name="connsiteX66" fmla="*/ 20539 w 4904699"/>
                  <a:gd name="connsiteY66" fmla="*/ 868773 h 3498714"/>
                  <a:gd name="connsiteX67" fmla="*/ 358791 w 4904699"/>
                  <a:gd name="connsiteY67" fmla="*/ 644545 h 3498714"/>
                  <a:gd name="connsiteX68" fmla="*/ 682782 w 4904699"/>
                  <a:gd name="connsiteY68" fmla="*/ 0 h 3498714"/>
                  <a:gd name="connsiteX69" fmla="*/ 966919 w 4904699"/>
                  <a:gd name="connsiteY69" fmla="*/ 284138 h 3498714"/>
                  <a:gd name="connsiteX70" fmla="*/ 682782 w 4904699"/>
                  <a:gd name="connsiteY70" fmla="*/ 568275 h 3498714"/>
                  <a:gd name="connsiteX71" fmla="*/ 398645 w 4904699"/>
                  <a:gd name="connsiteY71" fmla="*/ 284138 h 3498714"/>
                  <a:gd name="connsiteX72" fmla="*/ 682782 w 4904699"/>
                  <a:gd name="connsiteY72" fmla="*/ 0 h 3498714"/>
                  <a:gd name="connsiteX73" fmla="*/ 4707054 w 4904699"/>
                  <a:gd name="connsiteY73" fmla="*/ 2902312 h 3498714"/>
                  <a:gd name="connsiteX74" fmla="*/ 4818179 w 4904699"/>
                  <a:gd name="connsiteY74" fmla="*/ 3013437 h 3498714"/>
                  <a:gd name="connsiteX75" fmla="*/ 4707054 w 4904699"/>
                  <a:gd name="connsiteY75" fmla="*/ 3124562 h 3498714"/>
                  <a:gd name="connsiteX76" fmla="*/ 4545125 w 4904699"/>
                  <a:gd name="connsiteY76" fmla="*/ 3124562 h 3498714"/>
                  <a:gd name="connsiteX77" fmla="*/ 4545125 w 4904699"/>
                  <a:gd name="connsiteY77" fmla="*/ 3361625 h 3498714"/>
                  <a:gd name="connsiteX78" fmla="*/ 4436113 w 4904699"/>
                  <a:gd name="connsiteY78" fmla="*/ 3470637 h 3498714"/>
                  <a:gd name="connsiteX79" fmla="*/ 4235039 w 4904699"/>
                  <a:gd name="connsiteY79" fmla="*/ 3470637 h 3498714"/>
                  <a:gd name="connsiteX80" fmla="*/ 4126027 w 4904699"/>
                  <a:gd name="connsiteY80" fmla="*/ 3361625 h 3498714"/>
                  <a:gd name="connsiteX81" fmla="*/ 4126027 w 4904699"/>
                  <a:gd name="connsiteY81" fmla="*/ 3124562 h 3498714"/>
                  <a:gd name="connsiteX82" fmla="*/ 2589325 w 4904699"/>
                  <a:gd name="connsiteY82" fmla="*/ 3124562 h 3498714"/>
                  <a:gd name="connsiteX83" fmla="*/ 2589325 w 4904699"/>
                  <a:gd name="connsiteY83" fmla="*/ 3361625 h 3498714"/>
                  <a:gd name="connsiteX84" fmla="*/ 2480313 w 4904699"/>
                  <a:gd name="connsiteY84" fmla="*/ 3470637 h 3498714"/>
                  <a:gd name="connsiteX85" fmla="*/ 2279239 w 4904699"/>
                  <a:gd name="connsiteY85" fmla="*/ 3470637 h 3498714"/>
                  <a:gd name="connsiteX86" fmla="*/ 2170227 w 4904699"/>
                  <a:gd name="connsiteY86" fmla="*/ 3361625 h 3498714"/>
                  <a:gd name="connsiteX87" fmla="*/ 2170227 w 4904699"/>
                  <a:gd name="connsiteY87" fmla="*/ 3124562 h 3498714"/>
                  <a:gd name="connsiteX88" fmla="*/ 2052754 w 4904699"/>
                  <a:gd name="connsiteY88" fmla="*/ 3124562 h 3498714"/>
                  <a:gd name="connsiteX89" fmla="*/ 1941629 w 4904699"/>
                  <a:gd name="connsiteY89" fmla="*/ 3013437 h 3498714"/>
                  <a:gd name="connsiteX90" fmla="*/ 2052754 w 4904699"/>
                  <a:gd name="connsiteY90" fmla="*/ 2902312 h 3498714"/>
                  <a:gd name="connsiteX91" fmla="*/ 682782 w 4904699"/>
                  <a:gd name="connsiteY91" fmla="*/ 0 h 3498714"/>
                  <a:gd name="connsiteX92" fmla="*/ 4311608 w 4904699"/>
                  <a:gd name="connsiteY92" fmla="*/ 2270487 h 3498714"/>
                  <a:gd name="connsiteX93" fmla="*/ 4492583 w 4904699"/>
                  <a:gd name="connsiteY93" fmla="*/ 2451462 h 3498714"/>
                  <a:gd name="connsiteX0" fmla="*/ 2979061 w 4904699"/>
                  <a:gd name="connsiteY0" fmla="*/ 2089512 h 3498714"/>
                  <a:gd name="connsiteX1" fmla="*/ 2671086 w 4904699"/>
                  <a:gd name="connsiteY1" fmla="*/ 2397487 h 3498714"/>
                  <a:gd name="connsiteX2" fmla="*/ 2671086 w 4904699"/>
                  <a:gd name="connsiteY2" fmla="*/ 2584811 h 3498714"/>
                  <a:gd name="connsiteX3" fmla="*/ 4083961 w 4904699"/>
                  <a:gd name="connsiteY3" fmla="*/ 2584811 h 3498714"/>
                  <a:gd name="connsiteX4" fmla="*/ 4083961 w 4904699"/>
                  <a:gd name="connsiteY4" fmla="*/ 2397487 h 3498714"/>
                  <a:gd name="connsiteX5" fmla="*/ 3775986 w 4904699"/>
                  <a:gd name="connsiteY5" fmla="*/ 2089512 h 3498714"/>
                  <a:gd name="connsiteX6" fmla="*/ 2979061 w 4904699"/>
                  <a:gd name="connsiteY6" fmla="*/ 2089512 h 3498714"/>
                  <a:gd name="connsiteX7" fmla="*/ 2251033 w 4904699"/>
                  <a:gd name="connsiteY7" fmla="*/ 2089512 h 3498714"/>
                  <a:gd name="connsiteX8" fmla="*/ 2070058 w 4904699"/>
                  <a:gd name="connsiteY8" fmla="*/ 2270487 h 3498714"/>
                  <a:gd name="connsiteX9" fmla="*/ 2251033 w 4904699"/>
                  <a:gd name="connsiteY9" fmla="*/ 2451462 h 3498714"/>
                  <a:gd name="connsiteX10" fmla="*/ 2432008 w 4904699"/>
                  <a:gd name="connsiteY10" fmla="*/ 2270487 h 3498714"/>
                  <a:gd name="connsiteX11" fmla="*/ 2251033 w 4904699"/>
                  <a:gd name="connsiteY11" fmla="*/ 2089512 h 3498714"/>
                  <a:gd name="connsiteX12" fmla="*/ 2842751 w 4904699"/>
                  <a:gd name="connsiteY12" fmla="*/ 1749356 h 3498714"/>
                  <a:gd name="connsiteX13" fmla="*/ 2392797 w 4904699"/>
                  <a:gd name="connsiteY13" fmla="*/ 1878907 h 3498714"/>
                  <a:gd name="connsiteX14" fmla="*/ 2478781 w 4904699"/>
                  <a:gd name="connsiteY14" fmla="*/ 1920808 h 3498714"/>
                  <a:gd name="connsiteX15" fmla="*/ 2842751 w 4904699"/>
                  <a:gd name="connsiteY15" fmla="*/ 1749356 h 3498714"/>
                  <a:gd name="connsiteX16" fmla="*/ 2534724 w 4904699"/>
                  <a:gd name="connsiteY16" fmla="*/ 982297 h 3498714"/>
                  <a:gd name="connsiteX17" fmla="*/ 4904699 w 4904699"/>
                  <a:gd name="connsiteY17" fmla="*/ 2705462 h 3498714"/>
                  <a:gd name="connsiteX18" fmla="*/ 4904698 w 4904699"/>
                  <a:gd name="connsiteY18" fmla="*/ 2705462 h 3498714"/>
                  <a:gd name="connsiteX19" fmla="*/ 4784047 w 4904699"/>
                  <a:gd name="connsiteY19" fmla="*/ 2826113 h 3498714"/>
                  <a:gd name="connsiteX20" fmla="*/ 1970999 w 4904699"/>
                  <a:gd name="connsiteY20" fmla="*/ 2826112 h 3498714"/>
                  <a:gd name="connsiteX21" fmla="*/ 1850348 w 4904699"/>
                  <a:gd name="connsiteY21" fmla="*/ 2705462 h 3498714"/>
                  <a:gd name="connsiteX22" fmla="*/ 1956769 w 4904699"/>
                  <a:gd name="connsiteY22" fmla="*/ 2587684 h 3498714"/>
                  <a:gd name="connsiteX23" fmla="*/ 1823360 w 4904699"/>
                  <a:gd name="connsiteY23" fmla="*/ 2279217 h 3498714"/>
                  <a:gd name="connsiteX24" fmla="*/ 2217440 w 4904699"/>
                  <a:gd name="connsiteY24" fmla="*/ 1856216 h 3498714"/>
                  <a:gd name="connsiteX25" fmla="*/ 2534724 w 4904699"/>
                  <a:gd name="connsiteY25" fmla="*/ 982297 h 3498714"/>
                  <a:gd name="connsiteX26" fmla="*/ 358791 w 4904699"/>
                  <a:gd name="connsiteY26" fmla="*/ 644545 h 3498714"/>
                  <a:gd name="connsiteX27" fmla="*/ 1006774 w 4904699"/>
                  <a:gd name="connsiteY27" fmla="*/ 644545 h 3498714"/>
                  <a:gd name="connsiteX28" fmla="*/ 1542636 w 4904699"/>
                  <a:gd name="connsiteY28" fmla="*/ 1193969 h 3498714"/>
                  <a:gd name="connsiteX29" fmla="*/ 1929878 w 4904699"/>
                  <a:gd name="connsiteY29" fmla="*/ 1193970 h 3498714"/>
                  <a:gd name="connsiteX30" fmla="*/ 2070059 w 4904699"/>
                  <a:gd name="connsiteY30" fmla="*/ 1334152 h 3498714"/>
                  <a:gd name="connsiteX31" fmla="*/ 1929878 w 4904699"/>
                  <a:gd name="connsiteY31" fmla="*/ 1474333 h 3498714"/>
                  <a:gd name="connsiteX32" fmla="*/ 1520943 w 4904699"/>
                  <a:gd name="connsiteY32" fmla="*/ 1470388 h 3498714"/>
                  <a:gd name="connsiteX33" fmla="*/ 1332825 w 4904699"/>
                  <a:gd name="connsiteY33" fmla="*/ 1367201 h 3498714"/>
                  <a:gd name="connsiteX34" fmla="*/ 1106501 w 4904699"/>
                  <a:gd name="connsiteY34" fmla="*/ 1098289 h 3498714"/>
                  <a:gd name="connsiteX35" fmla="*/ 1101049 w 4904699"/>
                  <a:gd name="connsiteY35" fmla="*/ 1092836 h 3498714"/>
                  <a:gd name="connsiteX36" fmla="*/ 1046523 w 4904699"/>
                  <a:gd name="connsiteY36" fmla="*/ 1092836 h 3498714"/>
                  <a:gd name="connsiteX37" fmla="*/ 1041071 w 4904699"/>
                  <a:gd name="connsiteY37" fmla="*/ 1098289 h 3498714"/>
                  <a:gd name="connsiteX38" fmla="*/ 1042136 w 4904699"/>
                  <a:gd name="connsiteY38" fmla="*/ 1419754 h 3498714"/>
                  <a:gd name="connsiteX39" fmla="*/ 1042136 w 4904699"/>
                  <a:gd name="connsiteY39" fmla="*/ 3337652 h 3498714"/>
                  <a:gd name="connsiteX40" fmla="*/ 881075 w 4904699"/>
                  <a:gd name="connsiteY40" fmla="*/ 3498714 h 3498714"/>
                  <a:gd name="connsiteX41" fmla="*/ 720012 w 4904699"/>
                  <a:gd name="connsiteY41" fmla="*/ 3337652 h 3498714"/>
                  <a:gd name="connsiteX42" fmla="*/ 720012 w 4904699"/>
                  <a:gd name="connsiteY42" fmla="*/ 2125717 h 3498714"/>
                  <a:gd name="connsiteX43" fmla="*/ 718947 w 4904699"/>
                  <a:gd name="connsiteY43" fmla="*/ 2033194 h 3498714"/>
                  <a:gd name="connsiteX44" fmla="*/ 714162 w 4904699"/>
                  <a:gd name="connsiteY44" fmla="*/ 2028410 h 3498714"/>
                  <a:gd name="connsiteX45" fmla="*/ 654759 w 4904699"/>
                  <a:gd name="connsiteY45" fmla="*/ 2028410 h 3498714"/>
                  <a:gd name="connsiteX46" fmla="*/ 649974 w 4904699"/>
                  <a:gd name="connsiteY46" fmla="*/ 2033194 h 3498714"/>
                  <a:gd name="connsiteX47" fmla="*/ 649974 w 4904699"/>
                  <a:gd name="connsiteY47" fmla="*/ 2125717 h 3498714"/>
                  <a:gd name="connsiteX48" fmla="*/ 649574 w 4904699"/>
                  <a:gd name="connsiteY48" fmla="*/ 3337652 h 3498714"/>
                  <a:gd name="connsiteX49" fmla="*/ 488511 w 4904699"/>
                  <a:gd name="connsiteY49" fmla="*/ 3498714 h 3498714"/>
                  <a:gd name="connsiteX50" fmla="*/ 327450 w 4904699"/>
                  <a:gd name="connsiteY50" fmla="*/ 3337652 h 3498714"/>
                  <a:gd name="connsiteX51" fmla="*/ 327450 w 4904699"/>
                  <a:gd name="connsiteY51" fmla="*/ 1458216 h 3498714"/>
                  <a:gd name="connsiteX52" fmla="*/ 322427 w 4904699"/>
                  <a:gd name="connsiteY52" fmla="*/ 1098205 h 3498714"/>
                  <a:gd name="connsiteX53" fmla="*/ 317058 w 4904699"/>
                  <a:gd name="connsiteY53" fmla="*/ 1092836 h 3498714"/>
                  <a:gd name="connsiteX54" fmla="*/ 263371 w 4904699"/>
                  <a:gd name="connsiteY54" fmla="*/ 1092836 h 3498714"/>
                  <a:gd name="connsiteX55" fmla="*/ 258001 w 4904699"/>
                  <a:gd name="connsiteY55" fmla="*/ 1098205 h 3498714"/>
                  <a:gd name="connsiteX56" fmla="*/ 258001 w 4904699"/>
                  <a:gd name="connsiteY56" fmla="*/ 1444446 h 3498714"/>
                  <a:gd name="connsiteX57" fmla="*/ 257700 w 4904699"/>
                  <a:gd name="connsiteY57" fmla="*/ 1444370 h 3498714"/>
                  <a:gd name="connsiteX58" fmla="*/ 257700 w 4904699"/>
                  <a:gd name="connsiteY58" fmla="*/ 1912573 h 3498714"/>
                  <a:gd name="connsiteX59" fmla="*/ 128850 w 4904699"/>
                  <a:gd name="connsiteY59" fmla="*/ 2041423 h 3498714"/>
                  <a:gd name="connsiteX60" fmla="*/ 0 w 4904699"/>
                  <a:gd name="connsiteY60" fmla="*/ 1912573 h 3498714"/>
                  <a:gd name="connsiteX61" fmla="*/ 0 w 4904699"/>
                  <a:gd name="connsiteY61" fmla="*/ 1101802 h 3498714"/>
                  <a:gd name="connsiteX62" fmla="*/ 0 w 4904699"/>
                  <a:gd name="connsiteY62" fmla="*/ 1003338 h 3498714"/>
                  <a:gd name="connsiteX63" fmla="*/ 0 w 4904699"/>
                  <a:gd name="connsiteY63" fmla="*/ 982486 h 3498714"/>
                  <a:gd name="connsiteX64" fmla="*/ 12733 w 4904699"/>
                  <a:gd name="connsiteY64" fmla="*/ 894663 h 3498714"/>
                  <a:gd name="connsiteX65" fmla="*/ 20539 w 4904699"/>
                  <a:gd name="connsiteY65" fmla="*/ 868773 h 3498714"/>
                  <a:gd name="connsiteX66" fmla="*/ 358791 w 4904699"/>
                  <a:gd name="connsiteY66" fmla="*/ 644545 h 3498714"/>
                  <a:gd name="connsiteX67" fmla="*/ 682782 w 4904699"/>
                  <a:gd name="connsiteY67" fmla="*/ 0 h 3498714"/>
                  <a:gd name="connsiteX68" fmla="*/ 966919 w 4904699"/>
                  <a:gd name="connsiteY68" fmla="*/ 284138 h 3498714"/>
                  <a:gd name="connsiteX69" fmla="*/ 682782 w 4904699"/>
                  <a:gd name="connsiteY69" fmla="*/ 568275 h 3498714"/>
                  <a:gd name="connsiteX70" fmla="*/ 398645 w 4904699"/>
                  <a:gd name="connsiteY70" fmla="*/ 284138 h 3498714"/>
                  <a:gd name="connsiteX71" fmla="*/ 682782 w 4904699"/>
                  <a:gd name="connsiteY71" fmla="*/ 0 h 3498714"/>
                  <a:gd name="connsiteX72" fmla="*/ 4707054 w 4904699"/>
                  <a:gd name="connsiteY72" fmla="*/ 2902312 h 3498714"/>
                  <a:gd name="connsiteX73" fmla="*/ 4818179 w 4904699"/>
                  <a:gd name="connsiteY73" fmla="*/ 3013437 h 3498714"/>
                  <a:gd name="connsiteX74" fmla="*/ 4707054 w 4904699"/>
                  <a:gd name="connsiteY74" fmla="*/ 3124562 h 3498714"/>
                  <a:gd name="connsiteX75" fmla="*/ 4545125 w 4904699"/>
                  <a:gd name="connsiteY75" fmla="*/ 3124562 h 3498714"/>
                  <a:gd name="connsiteX76" fmla="*/ 4545125 w 4904699"/>
                  <a:gd name="connsiteY76" fmla="*/ 3361625 h 3498714"/>
                  <a:gd name="connsiteX77" fmla="*/ 4436113 w 4904699"/>
                  <a:gd name="connsiteY77" fmla="*/ 3470637 h 3498714"/>
                  <a:gd name="connsiteX78" fmla="*/ 4235039 w 4904699"/>
                  <a:gd name="connsiteY78" fmla="*/ 3470637 h 3498714"/>
                  <a:gd name="connsiteX79" fmla="*/ 4126027 w 4904699"/>
                  <a:gd name="connsiteY79" fmla="*/ 3361625 h 3498714"/>
                  <a:gd name="connsiteX80" fmla="*/ 4126027 w 4904699"/>
                  <a:gd name="connsiteY80" fmla="*/ 3124562 h 3498714"/>
                  <a:gd name="connsiteX81" fmla="*/ 2589325 w 4904699"/>
                  <a:gd name="connsiteY81" fmla="*/ 3124562 h 3498714"/>
                  <a:gd name="connsiteX82" fmla="*/ 2589325 w 4904699"/>
                  <a:gd name="connsiteY82" fmla="*/ 3361625 h 3498714"/>
                  <a:gd name="connsiteX83" fmla="*/ 2480313 w 4904699"/>
                  <a:gd name="connsiteY83" fmla="*/ 3470637 h 3498714"/>
                  <a:gd name="connsiteX84" fmla="*/ 2279239 w 4904699"/>
                  <a:gd name="connsiteY84" fmla="*/ 3470637 h 3498714"/>
                  <a:gd name="connsiteX85" fmla="*/ 2170227 w 4904699"/>
                  <a:gd name="connsiteY85" fmla="*/ 3361625 h 3498714"/>
                  <a:gd name="connsiteX86" fmla="*/ 2170227 w 4904699"/>
                  <a:gd name="connsiteY86" fmla="*/ 3124562 h 3498714"/>
                  <a:gd name="connsiteX87" fmla="*/ 2052754 w 4904699"/>
                  <a:gd name="connsiteY87" fmla="*/ 3124562 h 3498714"/>
                  <a:gd name="connsiteX88" fmla="*/ 1941629 w 4904699"/>
                  <a:gd name="connsiteY88" fmla="*/ 3013437 h 3498714"/>
                  <a:gd name="connsiteX89" fmla="*/ 2052754 w 4904699"/>
                  <a:gd name="connsiteY89" fmla="*/ 2902312 h 3498714"/>
                  <a:gd name="connsiteX90" fmla="*/ 682782 w 4904699"/>
                  <a:gd name="connsiteY90" fmla="*/ 0 h 3498714"/>
                  <a:gd name="connsiteX91" fmla="*/ 4311608 w 4904699"/>
                  <a:gd name="connsiteY91" fmla="*/ 2270487 h 3498714"/>
                  <a:gd name="connsiteX92" fmla="*/ 4492583 w 4904699"/>
                  <a:gd name="connsiteY92" fmla="*/ 2451462 h 3498714"/>
                  <a:gd name="connsiteX0" fmla="*/ 2979061 w 4904699"/>
                  <a:gd name="connsiteY0" fmla="*/ 2089512 h 3498714"/>
                  <a:gd name="connsiteX1" fmla="*/ 2671086 w 4904699"/>
                  <a:gd name="connsiteY1" fmla="*/ 2397487 h 3498714"/>
                  <a:gd name="connsiteX2" fmla="*/ 2671086 w 4904699"/>
                  <a:gd name="connsiteY2" fmla="*/ 2584811 h 3498714"/>
                  <a:gd name="connsiteX3" fmla="*/ 4083961 w 4904699"/>
                  <a:gd name="connsiteY3" fmla="*/ 2584811 h 3498714"/>
                  <a:gd name="connsiteX4" fmla="*/ 4083961 w 4904699"/>
                  <a:gd name="connsiteY4" fmla="*/ 2397487 h 3498714"/>
                  <a:gd name="connsiteX5" fmla="*/ 3775986 w 4904699"/>
                  <a:gd name="connsiteY5" fmla="*/ 2089512 h 3498714"/>
                  <a:gd name="connsiteX6" fmla="*/ 2979061 w 4904699"/>
                  <a:gd name="connsiteY6" fmla="*/ 2089512 h 3498714"/>
                  <a:gd name="connsiteX7" fmla="*/ 2251033 w 4904699"/>
                  <a:gd name="connsiteY7" fmla="*/ 2089512 h 3498714"/>
                  <a:gd name="connsiteX8" fmla="*/ 2070058 w 4904699"/>
                  <a:gd name="connsiteY8" fmla="*/ 2270487 h 3498714"/>
                  <a:gd name="connsiteX9" fmla="*/ 2251033 w 4904699"/>
                  <a:gd name="connsiteY9" fmla="*/ 2451462 h 3498714"/>
                  <a:gd name="connsiteX10" fmla="*/ 2432008 w 4904699"/>
                  <a:gd name="connsiteY10" fmla="*/ 2270487 h 3498714"/>
                  <a:gd name="connsiteX11" fmla="*/ 2251033 w 4904699"/>
                  <a:gd name="connsiteY11" fmla="*/ 2089512 h 3498714"/>
                  <a:gd name="connsiteX12" fmla="*/ 2842751 w 4904699"/>
                  <a:gd name="connsiteY12" fmla="*/ 1749356 h 3498714"/>
                  <a:gd name="connsiteX13" fmla="*/ 2392797 w 4904699"/>
                  <a:gd name="connsiteY13" fmla="*/ 1878907 h 3498714"/>
                  <a:gd name="connsiteX14" fmla="*/ 2478781 w 4904699"/>
                  <a:gd name="connsiteY14" fmla="*/ 1920808 h 3498714"/>
                  <a:gd name="connsiteX15" fmla="*/ 2842751 w 4904699"/>
                  <a:gd name="connsiteY15" fmla="*/ 1749356 h 3498714"/>
                  <a:gd name="connsiteX16" fmla="*/ 2534724 w 4904699"/>
                  <a:gd name="connsiteY16" fmla="*/ 982297 h 3498714"/>
                  <a:gd name="connsiteX17" fmla="*/ 4904699 w 4904699"/>
                  <a:gd name="connsiteY17" fmla="*/ 2705462 h 3498714"/>
                  <a:gd name="connsiteX18" fmla="*/ 4784047 w 4904699"/>
                  <a:gd name="connsiteY18" fmla="*/ 2826113 h 3498714"/>
                  <a:gd name="connsiteX19" fmla="*/ 1970999 w 4904699"/>
                  <a:gd name="connsiteY19" fmla="*/ 2826112 h 3498714"/>
                  <a:gd name="connsiteX20" fmla="*/ 1850348 w 4904699"/>
                  <a:gd name="connsiteY20" fmla="*/ 2705462 h 3498714"/>
                  <a:gd name="connsiteX21" fmla="*/ 1956769 w 4904699"/>
                  <a:gd name="connsiteY21" fmla="*/ 2587684 h 3498714"/>
                  <a:gd name="connsiteX22" fmla="*/ 1823360 w 4904699"/>
                  <a:gd name="connsiteY22" fmla="*/ 2279217 h 3498714"/>
                  <a:gd name="connsiteX23" fmla="*/ 2217440 w 4904699"/>
                  <a:gd name="connsiteY23" fmla="*/ 1856216 h 3498714"/>
                  <a:gd name="connsiteX24" fmla="*/ 2534724 w 4904699"/>
                  <a:gd name="connsiteY24" fmla="*/ 982297 h 3498714"/>
                  <a:gd name="connsiteX25" fmla="*/ 358791 w 4904699"/>
                  <a:gd name="connsiteY25" fmla="*/ 644545 h 3498714"/>
                  <a:gd name="connsiteX26" fmla="*/ 1006774 w 4904699"/>
                  <a:gd name="connsiteY26" fmla="*/ 644545 h 3498714"/>
                  <a:gd name="connsiteX27" fmla="*/ 1542636 w 4904699"/>
                  <a:gd name="connsiteY27" fmla="*/ 1193969 h 3498714"/>
                  <a:gd name="connsiteX28" fmla="*/ 1929878 w 4904699"/>
                  <a:gd name="connsiteY28" fmla="*/ 1193970 h 3498714"/>
                  <a:gd name="connsiteX29" fmla="*/ 2070059 w 4904699"/>
                  <a:gd name="connsiteY29" fmla="*/ 1334152 h 3498714"/>
                  <a:gd name="connsiteX30" fmla="*/ 1929878 w 4904699"/>
                  <a:gd name="connsiteY30" fmla="*/ 1474333 h 3498714"/>
                  <a:gd name="connsiteX31" fmla="*/ 1520943 w 4904699"/>
                  <a:gd name="connsiteY31" fmla="*/ 1470388 h 3498714"/>
                  <a:gd name="connsiteX32" fmla="*/ 1332825 w 4904699"/>
                  <a:gd name="connsiteY32" fmla="*/ 1367201 h 3498714"/>
                  <a:gd name="connsiteX33" fmla="*/ 1106501 w 4904699"/>
                  <a:gd name="connsiteY33" fmla="*/ 1098289 h 3498714"/>
                  <a:gd name="connsiteX34" fmla="*/ 1101049 w 4904699"/>
                  <a:gd name="connsiteY34" fmla="*/ 1092836 h 3498714"/>
                  <a:gd name="connsiteX35" fmla="*/ 1046523 w 4904699"/>
                  <a:gd name="connsiteY35" fmla="*/ 1092836 h 3498714"/>
                  <a:gd name="connsiteX36" fmla="*/ 1041071 w 4904699"/>
                  <a:gd name="connsiteY36" fmla="*/ 1098289 h 3498714"/>
                  <a:gd name="connsiteX37" fmla="*/ 1042136 w 4904699"/>
                  <a:gd name="connsiteY37" fmla="*/ 1419754 h 3498714"/>
                  <a:gd name="connsiteX38" fmla="*/ 1042136 w 4904699"/>
                  <a:gd name="connsiteY38" fmla="*/ 3337652 h 3498714"/>
                  <a:gd name="connsiteX39" fmla="*/ 881075 w 4904699"/>
                  <a:gd name="connsiteY39" fmla="*/ 3498714 h 3498714"/>
                  <a:gd name="connsiteX40" fmla="*/ 720012 w 4904699"/>
                  <a:gd name="connsiteY40" fmla="*/ 3337652 h 3498714"/>
                  <a:gd name="connsiteX41" fmla="*/ 720012 w 4904699"/>
                  <a:gd name="connsiteY41" fmla="*/ 2125717 h 3498714"/>
                  <a:gd name="connsiteX42" fmla="*/ 718947 w 4904699"/>
                  <a:gd name="connsiteY42" fmla="*/ 2033194 h 3498714"/>
                  <a:gd name="connsiteX43" fmla="*/ 714162 w 4904699"/>
                  <a:gd name="connsiteY43" fmla="*/ 2028410 h 3498714"/>
                  <a:gd name="connsiteX44" fmla="*/ 654759 w 4904699"/>
                  <a:gd name="connsiteY44" fmla="*/ 2028410 h 3498714"/>
                  <a:gd name="connsiteX45" fmla="*/ 649974 w 4904699"/>
                  <a:gd name="connsiteY45" fmla="*/ 2033194 h 3498714"/>
                  <a:gd name="connsiteX46" fmla="*/ 649974 w 4904699"/>
                  <a:gd name="connsiteY46" fmla="*/ 2125717 h 3498714"/>
                  <a:gd name="connsiteX47" fmla="*/ 649574 w 4904699"/>
                  <a:gd name="connsiteY47" fmla="*/ 3337652 h 3498714"/>
                  <a:gd name="connsiteX48" fmla="*/ 488511 w 4904699"/>
                  <a:gd name="connsiteY48" fmla="*/ 3498714 h 3498714"/>
                  <a:gd name="connsiteX49" fmla="*/ 327450 w 4904699"/>
                  <a:gd name="connsiteY49" fmla="*/ 3337652 h 3498714"/>
                  <a:gd name="connsiteX50" fmla="*/ 327450 w 4904699"/>
                  <a:gd name="connsiteY50" fmla="*/ 1458216 h 3498714"/>
                  <a:gd name="connsiteX51" fmla="*/ 322427 w 4904699"/>
                  <a:gd name="connsiteY51" fmla="*/ 1098205 h 3498714"/>
                  <a:gd name="connsiteX52" fmla="*/ 317058 w 4904699"/>
                  <a:gd name="connsiteY52" fmla="*/ 1092836 h 3498714"/>
                  <a:gd name="connsiteX53" fmla="*/ 263371 w 4904699"/>
                  <a:gd name="connsiteY53" fmla="*/ 1092836 h 3498714"/>
                  <a:gd name="connsiteX54" fmla="*/ 258001 w 4904699"/>
                  <a:gd name="connsiteY54" fmla="*/ 1098205 h 3498714"/>
                  <a:gd name="connsiteX55" fmla="*/ 258001 w 4904699"/>
                  <a:gd name="connsiteY55" fmla="*/ 1444446 h 3498714"/>
                  <a:gd name="connsiteX56" fmla="*/ 257700 w 4904699"/>
                  <a:gd name="connsiteY56" fmla="*/ 1444370 h 3498714"/>
                  <a:gd name="connsiteX57" fmla="*/ 257700 w 4904699"/>
                  <a:gd name="connsiteY57" fmla="*/ 1912573 h 3498714"/>
                  <a:gd name="connsiteX58" fmla="*/ 128850 w 4904699"/>
                  <a:gd name="connsiteY58" fmla="*/ 2041423 h 3498714"/>
                  <a:gd name="connsiteX59" fmla="*/ 0 w 4904699"/>
                  <a:gd name="connsiteY59" fmla="*/ 1912573 h 3498714"/>
                  <a:gd name="connsiteX60" fmla="*/ 0 w 4904699"/>
                  <a:gd name="connsiteY60" fmla="*/ 1101802 h 3498714"/>
                  <a:gd name="connsiteX61" fmla="*/ 0 w 4904699"/>
                  <a:gd name="connsiteY61" fmla="*/ 1003338 h 3498714"/>
                  <a:gd name="connsiteX62" fmla="*/ 0 w 4904699"/>
                  <a:gd name="connsiteY62" fmla="*/ 982486 h 3498714"/>
                  <a:gd name="connsiteX63" fmla="*/ 12733 w 4904699"/>
                  <a:gd name="connsiteY63" fmla="*/ 894663 h 3498714"/>
                  <a:gd name="connsiteX64" fmla="*/ 20539 w 4904699"/>
                  <a:gd name="connsiteY64" fmla="*/ 868773 h 3498714"/>
                  <a:gd name="connsiteX65" fmla="*/ 358791 w 4904699"/>
                  <a:gd name="connsiteY65" fmla="*/ 644545 h 3498714"/>
                  <a:gd name="connsiteX66" fmla="*/ 682782 w 4904699"/>
                  <a:gd name="connsiteY66" fmla="*/ 0 h 3498714"/>
                  <a:gd name="connsiteX67" fmla="*/ 966919 w 4904699"/>
                  <a:gd name="connsiteY67" fmla="*/ 284138 h 3498714"/>
                  <a:gd name="connsiteX68" fmla="*/ 682782 w 4904699"/>
                  <a:gd name="connsiteY68" fmla="*/ 568275 h 3498714"/>
                  <a:gd name="connsiteX69" fmla="*/ 398645 w 4904699"/>
                  <a:gd name="connsiteY69" fmla="*/ 284138 h 3498714"/>
                  <a:gd name="connsiteX70" fmla="*/ 682782 w 4904699"/>
                  <a:gd name="connsiteY70" fmla="*/ 0 h 3498714"/>
                  <a:gd name="connsiteX71" fmla="*/ 4707054 w 4904699"/>
                  <a:gd name="connsiteY71" fmla="*/ 2902312 h 3498714"/>
                  <a:gd name="connsiteX72" fmla="*/ 4818179 w 4904699"/>
                  <a:gd name="connsiteY72" fmla="*/ 3013437 h 3498714"/>
                  <a:gd name="connsiteX73" fmla="*/ 4707054 w 4904699"/>
                  <a:gd name="connsiteY73" fmla="*/ 3124562 h 3498714"/>
                  <a:gd name="connsiteX74" fmla="*/ 4545125 w 4904699"/>
                  <a:gd name="connsiteY74" fmla="*/ 3124562 h 3498714"/>
                  <a:gd name="connsiteX75" fmla="*/ 4545125 w 4904699"/>
                  <a:gd name="connsiteY75" fmla="*/ 3361625 h 3498714"/>
                  <a:gd name="connsiteX76" fmla="*/ 4436113 w 4904699"/>
                  <a:gd name="connsiteY76" fmla="*/ 3470637 h 3498714"/>
                  <a:gd name="connsiteX77" fmla="*/ 4235039 w 4904699"/>
                  <a:gd name="connsiteY77" fmla="*/ 3470637 h 3498714"/>
                  <a:gd name="connsiteX78" fmla="*/ 4126027 w 4904699"/>
                  <a:gd name="connsiteY78" fmla="*/ 3361625 h 3498714"/>
                  <a:gd name="connsiteX79" fmla="*/ 4126027 w 4904699"/>
                  <a:gd name="connsiteY79" fmla="*/ 3124562 h 3498714"/>
                  <a:gd name="connsiteX80" fmla="*/ 2589325 w 4904699"/>
                  <a:gd name="connsiteY80" fmla="*/ 3124562 h 3498714"/>
                  <a:gd name="connsiteX81" fmla="*/ 2589325 w 4904699"/>
                  <a:gd name="connsiteY81" fmla="*/ 3361625 h 3498714"/>
                  <a:gd name="connsiteX82" fmla="*/ 2480313 w 4904699"/>
                  <a:gd name="connsiteY82" fmla="*/ 3470637 h 3498714"/>
                  <a:gd name="connsiteX83" fmla="*/ 2279239 w 4904699"/>
                  <a:gd name="connsiteY83" fmla="*/ 3470637 h 3498714"/>
                  <a:gd name="connsiteX84" fmla="*/ 2170227 w 4904699"/>
                  <a:gd name="connsiteY84" fmla="*/ 3361625 h 3498714"/>
                  <a:gd name="connsiteX85" fmla="*/ 2170227 w 4904699"/>
                  <a:gd name="connsiteY85" fmla="*/ 3124562 h 3498714"/>
                  <a:gd name="connsiteX86" fmla="*/ 2052754 w 4904699"/>
                  <a:gd name="connsiteY86" fmla="*/ 3124562 h 3498714"/>
                  <a:gd name="connsiteX87" fmla="*/ 1941629 w 4904699"/>
                  <a:gd name="connsiteY87" fmla="*/ 3013437 h 3498714"/>
                  <a:gd name="connsiteX88" fmla="*/ 2052754 w 4904699"/>
                  <a:gd name="connsiteY88" fmla="*/ 2902312 h 3498714"/>
                  <a:gd name="connsiteX89" fmla="*/ 682782 w 4904699"/>
                  <a:gd name="connsiteY89" fmla="*/ 0 h 3498714"/>
                  <a:gd name="connsiteX90" fmla="*/ 4311608 w 4904699"/>
                  <a:gd name="connsiteY90" fmla="*/ 2270487 h 3498714"/>
                  <a:gd name="connsiteX91" fmla="*/ 4492583 w 4904699"/>
                  <a:gd name="connsiteY91" fmla="*/ 2451462 h 3498714"/>
                  <a:gd name="connsiteX0" fmla="*/ 2979061 w 4904699"/>
                  <a:gd name="connsiteY0" fmla="*/ 2089512 h 3498714"/>
                  <a:gd name="connsiteX1" fmla="*/ 2671086 w 4904699"/>
                  <a:gd name="connsiteY1" fmla="*/ 2397487 h 3498714"/>
                  <a:gd name="connsiteX2" fmla="*/ 2671086 w 4904699"/>
                  <a:gd name="connsiteY2" fmla="*/ 2584811 h 3498714"/>
                  <a:gd name="connsiteX3" fmla="*/ 4083961 w 4904699"/>
                  <a:gd name="connsiteY3" fmla="*/ 2584811 h 3498714"/>
                  <a:gd name="connsiteX4" fmla="*/ 4083961 w 4904699"/>
                  <a:gd name="connsiteY4" fmla="*/ 2397487 h 3498714"/>
                  <a:gd name="connsiteX5" fmla="*/ 3775986 w 4904699"/>
                  <a:gd name="connsiteY5" fmla="*/ 2089512 h 3498714"/>
                  <a:gd name="connsiteX6" fmla="*/ 2979061 w 4904699"/>
                  <a:gd name="connsiteY6" fmla="*/ 2089512 h 3498714"/>
                  <a:gd name="connsiteX7" fmla="*/ 2251033 w 4904699"/>
                  <a:gd name="connsiteY7" fmla="*/ 2089512 h 3498714"/>
                  <a:gd name="connsiteX8" fmla="*/ 2070058 w 4904699"/>
                  <a:gd name="connsiteY8" fmla="*/ 2270487 h 3498714"/>
                  <a:gd name="connsiteX9" fmla="*/ 2251033 w 4904699"/>
                  <a:gd name="connsiteY9" fmla="*/ 2451462 h 3498714"/>
                  <a:gd name="connsiteX10" fmla="*/ 2432008 w 4904699"/>
                  <a:gd name="connsiteY10" fmla="*/ 2270487 h 3498714"/>
                  <a:gd name="connsiteX11" fmla="*/ 2251033 w 4904699"/>
                  <a:gd name="connsiteY11" fmla="*/ 2089512 h 3498714"/>
                  <a:gd name="connsiteX12" fmla="*/ 2842751 w 4904699"/>
                  <a:gd name="connsiteY12" fmla="*/ 1749356 h 3498714"/>
                  <a:gd name="connsiteX13" fmla="*/ 2392797 w 4904699"/>
                  <a:gd name="connsiteY13" fmla="*/ 1878907 h 3498714"/>
                  <a:gd name="connsiteX14" fmla="*/ 2478781 w 4904699"/>
                  <a:gd name="connsiteY14" fmla="*/ 1920808 h 3498714"/>
                  <a:gd name="connsiteX15" fmla="*/ 2842751 w 4904699"/>
                  <a:gd name="connsiteY15" fmla="*/ 1749356 h 3498714"/>
                  <a:gd name="connsiteX16" fmla="*/ 2534724 w 4904699"/>
                  <a:gd name="connsiteY16" fmla="*/ 982297 h 3498714"/>
                  <a:gd name="connsiteX17" fmla="*/ 4904699 w 4904699"/>
                  <a:gd name="connsiteY17" fmla="*/ 2705462 h 3498714"/>
                  <a:gd name="connsiteX18" fmla="*/ 1970999 w 4904699"/>
                  <a:gd name="connsiteY18" fmla="*/ 2826112 h 3498714"/>
                  <a:gd name="connsiteX19" fmla="*/ 1850348 w 4904699"/>
                  <a:gd name="connsiteY19" fmla="*/ 2705462 h 3498714"/>
                  <a:gd name="connsiteX20" fmla="*/ 1956769 w 4904699"/>
                  <a:gd name="connsiteY20" fmla="*/ 2587684 h 3498714"/>
                  <a:gd name="connsiteX21" fmla="*/ 1823360 w 4904699"/>
                  <a:gd name="connsiteY21" fmla="*/ 2279217 h 3498714"/>
                  <a:gd name="connsiteX22" fmla="*/ 2217440 w 4904699"/>
                  <a:gd name="connsiteY22" fmla="*/ 1856216 h 3498714"/>
                  <a:gd name="connsiteX23" fmla="*/ 2534724 w 4904699"/>
                  <a:gd name="connsiteY23" fmla="*/ 982297 h 3498714"/>
                  <a:gd name="connsiteX24" fmla="*/ 358791 w 4904699"/>
                  <a:gd name="connsiteY24" fmla="*/ 644545 h 3498714"/>
                  <a:gd name="connsiteX25" fmla="*/ 1006774 w 4904699"/>
                  <a:gd name="connsiteY25" fmla="*/ 644545 h 3498714"/>
                  <a:gd name="connsiteX26" fmla="*/ 1542636 w 4904699"/>
                  <a:gd name="connsiteY26" fmla="*/ 1193969 h 3498714"/>
                  <a:gd name="connsiteX27" fmla="*/ 1929878 w 4904699"/>
                  <a:gd name="connsiteY27" fmla="*/ 1193970 h 3498714"/>
                  <a:gd name="connsiteX28" fmla="*/ 2070059 w 4904699"/>
                  <a:gd name="connsiteY28" fmla="*/ 1334152 h 3498714"/>
                  <a:gd name="connsiteX29" fmla="*/ 1929878 w 4904699"/>
                  <a:gd name="connsiteY29" fmla="*/ 1474333 h 3498714"/>
                  <a:gd name="connsiteX30" fmla="*/ 1520943 w 4904699"/>
                  <a:gd name="connsiteY30" fmla="*/ 1470388 h 3498714"/>
                  <a:gd name="connsiteX31" fmla="*/ 1332825 w 4904699"/>
                  <a:gd name="connsiteY31" fmla="*/ 1367201 h 3498714"/>
                  <a:gd name="connsiteX32" fmla="*/ 1106501 w 4904699"/>
                  <a:gd name="connsiteY32" fmla="*/ 1098289 h 3498714"/>
                  <a:gd name="connsiteX33" fmla="*/ 1101049 w 4904699"/>
                  <a:gd name="connsiteY33" fmla="*/ 1092836 h 3498714"/>
                  <a:gd name="connsiteX34" fmla="*/ 1046523 w 4904699"/>
                  <a:gd name="connsiteY34" fmla="*/ 1092836 h 3498714"/>
                  <a:gd name="connsiteX35" fmla="*/ 1041071 w 4904699"/>
                  <a:gd name="connsiteY35" fmla="*/ 1098289 h 3498714"/>
                  <a:gd name="connsiteX36" fmla="*/ 1042136 w 4904699"/>
                  <a:gd name="connsiteY36" fmla="*/ 1419754 h 3498714"/>
                  <a:gd name="connsiteX37" fmla="*/ 1042136 w 4904699"/>
                  <a:gd name="connsiteY37" fmla="*/ 3337652 h 3498714"/>
                  <a:gd name="connsiteX38" fmla="*/ 881075 w 4904699"/>
                  <a:gd name="connsiteY38" fmla="*/ 3498714 h 3498714"/>
                  <a:gd name="connsiteX39" fmla="*/ 720012 w 4904699"/>
                  <a:gd name="connsiteY39" fmla="*/ 3337652 h 3498714"/>
                  <a:gd name="connsiteX40" fmla="*/ 720012 w 4904699"/>
                  <a:gd name="connsiteY40" fmla="*/ 2125717 h 3498714"/>
                  <a:gd name="connsiteX41" fmla="*/ 718947 w 4904699"/>
                  <a:gd name="connsiteY41" fmla="*/ 2033194 h 3498714"/>
                  <a:gd name="connsiteX42" fmla="*/ 714162 w 4904699"/>
                  <a:gd name="connsiteY42" fmla="*/ 2028410 h 3498714"/>
                  <a:gd name="connsiteX43" fmla="*/ 654759 w 4904699"/>
                  <a:gd name="connsiteY43" fmla="*/ 2028410 h 3498714"/>
                  <a:gd name="connsiteX44" fmla="*/ 649974 w 4904699"/>
                  <a:gd name="connsiteY44" fmla="*/ 2033194 h 3498714"/>
                  <a:gd name="connsiteX45" fmla="*/ 649974 w 4904699"/>
                  <a:gd name="connsiteY45" fmla="*/ 2125717 h 3498714"/>
                  <a:gd name="connsiteX46" fmla="*/ 649574 w 4904699"/>
                  <a:gd name="connsiteY46" fmla="*/ 3337652 h 3498714"/>
                  <a:gd name="connsiteX47" fmla="*/ 488511 w 4904699"/>
                  <a:gd name="connsiteY47" fmla="*/ 3498714 h 3498714"/>
                  <a:gd name="connsiteX48" fmla="*/ 327450 w 4904699"/>
                  <a:gd name="connsiteY48" fmla="*/ 3337652 h 3498714"/>
                  <a:gd name="connsiteX49" fmla="*/ 327450 w 4904699"/>
                  <a:gd name="connsiteY49" fmla="*/ 1458216 h 3498714"/>
                  <a:gd name="connsiteX50" fmla="*/ 322427 w 4904699"/>
                  <a:gd name="connsiteY50" fmla="*/ 1098205 h 3498714"/>
                  <a:gd name="connsiteX51" fmla="*/ 317058 w 4904699"/>
                  <a:gd name="connsiteY51" fmla="*/ 1092836 h 3498714"/>
                  <a:gd name="connsiteX52" fmla="*/ 263371 w 4904699"/>
                  <a:gd name="connsiteY52" fmla="*/ 1092836 h 3498714"/>
                  <a:gd name="connsiteX53" fmla="*/ 258001 w 4904699"/>
                  <a:gd name="connsiteY53" fmla="*/ 1098205 h 3498714"/>
                  <a:gd name="connsiteX54" fmla="*/ 258001 w 4904699"/>
                  <a:gd name="connsiteY54" fmla="*/ 1444446 h 3498714"/>
                  <a:gd name="connsiteX55" fmla="*/ 257700 w 4904699"/>
                  <a:gd name="connsiteY55" fmla="*/ 1444370 h 3498714"/>
                  <a:gd name="connsiteX56" fmla="*/ 257700 w 4904699"/>
                  <a:gd name="connsiteY56" fmla="*/ 1912573 h 3498714"/>
                  <a:gd name="connsiteX57" fmla="*/ 128850 w 4904699"/>
                  <a:gd name="connsiteY57" fmla="*/ 2041423 h 3498714"/>
                  <a:gd name="connsiteX58" fmla="*/ 0 w 4904699"/>
                  <a:gd name="connsiteY58" fmla="*/ 1912573 h 3498714"/>
                  <a:gd name="connsiteX59" fmla="*/ 0 w 4904699"/>
                  <a:gd name="connsiteY59" fmla="*/ 1101802 h 3498714"/>
                  <a:gd name="connsiteX60" fmla="*/ 0 w 4904699"/>
                  <a:gd name="connsiteY60" fmla="*/ 1003338 h 3498714"/>
                  <a:gd name="connsiteX61" fmla="*/ 0 w 4904699"/>
                  <a:gd name="connsiteY61" fmla="*/ 982486 h 3498714"/>
                  <a:gd name="connsiteX62" fmla="*/ 12733 w 4904699"/>
                  <a:gd name="connsiteY62" fmla="*/ 894663 h 3498714"/>
                  <a:gd name="connsiteX63" fmla="*/ 20539 w 4904699"/>
                  <a:gd name="connsiteY63" fmla="*/ 868773 h 3498714"/>
                  <a:gd name="connsiteX64" fmla="*/ 358791 w 4904699"/>
                  <a:gd name="connsiteY64" fmla="*/ 644545 h 3498714"/>
                  <a:gd name="connsiteX65" fmla="*/ 682782 w 4904699"/>
                  <a:gd name="connsiteY65" fmla="*/ 0 h 3498714"/>
                  <a:gd name="connsiteX66" fmla="*/ 966919 w 4904699"/>
                  <a:gd name="connsiteY66" fmla="*/ 284138 h 3498714"/>
                  <a:gd name="connsiteX67" fmla="*/ 682782 w 4904699"/>
                  <a:gd name="connsiteY67" fmla="*/ 568275 h 3498714"/>
                  <a:gd name="connsiteX68" fmla="*/ 398645 w 4904699"/>
                  <a:gd name="connsiteY68" fmla="*/ 284138 h 3498714"/>
                  <a:gd name="connsiteX69" fmla="*/ 682782 w 4904699"/>
                  <a:gd name="connsiteY69" fmla="*/ 0 h 3498714"/>
                  <a:gd name="connsiteX70" fmla="*/ 4707054 w 4904699"/>
                  <a:gd name="connsiteY70" fmla="*/ 2902312 h 3498714"/>
                  <a:gd name="connsiteX71" fmla="*/ 4818179 w 4904699"/>
                  <a:gd name="connsiteY71" fmla="*/ 3013437 h 3498714"/>
                  <a:gd name="connsiteX72" fmla="*/ 4707054 w 4904699"/>
                  <a:gd name="connsiteY72" fmla="*/ 3124562 h 3498714"/>
                  <a:gd name="connsiteX73" fmla="*/ 4545125 w 4904699"/>
                  <a:gd name="connsiteY73" fmla="*/ 3124562 h 3498714"/>
                  <a:gd name="connsiteX74" fmla="*/ 4545125 w 4904699"/>
                  <a:gd name="connsiteY74" fmla="*/ 3361625 h 3498714"/>
                  <a:gd name="connsiteX75" fmla="*/ 4436113 w 4904699"/>
                  <a:gd name="connsiteY75" fmla="*/ 3470637 h 3498714"/>
                  <a:gd name="connsiteX76" fmla="*/ 4235039 w 4904699"/>
                  <a:gd name="connsiteY76" fmla="*/ 3470637 h 3498714"/>
                  <a:gd name="connsiteX77" fmla="*/ 4126027 w 4904699"/>
                  <a:gd name="connsiteY77" fmla="*/ 3361625 h 3498714"/>
                  <a:gd name="connsiteX78" fmla="*/ 4126027 w 4904699"/>
                  <a:gd name="connsiteY78" fmla="*/ 3124562 h 3498714"/>
                  <a:gd name="connsiteX79" fmla="*/ 2589325 w 4904699"/>
                  <a:gd name="connsiteY79" fmla="*/ 3124562 h 3498714"/>
                  <a:gd name="connsiteX80" fmla="*/ 2589325 w 4904699"/>
                  <a:gd name="connsiteY80" fmla="*/ 3361625 h 3498714"/>
                  <a:gd name="connsiteX81" fmla="*/ 2480313 w 4904699"/>
                  <a:gd name="connsiteY81" fmla="*/ 3470637 h 3498714"/>
                  <a:gd name="connsiteX82" fmla="*/ 2279239 w 4904699"/>
                  <a:gd name="connsiteY82" fmla="*/ 3470637 h 3498714"/>
                  <a:gd name="connsiteX83" fmla="*/ 2170227 w 4904699"/>
                  <a:gd name="connsiteY83" fmla="*/ 3361625 h 3498714"/>
                  <a:gd name="connsiteX84" fmla="*/ 2170227 w 4904699"/>
                  <a:gd name="connsiteY84" fmla="*/ 3124562 h 3498714"/>
                  <a:gd name="connsiteX85" fmla="*/ 2052754 w 4904699"/>
                  <a:gd name="connsiteY85" fmla="*/ 3124562 h 3498714"/>
                  <a:gd name="connsiteX86" fmla="*/ 1941629 w 4904699"/>
                  <a:gd name="connsiteY86" fmla="*/ 3013437 h 3498714"/>
                  <a:gd name="connsiteX87" fmla="*/ 2052754 w 4904699"/>
                  <a:gd name="connsiteY87" fmla="*/ 2902312 h 3498714"/>
                  <a:gd name="connsiteX88" fmla="*/ 682782 w 4904699"/>
                  <a:gd name="connsiteY88" fmla="*/ 0 h 3498714"/>
                  <a:gd name="connsiteX89" fmla="*/ 4311608 w 4904699"/>
                  <a:gd name="connsiteY89" fmla="*/ 2270487 h 3498714"/>
                  <a:gd name="connsiteX90" fmla="*/ 4492583 w 4904699"/>
                  <a:gd name="connsiteY90" fmla="*/ 2451462 h 3498714"/>
                  <a:gd name="connsiteX0" fmla="*/ 2979061 w 4818179"/>
                  <a:gd name="connsiteY0" fmla="*/ 2089512 h 3498714"/>
                  <a:gd name="connsiteX1" fmla="*/ 2671086 w 4818179"/>
                  <a:gd name="connsiteY1" fmla="*/ 2397487 h 3498714"/>
                  <a:gd name="connsiteX2" fmla="*/ 2671086 w 4818179"/>
                  <a:gd name="connsiteY2" fmla="*/ 2584811 h 3498714"/>
                  <a:gd name="connsiteX3" fmla="*/ 4083961 w 4818179"/>
                  <a:gd name="connsiteY3" fmla="*/ 2584811 h 3498714"/>
                  <a:gd name="connsiteX4" fmla="*/ 4083961 w 4818179"/>
                  <a:gd name="connsiteY4" fmla="*/ 2397487 h 3498714"/>
                  <a:gd name="connsiteX5" fmla="*/ 3775986 w 4818179"/>
                  <a:gd name="connsiteY5" fmla="*/ 2089512 h 3498714"/>
                  <a:gd name="connsiteX6" fmla="*/ 2979061 w 4818179"/>
                  <a:gd name="connsiteY6" fmla="*/ 2089512 h 3498714"/>
                  <a:gd name="connsiteX7" fmla="*/ 2251033 w 4818179"/>
                  <a:gd name="connsiteY7" fmla="*/ 2089512 h 3498714"/>
                  <a:gd name="connsiteX8" fmla="*/ 2070058 w 4818179"/>
                  <a:gd name="connsiteY8" fmla="*/ 2270487 h 3498714"/>
                  <a:gd name="connsiteX9" fmla="*/ 2251033 w 4818179"/>
                  <a:gd name="connsiteY9" fmla="*/ 2451462 h 3498714"/>
                  <a:gd name="connsiteX10" fmla="*/ 2432008 w 4818179"/>
                  <a:gd name="connsiteY10" fmla="*/ 2270487 h 3498714"/>
                  <a:gd name="connsiteX11" fmla="*/ 2251033 w 4818179"/>
                  <a:gd name="connsiteY11" fmla="*/ 2089512 h 3498714"/>
                  <a:gd name="connsiteX12" fmla="*/ 2842751 w 4818179"/>
                  <a:gd name="connsiteY12" fmla="*/ 1749356 h 3498714"/>
                  <a:gd name="connsiteX13" fmla="*/ 2392797 w 4818179"/>
                  <a:gd name="connsiteY13" fmla="*/ 1878907 h 3498714"/>
                  <a:gd name="connsiteX14" fmla="*/ 2478781 w 4818179"/>
                  <a:gd name="connsiteY14" fmla="*/ 1920808 h 3498714"/>
                  <a:gd name="connsiteX15" fmla="*/ 2842751 w 4818179"/>
                  <a:gd name="connsiteY15" fmla="*/ 1749356 h 3498714"/>
                  <a:gd name="connsiteX16" fmla="*/ 2534724 w 4818179"/>
                  <a:gd name="connsiteY16" fmla="*/ 982297 h 3498714"/>
                  <a:gd name="connsiteX17" fmla="*/ 1970999 w 4818179"/>
                  <a:gd name="connsiteY17" fmla="*/ 2826112 h 3498714"/>
                  <a:gd name="connsiteX18" fmla="*/ 1850348 w 4818179"/>
                  <a:gd name="connsiteY18" fmla="*/ 2705462 h 3498714"/>
                  <a:gd name="connsiteX19" fmla="*/ 1956769 w 4818179"/>
                  <a:gd name="connsiteY19" fmla="*/ 2587684 h 3498714"/>
                  <a:gd name="connsiteX20" fmla="*/ 1823360 w 4818179"/>
                  <a:gd name="connsiteY20" fmla="*/ 2279217 h 3498714"/>
                  <a:gd name="connsiteX21" fmla="*/ 2217440 w 4818179"/>
                  <a:gd name="connsiteY21" fmla="*/ 1856216 h 3498714"/>
                  <a:gd name="connsiteX22" fmla="*/ 2534724 w 4818179"/>
                  <a:gd name="connsiteY22" fmla="*/ 982297 h 3498714"/>
                  <a:gd name="connsiteX23" fmla="*/ 358791 w 4818179"/>
                  <a:gd name="connsiteY23" fmla="*/ 644545 h 3498714"/>
                  <a:gd name="connsiteX24" fmla="*/ 1006774 w 4818179"/>
                  <a:gd name="connsiteY24" fmla="*/ 644545 h 3498714"/>
                  <a:gd name="connsiteX25" fmla="*/ 1542636 w 4818179"/>
                  <a:gd name="connsiteY25" fmla="*/ 1193969 h 3498714"/>
                  <a:gd name="connsiteX26" fmla="*/ 1929878 w 4818179"/>
                  <a:gd name="connsiteY26" fmla="*/ 1193970 h 3498714"/>
                  <a:gd name="connsiteX27" fmla="*/ 2070059 w 4818179"/>
                  <a:gd name="connsiteY27" fmla="*/ 1334152 h 3498714"/>
                  <a:gd name="connsiteX28" fmla="*/ 1929878 w 4818179"/>
                  <a:gd name="connsiteY28" fmla="*/ 1474333 h 3498714"/>
                  <a:gd name="connsiteX29" fmla="*/ 1520943 w 4818179"/>
                  <a:gd name="connsiteY29" fmla="*/ 1470388 h 3498714"/>
                  <a:gd name="connsiteX30" fmla="*/ 1332825 w 4818179"/>
                  <a:gd name="connsiteY30" fmla="*/ 1367201 h 3498714"/>
                  <a:gd name="connsiteX31" fmla="*/ 1106501 w 4818179"/>
                  <a:gd name="connsiteY31" fmla="*/ 1098289 h 3498714"/>
                  <a:gd name="connsiteX32" fmla="*/ 1101049 w 4818179"/>
                  <a:gd name="connsiteY32" fmla="*/ 1092836 h 3498714"/>
                  <a:gd name="connsiteX33" fmla="*/ 1046523 w 4818179"/>
                  <a:gd name="connsiteY33" fmla="*/ 1092836 h 3498714"/>
                  <a:gd name="connsiteX34" fmla="*/ 1041071 w 4818179"/>
                  <a:gd name="connsiteY34" fmla="*/ 1098289 h 3498714"/>
                  <a:gd name="connsiteX35" fmla="*/ 1042136 w 4818179"/>
                  <a:gd name="connsiteY35" fmla="*/ 1419754 h 3498714"/>
                  <a:gd name="connsiteX36" fmla="*/ 1042136 w 4818179"/>
                  <a:gd name="connsiteY36" fmla="*/ 3337652 h 3498714"/>
                  <a:gd name="connsiteX37" fmla="*/ 881075 w 4818179"/>
                  <a:gd name="connsiteY37" fmla="*/ 3498714 h 3498714"/>
                  <a:gd name="connsiteX38" fmla="*/ 720012 w 4818179"/>
                  <a:gd name="connsiteY38" fmla="*/ 3337652 h 3498714"/>
                  <a:gd name="connsiteX39" fmla="*/ 720012 w 4818179"/>
                  <a:gd name="connsiteY39" fmla="*/ 2125717 h 3498714"/>
                  <a:gd name="connsiteX40" fmla="*/ 718947 w 4818179"/>
                  <a:gd name="connsiteY40" fmla="*/ 2033194 h 3498714"/>
                  <a:gd name="connsiteX41" fmla="*/ 714162 w 4818179"/>
                  <a:gd name="connsiteY41" fmla="*/ 2028410 h 3498714"/>
                  <a:gd name="connsiteX42" fmla="*/ 654759 w 4818179"/>
                  <a:gd name="connsiteY42" fmla="*/ 2028410 h 3498714"/>
                  <a:gd name="connsiteX43" fmla="*/ 649974 w 4818179"/>
                  <a:gd name="connsiteY43" fmla="*/ 2033194 h 3498714"/>
                  <a:gd name="connsiteX44" fmla="*/ 649974 w 4818179"/>
                  <a:gd name="connsiteY44" fmla="*/ 2125717 h 3498714"/>
                  <a:gd name="connsiteX45" fmla="*/ 649574 w 4818179"/>
                  <a:gd name="connsiteY45" fmla="*/ 3337652 h 3498714"/>
                  <a:gd name="connsiteX46" fmla="*/ 488511 w 4818179"/>
                  <a:gd name="connsiteY46" fmla="*/ 3498714 h 3498714"/>
                  <a:gd name="connsiteX47" fmla="*/ 327450 w 4818179"/>
                  <a:gd name="connsiteY47" fmla="*/ 3337652 h 3498714"/>
                  <a:gd name="connsiteX48" fmla="*/ 327450 w 4818179"/>
                  <a:gd name="connsiteY48" fmla="*/ 1458216 h 3498714"/>
                  <a:gd name="connsiteX49" fmla="*/ 322427 w 4818179"/>
                  <a:gd name="connsiteY49" fmla="*/ 1098205 h 3498714"/>
                  <a:gd name="connsiteX50" fmla="*/ 317058 w 4818179"/>
                  <a:gd name="connsiteY50" fmla="*/ 1092836 h 3498714"/>
                  <a:gd name="connsiteX51" fmla="*/ 263371 w 4818179"/>
                  <a:gd name="connsiteY51" fmla="*/ 1092836 h 3498714"/>
                  <a:gd name="connsiteX52" fmla="*/ 258001 w 4818179"/>
                  <a:gd name="connsiteY52" fmla="*/ 1098205 h 3498714"/>
                  <a:gd name="connsiteX53" fmla="*/ 258001 w 4818179"/>
                  <a:gd name="connsiteY53" fmla="*/ 1444446 h 3498714"/>
                  <a:gd name="connsiteX54" fmla="*/ 257700 w 4818179"/>
                  <a:gd name="connsiteY54" fmla="*/ 1444370 h 3498714"/>
                  <a:gd name="connsiteX55" fmla="*/ 257700 w 4818179"/>
                  <a:gd name="connsiteY55" fmla="*/ 1912573 h 3498714"/>
                  <a:gd name="connsiteX56" fmla="*/ 128850 w 4818179"/>
                  <a:gd name="connsiteY56" fmla="*/ 2041423 h 3498714"/>
                  <a:gd name="connsiteX57" fmla="*/ 0 w 4818179"/>
                  <a:gd name="connsiteY57" fmla="*/ 1912573 h 3498714"/>
                  <a:gd name="connsiteX58" fmla="*/ 0 w 4818179"/>
                  <a:gd name="connsiteY58" fmla="*/ 1101802 h 3498714"/>
                  <a:gd name="connsiteX59" fmla="*/ 0 w 4818179"/>
                  <a:gd name="connsiteY59" fmla="*/ 1003338 h 3498714"/>
                  <a:gd name="connsiteX60" fmla="*/ 0 w 4818179"/>
                  <a:gd name="connsiteY60" fmla="*/ 982486 h 3498714"/>
                  <a:gd name="connsiteX61" fmla="*/ 12733 w 4818179"/>
                  <a:gd name="connsiteY61" fmla="*/ 894663 h 3498714"/>
                  <a:gd name="connsiteX62" fmla="*/ 20539 w 4818179"/>
                  <a:gd name="connsiteY62" fmla="*/ 868773 h 3498714"/>
                  <a:gd name="connsiteX63" fmla="*/ 358791 w 4818179"/>
                  <a:gd name="connsiteY63" fmla="*/ 644545 h 3498714"/>
                  <a:gd name="connsiteX64" fmla="*/ 682782 w 4818179"/>
                  <a:gd name="connsiteY64" fmla="*/ 0 h 3498714"/>
                  <a:gd name="connsiteX65" fmla="*/ 966919 w 4818179"/>
                  <a:gd name="connsiteY65" fmla="*/ 284138 h 3498714"/>
                  <a:gd name="connsiteX66" fmla="*/ 682782 w 4818179"/>
                  <a:gd name="connsiteY66" fmla="*/ 568275 h 3498714"/>
                  <a:gd name="connsiteX67" fmla="*/ 398645 w 4818179"/>
                  <a:gd name="connsiteY67" fmla="*/ 284138 h 3498714"/>
                  <a:gd name="connsiteX68" fmla="*/ 682782 w 4818179"/>
                  <a:gd name="connsiteY68" fmla="*/ 0 h 3498714"/>
                  <a:gd name="connsiteX69" fmla="*/ 4707054 w 4818179"/>
                  <a:gd name="connsiteY69" fmla="*/ 2902312 h 3498714"/>
                  <a:gd name="connsiteX70" fmla="*/ 4818179 w 4818179"/>
                  <a:gd name="connsiteY70" fmla="*/ 3013437 h 3498714"/>
                  <a:gd name="connsiteX71" fmla="*/ 4707054 w 4818179"/>
                  <a:gd name="connsiteY71" fmla="*/ 3124562 h 3498714"/>
                  <a:gd name="connsiteX72" fmla="*/ 4545125 w 4818179"/>
                  <a:gd name="connsiteY72" fmla="*/ 3124562 h 3498714"/>
                  <a:gd name="connsiteX73" fmla="*/ 4545125 w 4818179"/>
                  <a:gd name="connsiteY73" fmla="*/ 3361625 h 3498714"/>
                  <a:gd name="connsiteX74" fmla="*/ 4436113 w 4818179"/>
                  <a:gd name="connsiteY74" fmla="*/ 3470637 h 3498714"/>
                  <a:gd name="connsiteX75" fmla="*/ 4235039 w 4818179"/>
                  <a:gd name="connsiteY75" fmla="*/ 3470637 h 3498714"/>
                  <a:gd name="connsiteX76" fmla="*/ 4126027 w 4818179"/>
                  <a:gd name="connsiteY76" fmla="*/ 3361625 h 3498714"/>
                  <a:gd name="connsiteX77" fmla="*/ 4126027 w 4818179"/>
                  <a:gd name="connsiteY77" fmla="*/ 3124562 h 3498714"/>
                  <a:gd name="connsiteX78" fmla="*/ 2589325 w 4818179"/>
                  <a:gd name="connsiteY78" fmla="*/ 3124562 h 3498714"/>
                  <a:gd name="connsiteX79" fmla="*/ 2589325 w 4818179"/>
                  <a:gd name="connsiteY79" fmla="*/ 3361625 h 3498714"/>
                  <a:gd name="connsiteX80" fmla="*/ 2480313 w 4818179"/>
                  <a:gd name="connsiteY80" fmla="*/ 3470637 h 3498714"/>
                  <a:gd name="connsiteX81" fmla="*/ 2279239 w 4818179"/>
                  <a:gd name="connsiteY81" fmla="*/ 3470637 h 3498714"/>
                  <a:gd name="connsiteX82" fmla="*/ 2170227 w 4818179"/>
                  <a:gd name="connsiteY82" fmla="*/ 3361625 h 3498714"/>
                  <a:gd name="connsiteX83" fmla="*/ 2170227 w 4818179"/>
                  <a:gd name="connsiteY83" fmla="*/ 3124562 h 3498714"/>
                  <a:gd name="connsiteX84" fmla="*/ 2052754 w 4818179"/>
                  <a:gd name="connsiteY84" fmla="*/ 3124562 h 3498714"/>
                  <a:gd name="connsiteX85" fmla="*/ 1941629 w 4818179"/>
                  <a:gd name="connsiteY85" fmla="*/ 3013437 h 3498714"/>
                  <a:gd name="connsiteX86" fmla="*/ 2052754 w 4818179"/>
                  <a:gd name="connsiteY86" fmla="*/ 2902312 h 3498714"/>
                  <a:gd name="connsiteX87" fmla="*/ 682782 w 4818179"/>
                  <a:gd name="connsiteY87" fmla="*/ 0 h 3498714"/>
                  <a:gd name="connsiteX88" fmla="*/ 4311608 w 4818179"/>
                  <a:gd name="connsiteY88" fmla="*/ 2270487 h 3498714"/>
                  <a:gd name="connsiteX89" fmla="*/ 4492583 w 4818179"/>
                  <a:gd name="connsiteY89" fmla="*/ 2451462 h 3498714"/>
                  <a:gd name="connsiteX0" fmla="*/ 2979061 w 4818179"/>
                  <a:gd name="connsiteY0" fmla="*/ 2089512 h 3498714"/>
                  <a:gd name="connsiteX1" fmla="*/ 2671086 w 4818179"/>
                  <a:gd name="connsiteY1" fmla="*/ 2397487 h 3498714"/>
                  <a:gd name="connsiteX2" fmla="*/ 2671086 w 4818179"/>
                  <a:gd name="connsiteY2" fmla="*/ 2584811 h 3498714"/>
                  <a:gd name="connsiteX3" fmla="*/ 4083961 w 4818179"/>
                  <a:gd name="connsiteY3" fmla="*/ 2584811 h 3498714"/>
                  <a:gd name="connsiteX4" fmla="*/ 4083961 w 4818179"/>
                  <a:gd name="connsiteY4" fmla="*/ 2397487 h 3498714"/>
                  <a:gd name="connsiteX5" fmla="*/ 3775986 w 4818179"/>
                  <a:gd name="connsiteY5" fmla="*/ 2089512 h 3498714"/>
                  <a:gd name="connsiteX6" fmla="*/ 2979061 w 4818179"/>
                  <a:gd name="connsiteY6" fmla="*/ 2089512 h 3498714"/>
                  <a:gd name="connsiteX7" fmla="*/ 2251033 w 4818179"/>
                  <a:gd name="connsiteY7" fmla="*/ 2089512 h 3498714"/>
                  <a:gd name="connsiteX8" fmla="*/ 2070058 w 4818179"/>
                  <a:gd name="connsiteY8" fmla="*/ 2270487 h 3498714"/>
                  <a:gd name="connsiteX9" fmla="*/ 2251033 w 4818179"/>
                  <a:gd name="connsiteY9" fmla="*/ 2451462 h 3498714"/>
                  <a:gd name="connsiteX10" fmla="*/ 2432008 w 4818179"/>
                  <a:gd name="connsiteY10" fmla="*/ 2270487 h 3498714"/>
                  <a:gd name="connsiteX11" fmla="*/ 2251033 w 4818179"/>
                  <a:gd name="connsiteY11" fmla="*/ 2089512 h 3498714"/>
                  <a:gd name="connsiteX12" fmla="*/ 2842751 w 4818179"/>
                  <a:gd name="connsiteY12" fmla="*/ 1749356 h 3498714"/>
                  <a:gd name="connsiteX13" fmla="*/ 2392797 w 4818179"/>
                  <a:gd name="connsiteY13" fmla="*/ 1878907 h 3498714"/>
                  <a:gd name="connsiteX14" fmla="*/ 2478781 w 4818179"/>
                  <a:gd name="connsiteY14" fmla="*/ 1920808 h 3498714"/>
                  <a:gd name="connsiteX15" fmla="*/ 2842751 w 4818179"/>
                  <a:gd name="connsiteY15" fmla="*/ 1749356 h 3498714"/>
                  <a:gd name="connsiteX16" fmla="*/ 2534724 w 4818179"/>
                  <a:gd name="connsiteY16" fmla="*/ 982297 h 3498714"/>
                  <a:gd name="connsiteX17" fmla="*/ 1970999 w 4818179"/>
                  <a:gd name="connsiteY17" fmla="*/ 2826112 h 3498714"/>
                  <a:gd name="connsiteX18" fmla="*/ 1850348 w 4818179"/>
                  <a:gd name="connsiteY18" fmla="*/ 2705462 h 3498714"/>
                  <a:gd name="connsiteX19" fmla="*/ 1956769 w 4818179"/>
                  <a:gd name="connsiteY19" fmla="*/ 2587684 h 3498714"/>
                  <a:gd name="connsiteX20" fmla="*/ 1823360 w 4818179"/>
                  <a:gd name="connsiteY20" fmla="*/ 2279217 h 3498714"/>
                  <a:gd name="connsiteX21" fmla="*/ 2217440 w 4818179"/>
                  <a:gd name="connsiteY21" fmla="*/ 1856216 h 3498714"/>
                  <a:gd name="connsiteX22" fmla="*/ 2534724 w 4818179"/>
                  <a:gd name="connsiteY22" fmla="*/ 982297 h 3498714"/>
                  <a:gd name="connsiteX23" fmla="*/ 358791 w 4818179"/>
                  <a:gd name="connsiteY23" fmla="*/ 644545 h 3498714"/>
                  <a:gd name="connsiteX24" fmla="*/ 1006774 w 4818179"/>
                  <a:gd name="connsiteY24" fmla="*/ 644545 h 3498714"/>
                  <a:gd name="connsiteX25" fmla="*/ 1542636 w 4818179"/>
                  <a:gd name="connsiteY25" fmla="*/ 1193969 h 3498714"/>
                  <a:gd name="connsiteX26" fmla="*/ 1929878 w 4818179"/>
                  <a:gd name="connsiteY26" fmla="*/ 1193970 h 3498714"/>
                  <a:gd name="connsiteX27" fmla="*/ 2070059 w 4818179"/>
                  <a:gd name="connsiteY27" fmla="*/ 1334152 h 3498714"/>
                  <a:gd name="connsiteX28" fmla="*/ 1929878 w 4818179"/>
                  <a:gd name="connsiteY28" fmla="*/ 1474333 h 3498714"/>
                  <a:gd name="connsiteX29" fmla="*/ 1520943 w 4818179"/>
                  <a:gd name="connsiteY29" fmla="*/ 1470388 h 3498714"/>
                  <a:gd name="connsiteX30" fmla="*/ 1332825 w 4818179"/>
                  <a:gd name="connsiteY30" fmla="*/ 1367201 h 3498714"/>
                  <a:gd name="connsiteX31" fmla="*/ 1106501 w 4818179"/>
                  <a:gd name="connsiteY31" fmla="*/ 1098289 h 3498714"/>
                  <a:gd name="connsiteX32" fmla="*/ 1101049 w 4818179"/>
                  <a:gd name="connsiteY32" fmla="*/ 1092836 h 3498714"/>
                  <a:gd name="connsiteX33" fmla="*/ 1046523 w 4818179"/>
                  <a:gd name="connsiteY33" fmla="*/ 1092836 h 3498714"/>
                  <a:gd name="connsiteX34" fmla="*/ 1041071 w 4818179"/>
                  <a:gd name="connsiteY34" fmla="*/ 1098289 h 3498714"/>
                  <a:gd name="connsiteX35" fmla="*/ 1042136 w 4818179"/>
                  <a:gd name="connsiteY35" fmla="*/ 1419754 h 3498714"/>
                  <a:gd name="connsiteX36" fmla="*/ 1042136 w 4818179"/>
                  <a:gd name="connsiteY36" fmla="*/ 3337652 h 3498714"/>
                  <a:gd name="connsiteX37" fmla="*/ 881075 w 4818179"/>
                  <a:gd name="connsiteY37" fmla="*/ 3498714 h 3498714"/>
                  <a:gd name="connsiteX38" fmla="*/ 720012 w 4818179"/>
                  <a:gd name="connsiteY38" fmla="*/ 3337652 h 3498714"/>
                  <a:gd name="connsiteX39" fmla="*/ 720012 w 4818179"/>
                  <a:gd name="connsiteY39" fmla="*/ 2125717 h 3498714"/>
                  <a:gd name="connsiteX40" fmla="*/ 718947 w 4818179"/>
                  <a:gd name="connsiteY40" fmla="*/ 2033194 h 3498714"/>
                  <a:gd name="connsiteX41" fmla="*/ 714162 w 4818179"/>
                  <a:gd name="connsiteY41" fmla="*/ 2028410 h 3498714"/>
                  <a:gd name="connsiteX42" fmla="*/ 654759 w 4818179"/>
                  <a:gd name="connsiteY42" fmla="*/ 2028410 h 3498714"/>
                  <a:gd name="connsiteX43" fmla="*/ 649974 w 4818179"/>
                  <a:gd name="connsiteY43" fmla="*/ 2033194 h 3498714"/>
                  <a:gd name="connsiteX44" fmla="*/ 649974 w 4818179"/>
                  <a:gd name="connsiteY44" fmla="*/ 2125717 h 3498714"/>
                  <a:gd name="connsiteX45" fmla="*/ 649574 w 4818179"/>
                  <a:gd name="connsiteY45" fmla="*/ 3337652 h 3498714"/>
                  <a:gd name="connsiteX46" fmla="*/ 488511 w 4818179"/>
                  <a:gd name="connsiteY46" fmla="*/ 3498714 h 3498714"/>
                  <a:gd name="connsiteX47" fmla="*/ 327450 w 4818179"/>
                  <a:gd name="connsiteY47" fmla="*/ 3337652 h 3498714"/>
                  <a:gd name="connsiteX48" fmla="*/ 327450 w 4818179"/>
                  <a:gd name="connsiteY48" fmla="*/ 1458216 h 3498714"/>
                  <a:gd name="connsiteX49" fmla="*/ 322427 w 4818179"/>
                  <a:gd name="connsiteY49" fmla="*/ 1098205 h 3498714"/>
                  <a:gd name="connsiteX50" fmla="*/ 317058 w 4818179"/>
                  <a:gd name="connsiteY50" fmla="*/ 1092836 h 3498714"/>
                  <a:gd name="connsiteX51" fmla="*/ 263371 w 4818179"/>
                  <a:gd name="connsiteY51" fmla="*/ 1092836 h 3498714"/>
                  <a:gd name="connsiteX52" fmla="*/ 258001 w 4818179"/>
                  <a:gd name="connsiteY52" fmla="*/ 1098205 h 3498714"/>
                  <a:gd name="connsiteX53" fmla="*/ 258001 w 4818179"/>
                  <a:gd name="connsiteY53" fmla="*/ 1444446 h 3498714"/>
                  <a:gd name="connsiteX54" fmla="*/ 257700 w 4818179"/>
                  <a:gd name="connsiteY54" fmla="*/ 1444370 h 3498714"/>
                  <a:gd name="connsiteX55" fmla="*/ 257700 w 4818179"/>
                  <a:gd name="connsiteY55" fmla="*/ 1912573 h 3498714"/>
                  <a:gd name="connsiteX56" fmla="*/ 128850 w 4818179"/>
                  <a:gd name="connsiteY56" fmla="*/ 2041423 h 3498714"/>
                  <a:gd name="connsiteX57" fmla="*/ 0 w 4818179"/>
                  <a:gd name="connsiteY57" fmla="*/ 1912573 h 3498714"/>
                  <a:gd name="connsiteX58" fmla="*/ 0 w 4818179"/>
                  <a:gd name="connsiteY58" fmla="*/ 1101802 h 3498714"/>
                  <a:gd name="connsiteX59" fmla="*/ 0 w 4818179"/>
                  <a:gd name="connsiteY59" fmla="*/ 1003338 h 3498714"/>
                  <a:gd name="connsiteX60" fmla="*/ 0 w 4818179"/>
                  <a:gd name="connsiteY60" fmla="*/ 982486 h 3498714"/>
                  <a:gd name="connsiteX61" fmla="*/ 12733 w 4818179"/>
                  <a:gd name="connsiteY61" fmla="*/ 894663 h 3498714"/>
                  <a:gd name="connsiteX62" fmla="*/ 20539 w 4818179"/>
                  <a:gd name="connsiteY62" fmla="*/ 868773 h 3498714"/>
                  <a:gd name="connsiteX63" fmla="*/ 358791 w 4818179"/>
                  <a:gd name="connsiteY63" fmla="*/ 644545 h 3498714"/>
                  <a:gd name="connsiteX64" fmla="*/ 682782 w 4818179"/>
                  <a:gd name="connsiteY64" fmla="*/ 0 h 3498714"/>
                  <a:gd name="connsiteX65" fmla="*/ 966919 w 4818179"/>
                  <a:gd name="connsiteY65" fmla="*/ 284138 h 3498714"/>
                  <a:gd name="connsiteX66" fmla="*/ 682782 w 4818179"/>
                  <a:gd name="connsiteY66" fmla="*/ 568275 h 3498714"/>
                  <a:gd name="connsiteX67" fmla="*/ 398645 w 4818179"/>
                  <a:gd name="connsiteY67" fmla="*/ 284138 h 3498714"/>
                  <a:gd name="connsiteX68" fmla="*/ 682782 w 4818179"/>
                  <a:gd name="connsiteY68" fmla="*/ 0 h 3498714"/>
                  <a:gd name="connsiteX69" fmla="*/ 4707054 w 4818179"/>
                  <a:gd name="connsiteY69" fmla="*/ 2902312 h 3498714"/>
                  <a:gd name="connsiteX70" fmla="*/ 4818179 w 4818179"/>
                  <a:gd name="connsiteY70" fmla="*/ 3013437 h 3498714"/>
                  <a:gd name="connsiteX71" fmla="*/ 4707054 w 4818179"/>
                  <a:gd name="connsiteY71" fmla="*/ 3124562 h 3498714"/>
                  <a:gd name="connsiteX72" fmla="*/ 4545125 w 4818179"/>
                  <a:gd name="connsiteY72" fmla="*/ 3124562 h 3498714"/>
                  <a:gd name="connsiteX73" fmla="*/ 4545125 w 4818179"/>
                  <a:gd name="connsiteY73" fmla="*/ 3361625 h 3498714"/>
                  <a:gd name="connsiteX74" fmla="*/ 4436113 w 4818179"/>
                  <a:gd name="connsiteY74" fmla="*/ 3470637 h 3498714"/>
                  <a:gd name="connsiteX75" fmla="*/ 4235039 w 4818179"/>
                  <a:gd name="connsiteY75" fmla="*/ 3470637 h 3498714"/>
                  <a:gd name="connsiteX76" fmla="*/ 4126027 w 4818179"/>
                  <a:gd name="connsiteY76" fmla="*/ 3361625 h 3498714"/>
                  <a:gd name="connsiteX77" fmla="*/ 4126027 w 4818179"/>
                  <a:gd name="connsiteY77" fmla="*/ 3124562 h 3498714"/>
                  <a:gd name="connsiteX78" fmla="*/ 2589325 w 4818179"/>
                  <a:gd name="connsiteY78" fmla="*/ 3124562 h 3498714"/>
                  <a:gd name="connsiteX79" fmla="*/ 2589325 w 4818179"/>
                  <a:gd name="connsiteY79" fmla="*/ 3361625 h 3498714"/>
                  <a:gd name="connsiteX80" fmla="*/ 2480313 w 4818179"/>
                  <a:gd name="connsiteY80" fmla="*/ 3470637 h 3498714"/>
                  <a:gd name="connsiteX81" fmla="*/ 2279239 w 4818179"/>
                  <a:gd name="connsiteY81" fmla="*/ 3470637 h 3498714"/>
                  <a:gd name="connsiteX82" fmla="*/ 2170227 w 4818179"/>
                  <a:gd name="connsiteY82" fmla="*/ 3361625 h 3498714"/>
                  <a:gd name="connsiteX83" fmla="*/ 2170227 w 4818179"/>
                  <a:gd name="connsiteY83" fmla="*/ 3124562 h 3498714"/>
                  <a:gd name="connsiteX84" fmla="*/ 2052754 w 4818179"/>
                  <a:gd name="connsiteY84" fmla="*/ 3124562 h 3498714"/>
                  <a:gd name="connsiteX85" fmla="*/ 1941629 w 4818179"/>
                  <a:gd name="connsiteY85" fmla="*/ 3013437 h 3498714"/>
                  <a:gd name="connsiteX86" fmla="*/ 2052754 w 4818179"/>
                  <a:gd name="connsiteY86" fmla="*/ 2902312 h 3498714"/>
                  <a:gd name="connsiteX87" fmla="*/ 682782 w 4818179"/>
                  <a:gd name="connsiteY87" fmla="*/ 0 h 3498714"/>
                  <a:gd name="connsiteX0" fmla="*/ 2979061 w 4818179"/>
                  <a:gd name="connsiteY0" fmla="*/ 2089512 h 3498714"/>
                  <a:gd name="connsiteX1" fmla="*/ 2671086 w 4818179"/>
                  <a:gd name="connsiteY1" fmla="*/ 2397487 h 3498714"/>
                  <a:gd name="connsiteX2" fmla="*/ 2671086 w 4818179"/>
                  <a:gd name="connsiteY2" fmla="*/ 2584811 h 3498714"/>
                  <a:gd name="connsiteX3" fmla="*/ 4083961 w 4818179"/>
                  <a:gd name="connsiteY3" fmla="*/ 2584811 h 3498714"/>
                  <a:gd name="connsiteX4" fmla="*/ 3775986 w 4818179"/>
                  <a:gd name="connsiteY4" fmla="*/ 2089512 h 3498714"/>
                  <a:gd name="connsiteX5" fmla="*/ 2979061 w 4818179"/>
                  <a:gd name="connsiteY5" fmla="*/ 2089512 h 3498714"/>
                  <a:gd name="connsiteX6" fmla="*/ 2251033 w 4818179"/>
                  <a:gd name="connsiteY6" fmla="*/ 2089512 h 3498714"/>
                  <a:gd name="connsiteX7" fmla="*/ 2070058 w 4818179"/>
                  <a:gd name="connsiteY7" fmla="*/ 2270487 h 3498714"/>
                  <a:gd name="connsiteX8" fmla="*/ 2251033 w 4818179"/>
                  <a:gd name="connsiteY8" fmla="*/ 2451462 h 3498714"/>
                  <a:gd name="connsiteX9" fmla="*/ 2432008 w 4818179"/>
                  <a:gd name="connsiteY9" fmla="*/ 2270487 h 3498714"/>
                  <a:gd name="connsiteX10" fmla="*/ 2251033 w 4818179"/>
                  <a:gd name="connsiteY10" fmla="*/ 2089512 h 3498714"/>
                  <a:gd name="connsiteX11" fmla="*/ 2842751 w 4818179"/>
                  <a:gd name="connsiteY11" fmla="*/ 1749356 h 3498714"/>
                  <a:gd name="connsiteX12" fmla="*/ 2392797 w 4818179"/>
                  <a:gd name="connsiteY12" fmla="*/ 1878907 h 3498714"/>
                  <a:gd name="connsiteX13" fmla="*/ 2478781 w 4818179"/>
                  <a:gd name="connsiteY13" fmla="*/ 1920808 h 3498714"/>
                  <a:gd name="connsiteX14" fmla="*/ 2842751 w 4818179"/>
                  <a:gd name="connsiteY14" fmla="*/ 1749356 h 3498714"/>
                  <a:gd name="connsiteX15" fmla="*/ 2534724 w 4818179"/>
                  <a:gd name="connsiteY15" fmla="*/ 982297 h 3498714"/>
                  <a:gd name="connsiteX16" fmla="*/ 1970999 w 4818179"/>
                  <a:gd name="connsiteY16" fmla="*/ 2826112 h 3498714"/>
                  <a:gd name="connsiteX17" fmla="*/ 1850348 w 4818179"/>
                  <a:gd name="connsiteY17" fmla="*/ 2705462 h 3498714"/>
                  <a:gd name="connsiteX18" fmla="*/ 1956769 w 4818179"/>
                  <a:gd name="connsiteY18" fmla="*/ 2587684 h 3498714"/>
                  <a:gd name="connsiteX19" fmla="*/ 1823360 w 4818179"/>
                  <a:gd name="connsiteY19" fmla="*/ 2279217 h 3498714"/>
                  <a:gd name="connsiteX20" fmla="*/ 2217440 w 4818179"/>
                  <a:gd name="connsiteY20" fmla="*/ 1856216 h 3498714"/>
                  <a:gd name="connsiteX21" fmla="*/ 2534724 w 4818179"/>
                  <a:gd name="connsiteY21" fmla="*/ 982297 h 3498714"/>
                  <a:gd name="connsiteX22" fmla="*/ 358791 w 4818179"/>
                  <a:gd name="connsiteY22" fmla="*/ 644545 h 3498714"/>
                  <a:gd name="connsiteX23" fmla="*/ 1006774 w 4818179"/>
                  <a:gd name="connsiteY23" fmla="*/ 644545 h 3498714"/>
                  <a:gd name="connsiteX24" fmla="*/ 1542636 w 4818179"/>
                  <a:gd name="connsiteY24" fmla="*/ 1193969 h 3498714"/>
                  <a:gd name="connsiteX25" fmla="*/ 1929878 w 4818179"/>
                  <a:gd name="connsiteY25" fmla="*/ 1193970 h 3498714"/>
                  <a:gd name="connsiteX26" fmla="*/ 2070059 w 4818179"/>
                  <a:gd name="connsiteY26" fmla="*/ 1334152 h 3498714"/>
                  <a:gd name="connsiteX27" fmla="*/ 1929878 w 4818179"/>
                  <a:gd name="connsiteY27" fmla="*/ 1474333 h 3498714"/>
                  <a:gd name="connsiteX28" fmla="*/ 1520943 w 4818179"/>
                  <a:gd name="connsiteY28" fmla="*/ 1470388 h 3498714"/>
                  <a:gd name="connsiteX29" fmla="*/ 1332825 w 4818179"/>
                  <a:gd name="connsiteY29" fmla="*/ 1367201 h 3498714"/>
                  <a:gd name="connsiteX30" fmla="*/ 1106501 w 4818179"/>
                  <a:gd name="connsiteY30" fmla="*/ 1098289 h 3498714"/>
                  <a:gd name="connsiteX31" fmla="*/ 1101049 w 4818179"/>
                  <a:gd name="connsiteY31" fmla="*/ 1092836 h 3498714"/>
                  <a:gd name="connsiteX32" fmla="*/ 1046523 w 4818179"/>
                  <a:gd name="connsiteY32" fmla="*/ 1092836 h 3498714"/>
                  <a:gd name="connsiteX33" fmla="*/ 1041071 w 4818179"/>
                  <a:gd name="connsiteY33" fmla="*/ 1098289 h 3498714"/>
                  <a:gd name="connsiteX34" fmla="*/ 1042136 w 4818179"/>
                  <a:gd name="connsiteY34" fmla="*/ 1419754 h 3498714"/>
                  <a:gd name="connsiteX35" fmla="*/ 1042136 w 4818179"/>
                  <a:gd name="connsiteY35" fmla="*/ 3337652 h 3498714"/>
                  <a:gd name="connsiteX36" fmla="*/ 881075 w 4818179"/>
                  <a:gd name="connsiteY36" fmla="*/ 3498714 h 3498714"/>
                  <a:gd name="connsiteX37" fmla="*/ 720012 w 4818179"/>
                  <a:gd name="connsiteY37" fmla="*/ 3337652 h 3498714"/>
                  <a:gd name="connsiteX38" fmla="*/ 720012 w 4818179"/>
                  <a:gd name="connsiteY38" fmla="*/ 2125717 h 3498714"/>
                  <a:gd name="connsiteX39" fmla="*/ 718947 w 4818179"/>
                  <a:gd name="connsiteY39" fmla="*/ 2033194 h 3498714"/>
                  <a:gd name="connsiteX40" fmla="*/ 714162 w 4818179"/>
                  <a:gd name="connsiteY40" fmla="*/ 2028410 h 3498714"/>
                  <a:gd name="connsiteX41" fmla="*/ 654759 w 4818179"/>
                  <a:gd name="connsiteY41" fmla="*/ 2028410 h 3498714"/>
                  <a:gd name="connsiteX42" fmla="*/ 649974 w 4818179"/>
                  <a:gd name="connsiteY42" fmla="*/ 2033194 h 3498714"/>
                  <a:gd name="connsiteX43" fmla="*/ 649974 w 4818179"/>
                  <a:gd name="connsiteY43" fmla="*/ 2125717 h 3498714"/>
                  <a:gd name="connsiteX44" fmla="*/ 649574 w 4818179"/>
                  <a:gd name="connsiteY44" fmla="*/ 3337652 h 3498714"/>
                  <a:gd name="connsiteX45" fmla="*/ 488511 w 4818179"/>
                  <a:gd name="connsiteY45" fmla="*/ 3498714 h 3498714"/>
                  <a:gd name="connsiteX46" fmla="*/ 327450 w 4818179"/>
                  <a:gd name="connsiteY46" fmla="*/ 3337652 h 3498714"/>
                  <a:gd name="connsiteX47" fmla="*/ 327450 w 4818179"/>
                  <a:gd name="connsiteY47" fmla="*/ 1458216 h 3498714"/>
                  <a:gd name="connsiteX48" fmla="*/ 322427 w 4818179"/>
                  <a:gd name="connsiteY48" fmla="*/ 1098205 h 3498714"/>
                  <a:gd name="connsiteX49" fmla="*/ 317058 w 4818179"/>
                  <a:gd name="connsiteY49" fmla="*/ 1092836 h 3498714"/>
                  <a:gd name="connsiteX50" fmla="*/ 263371 w 4818179"/>
                  <a:gd name="connsiteY50" fmla="*/ 1092836 h 3498714"/>
                  <a:gd name="connsiteX51" fmla="*/ 258001 w 4818179"/>
                  <a:gd name="connsiteY51" fmla="*/ 1098205 h 3498714"/>
                  <a:gd name="connsiteX52" fmla="*/ 258001 w 4818179"/>
                  <a:gd name="connsiteY52" fmla="*/ 1444446 h 3498714"/>
                  <a:gd name="connsiteX53" fmla="*/ 257700 w 4818179"/>
                  <a:gd name="connsiteY53" fmla="*/ 1444370 h 3498714"/>
                  <a:gd name="connsiteX54" fmla="*/ 257700 w 4818179"/>
                  <a:gd name="connsiteY54" fmla="*/ 1912573 h 3498714"/>
                  <a:gd name="connsiteX55" fmla="*/ 128850 w 4818179"/>
                  <a:gd name="connsiteY55" fmla="*/ 2041423 h 3498714"/>
                  <a:gd name="connsiteX56" fmla="*/ 0 w 4818179"/>
                  <a:gd name="connsiteY56" fmla="*/ 1912573 h 3498714"/>
                  <a:gd name="connsiteX57" fmla="*/ 0 w 4818179"/>
                  <a:gd name="connsiteY57" fmla="*/ 1101802 h 3498714"/>
                  <a:gd name="connsiteX58" fmla="*/ 0 w 4818179"/>
                  <a:gd name="connsiteY58" fmla="*/ 1003338 h 3498714"/>
                  <a:gd name="connsiteX59" fmla="*/ 0 w 4818179"/>
                  <a:gd name="connsiteY59" fmla="*/ 982486 h 3498714"/>
                  <a:gd name="connsiteX60" fmla="*/ 12733 w 4818179"/>
                  <a:gd name="connsiteY60" fmla="*/ 894663 h 3498714"/>
                  <a:gd name="connsiteX61" fmla="*/ 20539 w 4818179"/>
                  <a:gd name="connsiteY61" fmla="*/ 868773 h 3498714"/>
                  <a:gd name="connsiteX62" fmla="*/ 358791 w 4818179"/>
                  <a:gd name="connsiteY62" fmla="*/ 644545 h 3498714"/>
                  <a:gd name="connsiteX63" fmla="*/ 682782 w 4818179"/>
                  <a:gd name="connsiteY63" fmla="*/ 0 h 3498714"/>
                  <a:gd name="connsiteX64" fmla="*/ 966919 w 4818179"/>
                  <a:gd name="connsiteY64" fmla="*/ 284138 h 3498714"/>
                  <a:gd name="connsiteX65" fmla="*/ 682782 w 4818179"/>
                  <a:gd name="connsiteY65" fmla="*/ 568275 h 3498714"/>
                  <a:gd name="connsiteX66" fmla="*/ 398645 w 4818179"/>
                  <a:gd name="connsiteY66" fmla="*/ 284138 h 3498714"/>
                  <a:gd name="connsiteX67" fmla="*/ 682782 w 4818179"/>
                  <a:gd name="connsiteY67" fmla="*/ 0 h 3498714"/>
                  <a:gd name="connsiteX68" fmla="*/ 4707054 w 4818179"/>
                  <a:gd name="connsiteY68" fmla="*/ 2902312 h 3498714"/>
                  <a:gd name="connsiteX69" fmla="*/ 4818179 w 4818179"/>
                  <a:gd name="connsiteY69" fmla="*/ 3013437 h 3498714"/>
                  <a:gd name="connsiteX70" fmla="*/ 4707054 w 4818179"/>
                  <a:gd name="connsiteY70" fmla="*/ 3124562 h 3498714"/>
                  <a:gd name="connsiteX71" fmla="*/ 4545125 w 4818179"/>
                  <a:gd name="connsiteY71" fmla="*/ 3124562 h 3498714"/>
                  <a:gd name="connsiteX72" fmla="*/ 4545125 w 4818179"/>
                  <a:gd name="connsiteY72" fmla="*/ 3361625 h 3498714"/>
                  <a:gd name="connsiteX73" fmla="*/ 4436113 w 4818179"/>
                  <a:gd name="connsiteY73" fmla="*/ 3470637 h 3498714"/>
                  <a:gd name="connsiteX74" fmla="*/ 4235039 w 4818179"/>
                  <a:gd name="connsiteY74" fmla="*/ 3470637 h 3498714"/>
                  <a:gd name="connsiteX75" fmla="*/ 4126027 w 4818179"/>
                  <a:gd name="connsiteY75" fmla="*/ 3361625 h 3498714"/>
                  <a:gd name="connsiteX76" fmla="*/ 4126027 w 4818179"/>
                  <a:gd name="connsiteY76" fmla="*/ 3124562 h 3498714"/>
                  <a:gd name="connsiteX77" fmla="*/ 2589325 w 4818179"/>
                  <a:gd name="connsiteY77" fmla="*/ 3124562 h 3498714"/>
                  <a:gd name="connsiteX78" fmla="*/ 2589325 w 4818179"/>
                  <a:gd name="connsiteY78" fmla="*/ 3361625 h 3498714"/>
                  <a:gd name="connsiteX79" fmla="*/ 2480313 w 4818179"/>
                  <a:gd name="connsiteY79" fmla="*/ 3470637 h 3498714"/>
                  <a:gd name="connsiteX80" fmla="*/ 2279239 w 4818179"/>
                  <a:gd name="connsiteY80" fmla="*/ 3470637 h 3498714"/>
                  <a:gd name="connsiteX81" fmla="*/ 2170227 w 4818179"/>
                  <a:gd name="connsiteY81" fmla="*/ 3361625 h 3498714"/>
                  <a:gd name="connsiteX82" fmla="*/ 2170227 w 4818179"/>
                  <a:gd name="connsiteY82" fmla="*/ 3124562 h 3498714"/>
                  <a:gd name="connsiteX83" fmla="*/ 2052754 w 4818179"/>
                  <a:gd name="connsiteY83" fmla="*/ 3124562 h 3498714"/>
                  <a:gd name="connsiteX84" fmla="*/ 1941629 w 4818179"/>
                  <a:gd name="connsiteY84" fmla="*/ 3013437 h 3498714"/>
                  <a:gd name="connsiteX85" fmla="*/ 2052754 w 4818179"/>
                  <a:gd name="connsiteY85" fmla="*/ 2902312 h 3498714"/>
                  <a:gd name="connsiteX86" fmla="*/ 682782 w 4818179"/>
                  <a:gd name="connsiteY86" fmla="*/ 0 h 3498714"/>
                  <a:gd name="connsiteX0" fmla="*/ 2979061 w 4818179"/>
                  <a:gd name="connsiteY0" fmla="*/ 2089512 h 3498714"/>
                  <a:gd name="connsiteX1" fmla="*/ 2671086 w 4818179"/>
                  <a:gd name="connsiteY1" fmla="*/ 2397487 h 3498714"/>
                  <a:gd name="connsiteX2" fmla="*/ 2671086 w 4818179"/>
                  <a:gd name="connsiteY2" fmla="*/ 2584811 h 3498714"/>
                  <a:gd name="connsiteX3" fmla="*/ 4083961 w 4818179"/>
                  <a:gd name="connsiteY3" fmla="*/ 2584811 h 3498714"/>
                  <a:gd name="connsiteX4" fmla="*/ 3775986 w 4818179"/>
                  <a:gd name="connsiteY4" fmla="*/ 2089512 h 3498714"/>
                  <a:gd name="connsiteX5" fmla="*/ 2979061 w 4818179"/>
                  <a:gd name="connsiteY5" fmla="*/ 2089512 h 3498714"/>
                  <a:gd name="connsiteX6" fmla="*/ 2251033 w 4818179"/>
                  <a:gd name="connsiteY6" fmla="*/ 2089512 h 3498714"/>
                  <a:gd name="connsiteX7" fmla="*/ 2070058 w 4818179"/>
                  <a:gd name="connsiteY7" fmla="*/ 2270487 h 3498714"/>
                  <a:gd name="connsiteX8" fmla="*/ 2251033 w 4818179"/>
                  <a:gd name="connsiteY8" fmla="*/ 2451462 h 3498714"/>
                  <a:gd name="connsiteX9" fmla="*/ 2432008 w 4818179"/>
                  <a:gd name="connsiteY9" fmla="*/ 2270487 h 3498714"/>
                  <a:gd name="connsiteX10" fmla="*/ 2251033 w 4818179"/>
                  <a:gd name="connsiteY10" fmla="*/ 2089512 h 3498714"/>
                  <a:gd name="connsiteX11" fmla="*/ 2842751 w 4818179"/>
                  <a:gd name="connsiteY11" fmla="*/ 1749356 h 3498714"/>
                  <a:gd name="connsiteX12" fmla="*/ 2392797 w 4818179"/>
                  <a:gd name="connsiteY12" fmla="*/ 1878907 h 3498714"/>
                  <a:gd name="connsiteX13" fmla="*/ 2478781 w 4818179"/>
                  <a:gd name="connsiteY13" fmla="*/ 1920808 h 3498714"/>
                  <a:gd name="connsiteX14" fmla="*/ 2842751 w 4818179"/>
                  <a:gd name="connsiteY14" fmla="*/ 1749356 h 3498714"/>
                  <a:gd name="connsiteX15" fmla="*/ 2534724 w 4818179"/>
                  <a:gd name="connsiteY15" fmla="*/ 982297 h 3498714"/>
                  <a:gd name="connsiteX16" fmla="*/ 1970999 w 4818179"/>
                  <a:gd name="connsiteY16" fmla="*/ 2826112 h 3498714"/>
                  <a:gd name="connsiteX17" fmla="*/ 1850348 w 4818179"/>
                  <a:gd name="connsiteY17" fmla="*/ 2705462 h 3498714"/>
                  <a:gd name="connsiteX18" fmla="*/ 1956769 w 4818179"/>
                  <a:gd name="connsiteY18" fmla="*/ 2587684 h 3498714"/>
                  <a:gd name="connsiteX19" fmla="*/ 1823360 w 4818179"/>
                  <a:gd name="connsiteY19" fmla="*/ 2279217 h 3498714"/>
                  <a:gd name="connsiteX20" fmla="*/ 2217440 w 4818179"/>
                  <a:gd name="connsiteY20" fmla="*/ 1856216 h 3498714"/>
                  <a:gd name="connsiteX21" fmla="*/ 2534724 w 4818179"/>
                  <a:gd name="connsiteY21" fmla="*/ 982297 h 3498714"/>
                  <a:gd name="connsiteX22" fmla="*/ 358791 w 4818179"/>
                  <a:gd name="connsiteY22" fmla="*/ 644545 h 3498714"/>
                  <a:gd name="connsiteX23" fmla="*/ 1006774 w 4818179"/>
                  <a:gd name="connsiteY23" fmla="*/ 644545 h 3498714"/>
                  <a:gd name="connsiteX24" fmla="*/ 1542636 w 4818179"/>
                  <a:gd name="connsiteY24" fmla="*/ 1193969 h 3498714"/>
                  <a:gd name="connsiteX25" fmla="*/ 1929878 w 4818179"/>
                  <a:gd name="connsiteY25" fmla="*/ 1193970 h 3498714"/>
                  <a:gd name="connsiteX26" fmla="*/ 2070059 w 4818179"/>
                  <a:gd name="connsiteY26" fmla="*/ 1334152 h 3498714"/>
                  <a:gd name="connsiteX27" fmla="*/ 1929878 w 4818179"/>
                  <a:gd name="connsiteY27" fmla="*/ 1474333 h 3498714"/>
                  <a:gd name="connsiteX28" fmla="*/ 1520943 w 4818179"/>
                  <a:gd name="connsiteY28" fmla="*/ 1470388 h 3498714"/>
                  <a:gd name="connsiteX29" fmla="*/ 1332825 w 4818179"/>
                  <a:gd name="connsiteY29" fmla="*/ 1367201 h 3498714"/>
                  <a:gd name="connsiteX30" fmla="*/ 1106501 w 4818179"/>
                  <a:gd name="connsiteY30" fmla="*/ 1098289 h 3498714"/>
                  <a:gd name="connsiteX31" fmla="*/ 1101049 w 4818179"/>
                  <a:gd name="connsiteY31" fmla="*/ 1092836 h 3498714"/>
                  <a:gd name="connsiteX32" fmla="*/ 1046523 w 4818179"/>
                  <a:gd name="connsiteY32" fmla="*/ 1092836 h 3498714"/>
                  <a:gd name="connsiteX33" fmla="*/ 1041071 w 4818179"/>
                  <a:gd name="connsiteY33" fmla="*/ 1098289 h 3498714"/>
                  <a:gd name="connsiteX34" fmla="*/ 1042136 w 4818179"/>
                  <a:gd name="connsiteY34" fmla="*/ 1419754 h 3498714"/>
                  <a:gd name="connsiteX35" fmla="*/ 1042136 w 4818179"/>
                  <a:gd name="connsiteY35" fmla="*/ 3337652 h 3498714"/>
                  <a:gd name="connsiteX36" fmla="*/ 881075 w 4818179"/>
                  <a:gd name="connsiteY36" fmla="*/ 3498714 h 3498714"/>
                  <a:gd name="connsiteX37" fmla="*/ 720012 w 4818179"/>
                  <a:gd name="connsiteY37" fmla="*/ 3337652 h 3498714"/>
                  <a:gd name="connsiteX38" fmla="*/ 720012 w 4818179"/>
                  <a:gd name="connsiteY38" fmla="*/ 2125717 h 3498714"/>
                  <a:gd name="connsiteX39" fmla="*/ 718947 w 4818179"/>
                  <a:gd name="connsiteY39" fmla="*/ 2033194 h 3498714"/>
                  <a:gd name="connsiteX40" fmla="*/ 714162 w 4818179"/>
                  <a:gd name="connsiteY40" fmla="*/ 2028410 h 3498714"/>
                  <a:gd name="connsiteX41" fmla="*/ 654759 w 4818179"/>
                  <a:gd name="connsiteY41" fmla="*/ 2028410 h 3498714"/>
                  <a:gd name="connsiteX42" fmla="*/ 649974 w 4818179"/>
                  <a:gd name="connsiteY42" fmla="*/ 2033194 h 3498714"/>
                  <a:gd name="connsiteX43" fmla="*/ 649974 w 4818179"/>
                  <a:gd name="connsiteY43" fmla="*/ 2125717 h 3498714"/>
                  <a:gd name="connsiteX44" fmla="*/ 649574 w 4818179"/>
                  <a:gd name="connsiteY44" fmla="*/ 3337652 h 3498714"/>
                  <a:gd name="connsiteX45" fmla="*/ 488511 w 4818179"/>
                  <a:gd name="connsiteY45" fmla="*/ 3498714 h 3498714"/>
                  <a:gd name="connsiteX46" fmla="*/ 327450 w 4818179"/>
                  <a:gd name="connsiteY46" fmla="*/ 3337652 h 3498714"/>
                  <a:gd name="connsiteX47" fmla="*/ 327450 w 4818179"/>
                  <a:gd name="connsiteY47" fmla="*/ 1458216 h 3498714"/>
                  <a:gd name="connsiteX48" fmla="*/ 322427 w 4818179"/>
                  <a:gd name="connsiteY48" fmla="*/ 1098205 h 3498714"/>
                  <a:gd name="connsiteX49" fmla="*/ 317058 w 4818179"/>
                  <a:gd name="connsiteY49" fmla="*/ 1092836 h 3498714"/>
                  <a:gd name="connsiteX50" fmla="*/ 263371 w 4818179"/>
                  <a:gd name="connsiteY50" fmla="*/ 1092836 h 3498714"/>
                  <a:gd name="connsiteX51" fmla="*/ 258001 w 4818179"/>
                  <a:gd name="connsiteY51" fmla="*/ 1098205 h 3498714"/>
                  <a:gd name="connsiteX52" fmla="*/ 258001 w 4818179"/>
                  <a:gd name="connsiteY52" fmla="*/ 1444446 h 3498714"/>
                  <a:gd name="connsiteX53" fmla="*/ 257700 w 4818179"/>
                  <a:gd name="connsiteY53" fmla="*/ 1444370 h 3498714"/>
                  <a:gd name="connsiteX54" fmla="*/ 257700 w 4818179"/>
                  <a:gd name="connsiteY54" fmla="*/ 1912573 h 3498714"/>
                  <a:gd name="connsiteX55" fmla="*/ 128850 w 4818179"/>
                  <a:gd name="connsiteY55" fmla="*/ 2041423 h 3498714"/>
                  <a:gd name="connsiteX56" fmla="*/ 0 w 4818179"/>
                  <a:gd name="connsiteY56" fmla="*/ 1912573 h 3498714"/>
                  <a:gd name="connsiteX57" fmla="*/ 0 w 4818179"/>
                  <a:gd name="connsiteY57" fmla="*/ 1101802 h 3498714"/>
                  <a:gd name="connsiteX58" fmla="*/ 0 w 4818179"/>
                  <a:gd name="connsiteY58" fmla="*/ 1003338 h 3498714"/>
                  <a:gd name="connsiteX59" fmla="*/ 0 w 4818179"/>
                  <a:gd name="connsiteY59" fmla="*/ 982486 h 3498714"/>
                  <a:gd name="connsiteX60" fmla="*/ 12733 w 4818179"/>
                  <a:gd name="connsiteY60" fmla="*/ 894663 h 3498714"/>
                  <a:gd name="connsiteX61" fmla="*/ 20539 w 4818179"/>
                  <a:gd name="connsiteY61" fmla="*/ 868773 h 3498714"/>
                  <a:gd name="connsiteX62" fmla="*/ 358791 w 4818179"/>
                  <a:gd name="connsiteY62" fmla="*/ 644545 h 3498714"/>
                  <a:gd name="connsiteX63" fmla="*/ 682782 w 4818179"/>
                  <a:gd name="connsiteY63" fmla="*/ 0 h 3498714"/>
                  <a:gd name="connsiteX64" fmla="*/ 966919 w 4818179"/>
                  <a:gd name="connsiteY64" fmla="*/ 284138 h 3498714"/>
                  <a:gd name="connsiteX65" fmla="*/ 682782 w 4818179"/>
                  <a:gd name="connsiteY65" fmla="*/ 568275 h 3498714"/>
                  <a:gd name="connsiteX66" fmla="*/ 398645 w 4818179"/>
                  <a:gd name="connsiteY66" fmla="*/ 284138 h 3498714"/>
                  <a:gd name="connsiteX67" fmla="*/ 682782 w 4818179"/>
                  <a:gd name="connsiteY67" fmla="*/ 0 h 3498714"/>
                  <a:gd name="connsiteX68" fmla="*/ 4707054 w 4818179"/>
                  <a:gd name="connsiteY68" fmla="*/ 2902312 h 3498714"/>
                  <a:gd name="connsiteX69" fmla="*/ 4818179 w 4818179"/>
                  <a:gd name="connsiteY69" fmla="*/ 3013437 h 3498714"/>
                  <a:gd name="connsiteX70" fmla="*/ 4707054 w 4818179"/>
                  <a:gd name="connsiteY70" fmla="*/ 3124562 h 3498714"/>
                  <a:gd name="connsiteX71" fmla="*/ 4545125 w 4818179"/>
                  <a:gd name="connsiteY71" fmla="*/ 3124562 h 3498714"/>
                  <a:gd name="connsiteX72" fmla="*/ 4545125 w 4818179"/>
                  <a:gd name="connsiteY72" fmla="*/ 3361625 h 3498714"/>
                  <a:gd name="connsiteX73" fmla="*/ 4436113 w 4818179"/>
                  <a:gd name="connsiteY73" fmla="*/ 3470637 h 3498714"/>
                  <a:gd name="connsiteX74" fmla="*/ 4235039 w 4818179"/>
                  <a:gd name="connsiteY74" fmla="*/ 3470637 h 3498714"/>
                  <a:gd name="connsiteX75" fmla="*/ 4126027 w 4818179"/>
                  <a:gd name="connsiteY75" fmla="*/ 3361625 h 3498714"/>
                  <a:gd name="connsiteX76" fmla="*/ 2589325 w 4818179"/>
                  <a:gd name="connsiteY76" fmla="*/ 3124562 h 3498714"/>
                  <a:gd name="connsiteX77" fmla="*/ 2589325 w 4818179"/>
                  <a:gd name="connsiteY77" fmla="*/ 3361625 h 3498714"/>
                  <a:gd name="connsiteX78" fmla="*/ 2480313 w 4818179"/>
                  <a:gd name="connsiteY78" fmla="*/ 3470637 h 3498714"/>
                  <a:gd name="connsiteX79" fmla="*/ 2279239 w 4818179"/>
                  <a:gd name="connsiteY79" fmla="*/ 3470637 h 3498714"/>
                  <a:gd name="connsiteX80" fmla="*/ 2170227 w 4818179"/>
                  <a:gd name="connsiteY80" fmla="*/ 3361625 h 3498714"/>
                  <a:gd name="connsiteX81" fmla="*/ 2170227 w 4818179"/>
                  <a:gd name="connsiteY81" fmla="*/ 3124562 h 3498714"/>
                  <a:gd name="connsiteX82" fmla="*/ 2052754 w 4818179"/>
                  <a:gd name="connsiteY82" fmla="*/ 3124562 h 3498714"/>
                  <a:gd name="connsiteX83" fmla="*/ 1941629 w 4818179"/>
                  <a:gd name="connsiteY83" fmla="*/ 3013437 h 3498714"/>
                  <a:gd name="connsiteX84" fmla="*/ 2052754 w 4818179"/>
                  <a:gd name="connsiteY84" fmla="*/ 2902312 h 3498714"/>
                  <a:gd name="connsiteX85" fmla="*/ 682782 w 4818179"/>
                  <a:gd name="connsiteY85" fmla="*/ 0 h 3498714"/>
                  <a:gd name="connsiteX0" fmla="*/ 2979061 w 4818179"/>
                  <a:gd name="connsiteY0" fmla="*/ 2089512 h 3498714"/>
                  <a:gd name="connsiteX1" fmla="*/ 2671086 w 4818179"/>
                  <a:gd name="connsiteY1" fmla="*/ 2397487 h 3498714"/>
                  <a:gd name="connsiteX2" fmla="*/ 2671086 w 4818179"/>
                  <a:gd name="connsiteY2" fmla="*/ 2584811 h 3498714"/>
                  <a:gd name="connsiteX3" fmla="*/ 4083961 w 4818179"/>
                  <a:gd name="connsiteY3" fmla="*/ 2584811 h 3498714"/>
                  <a:gd name="connsiteX4" fmla="*/ 3775986 w 4818179"/>
                  <a:gd name="connsiteY4" fmla="*/ 2089512 h 3498714"/>
                  <a:gd name="connsiteX5" fmla="*/ 2979061 w 4818179"/>
                  <a:gd name="connsiteY5" fmla="*/ 2089512 h 3498714"/>
                  <a:gd name="connsiteX6" fmla="*/ 2251033 w 4818179"/>
                  <a:gd name="connsiteY6" fmla="*/ 2089512 h 3498714"/>
                  <a:gd name="connsiteX7" fmla="*/ 2070058 w 4818179"/>
                  <a:gd name="connsiteY7" fmla="*/ 2270487 h 3498714"/>
                  <a:gd name="connsiteX8" fmla="*/ 2251033 w 4818179"/>
                  <a:gd name="connsiteY8" fmla="*/ 2451462 h 3498714"/>
                  <a:gd name="connsiteX9" fmla="*/ 2432008 w 4818179"/>
                  <a:gd name="connsiteY9" fmla="*/ 2270487 h 3498714"/>
                  <a:gd name="connsiteX10" fmla="*/ 2251033 w 4818179"/>
                  <a:gd name="connsiteY10" fmla="*/ 2089512 h 3498714"/>
                  <a:gd name="connsiteX11" fmla="*/ 2842751 w 4818179"/>
                  <a:gd name="connsiteY11" fmla="*/ 1749356 h 3498714"/>
                  <a:gd name="connsiteX12" fmla="*/ 2392797 w 4818179"/>
                  <a:gd name="connsiteY12" fmla="*/ 1878907 h 3498714"/>
                  <a:gd name="connsiteX13" fmla="*/ 2478781 w 4818179"/>
                  <a:gd name="connsiteY13" fmla="*/ 1920808 h 3498714"/>
                  <a:gd name="connsiteX14" fmla="*/ 2842751 w 4818179"/>
                  <a:gd name="connsiteY14" fmla="*/ 1749356 h 3498714"/>
                  <a:gd name="connsiteX15" fmla="*/ 2534724 w 4818179"/>
                  <a:gd name="connsiteY15" fmla="*/ 982297 h 3498714"/>
                  <a:gd name="connsiteX16" fmla="*/ 1970999 w 4818179"/>
                  <a:gd name="connsiteY16" fmla="*/ 2826112 h 3498714"/>
                  <a:gd name="connsiteX17" fmla="*/ 1850348 w 4818179"/>
                  <a:gd name="connsiteY17" fmla="*/ 2705462 h 3498714"/>
                  <a:gd name="connsiteX18" fmla="*/ 1956769 w 4818179"/>
                  <a:gd name="connsiteY18" fmla="*/ 2587684 h 3498714"/>
                  <a:gd name="connsiteX19" fmla="*/ 1823360 w 4818179"/>
                  <a:gd name="connsiteY19" fmla="*/ 2279217 h 3498714"/>
                  <a:gd name="connsiteX20" fmla="*/ 2217440 w 4818179"/>
                  <a:gd name="connsiteY20" fmla="*/ 1856216 h 3498714"/>
                  <a:gd name="connsiteX21" fmla="*/ 2534724 w 4818179"/>
                  <a:gd name="connsiteY21" fmla="*/ 982297 h 3498714"/>
                  <a:gd name="connsiteX22" fmla="*/ 358791 w 4818179"/>
                  <a:gd name="connsiteY22" fmla="*/ 644545 h 3498714"/>
                  <a:gd name="connsiteX23" fmla="*/ 1006774 w 4818179"/>
                  <a:gd name="connsiteY23" fmla="*/ 644545 h 3498714"/>
                  <a:gd name="connsiteX24" fmla="*/ 1542636 w 4818179"/>
                  <a:gd name="connsiteY24" fmla="*/ 1193969 h 3498714"/>
                  <a:gd name="connsiteX25" fmla="*/ 1929878 w 4818179"/>
                  <a:gd name="connsiteY25" fmla="*/ 1193970 h 3498714"/>
                  <a:gd name="connsiteX26" fmla="*/ 2070059 w 4818179"/>
                  <a:gd name="connsiteY26" fmla="*/ 1334152 h 3498714"/>
                  <a:gd name="connsiteX27" fmla="*/ 1929878 w 4818179"/>
                  <a:gd name="connsiteY27" fmla="*/ 1474333 h 3498714"/>
                  <a:gd name="connsiteX28" fmla="*/ 1520943 w 4818179"/>
                  <a:gd name="connsiteY28" fmla="*/ 1470388 h 3498714"/>
                  <a:gd name="connsiteX29" fmla="*/ 1332825 w 4818179"/>
                  <a:gd name="connsiteY29" fmla="*/ 1367201 h 3498714"/>
                  <a:gd name="connsiteX30" fmla="*/ 1106501 w 4818179"/>
                  <a:gd name="connsiteY30" fmla="*/ 1098289 h 3498714"/>
                  <a:gd name="connsiteX31" fmla="*/ 1101049 w 4818179"/>
                  <a:gd name="connsiteY31" fmla="*/ 1092836 h 3498714"/>
                  <a:gd name="connsiteX32" fmla="*/ 1046523 w 4818179"/>
                  <a:gd name="connsiteY32" fmla="*/ 1092836 h 3498714"/>
                  <a:gd name="connsiteX33" fmla="*/ 1041071 w 4818179"/>
                  <a:gd name="connsiteY33" fmla="*/ 1098289 h 3498714"/>
                  <a:gd name="connsiteX34" fmla="*/ 1042136 w 4818179"/>
                  <a:gd name="connsiteY34" fmla="*/ 1419754 h 3498714"/>
                  <a:gd name="connsiteX35" fmla="*/ 1042136 w 4818179"/>
                  <a:gd name="connsiteY35" fmla="*/ 3337652 h 3498714"/>
                  <a:gd name="connsiteX36" fmla="*/ 881075 w 4818179"/>
                  <a:gd name="connsiteY36" fmla="*/ 3498714 h 3498714"/>
                  <a:gd name="connsiteX37" fmla="*/ 720012 w 4818179"/>
                  <a:gd name="connsiteY37" fmla="*/ 3337652 h 3498714"/>
                  <a:gd name="connsiteX38" fmla="*/ 720012 w 4818179"/>
                  <a:gd name="connsiteY38" fmla="*/ 2125717 h 3498714"/>
                  <a:gd name="connsiteX39" fmla="*/ 718947 w 4818179"/>
                  <a:gd name="connsiteY39" fmla="*/ 2033194 h 3498714"/>
                  <a:gd name="connsiteX40" fmla="*/ 714162 w 4818179"/>
                  <a:gd name="connsiteY40" fmla="*/ 2028410 h 3498714"/>
                  <a:gd name="connsiteX41" fmla="*/ 654759 w 4818179"/>
                  <a:gd name="connsiteY41" fmla="*/ 2028410 h 3498714"/>
                  <a:gd name="connsiteX42" fmla="*/ 649974 w 4818179"/>
                  <a:gd name="connsiteY42" fmla="*/ 2033194 h 3498714"/>
                  <a:gd name="connsiteX43" fmla="*/ 649974 w 4818179"/>
                  <a:gd name="connsiteY43" fmla="*/ 2125717 h 3498714"/>
                  <a:gd name="connsiteX44" fmla="*/ 649574 w 4818179"/>
                  <a:gd name="connsiteY44" fmla="*/ 3337652 h 3498714"/>
                  <a:gd name="connsiteX45" fmla="*/ 488511 w 4818179"/>
                  <a:gd name="connsiteY45" fmla="*/ 3498714 h 3498714"/>
                  <a:gd name="connsiteX46" fmla="*/ 327450 w 4818179"/>
                  <a:gd name="connsiteY46" fmla="*/ 3337652 h 3498714"/>
                  <a:gd name="connsiteX47" fmla="*/ 327450 w 4818179"/>
                  <a:gd name="connsiteY47" fmla="*/ 1458216 h 3498714"/>
                  <a:gd name="connsiteX48" fmla="*/ 322427 w 4818179"/>
                  <a:gd name="connsiteY48" fmla="*/ 1098205 h 3498714"/>
                  <a:gd name="connsiteX49" fmla="*/ 317058 w 4818179"/>
                  <a:gd name="connsiteY49" fmla="*/ 1092836 h 3498714"/>
                  <a:gd name="connsiteX50" fmla="*/ 263371 w 4818179"/>
                  <a:gd name="connsiteY50" fmla="*/ 1092836 h 3498714"/>
                  <a:gd name="connsiteX51" fmla="*/ 258001 w 4818179"/>
                  <a:gd name="connsiteY51" fmla="*/ 1098205 h 3498714"/>
                  <a:gd name="connsiteX52" fmla="*/ 258001 w 4818179"/>
                  <a:gd name="connsiteY52" fmla="*/ 1444446 h 3498714"/>
                  <a:gd name="connsiteX53" fmla="*/ 257700 w 4818179"/>
                  <a:gd name="connsiteY53" fmla="*/ 1444370 h 3498714"/>
                  <a:gd name="connsiteX54" fmla="*/ 257700 w 4818179"/>
                  <a:gd name="connsiteY54" fmla="*/ 1912573 h 3498714"/>
                  <a:gd name="connsiteX55" fmla="*/ 128850 w 4818179"/>
                  <a:gd name="connsiteY55" fmla="*/ 2041423 h 3498714"/>
                  <a:gd name="connsiteX56" fmla="*/ 0 w 4818179"/>
                  <a:gd name="connsiteY56" fmla="*/ 1912573 h 3498714"/>
                  <a:gd name="connsiteX57" fmla="*/ 0 w 4818179"/>
                  <a:gd name="connsiteY57" fmla="*/ 1101802 h 3498714"/>
                  <a:gd name="connsiteX58" fmla="*/ 0 w 4818179"/>
                  <a:gd name="connsiteY58" fmla="*/ 1003338 h 3498714"/>
                  <a:gd name="connsiteX59" fmla="*/ 0 w 4818179"/>
                  <a:gd name="connsiteY59" fmla="*/ 982486 h 3498714"/>
                  <a:gd name="connsiteX60" fmla="*/ 12733 w 4818179"/>
                  <a:gd name="connsiteY60" fmla="*/ 894663 h 3498714"/>
                  <a:gd name="connsiteX61" fmla="*/ 20539 w 4818179"/>
                  <a:gd name="connsiteY61" fmla="*/ 868773 h 3498714"/>
                  <a:gd name="connsiteX62" fmla="*/ 358791 w 4818179"/>
                  <a:gd name="connsiteY62" fmla="*/ 644545 h 3498714"/>
                  <a:gd name="connsiteX63" fmla="*/ 682782 w 4818179"/>
                  <a:gd name="connsiteY63" fmla="*/ 0 h 3498714"/>
                  <a:gd name="connsiteX64" fmla="*/ 966919 w 4818179"/>
                  <a:gd name="connsiteY64" fmla="*/ 284138 h 3498714"/>
                  <a:gd name="connsiteX65" fmla="*/ 682782 w 4818179"/>
                  <a:gd name="connsiteY65" fmla="*/ 568275 h 3498714"/>
                  <a:gd name="connsiteX66" fmla="*/ 398645 w 4818179"/>
                  <a:gd name="connsiteY66" fmla="*/ 284138 h 3498714"/>
                  <a:gd name="connsiteX67" fmla="*/ 682782 w 4818179"/>
                  <a:gd name="connsiteY67" fmla="*/ 0 h 3498714"/>
                  <a:gd name="connsiteX68" fmla="*/ 4707054 w 4818179"/>
                  <a:gd name="connsiteY68" fmla="*/ 2902312 h 3498714"/>
                  <a:gd name="connsiteX69" fmla="*/ 4818179 w 4818179"/>
                  <a:gd name="connsiteY69" fmla="*/ 3013437 h 3498714"/>
                  <a:gd name="connsiteX70" fmla="*/ 4707054 w 4818179"/>
                  <a:gd name="connsiteY70" fmla="*/ 3124562 h 3498714"/>
                  <a:gd name="connsiteX71" fmla="*/ 4545125 w 4818179"/>
                  <a:gd name="connsiteY71" fmla="*/ 3124562 h 3498714"/>
                  <a:gd name="connsiteX72" fmla="*/ 4545125 w 4818179"/>
                  <a:gd name="connsiteY72" fmla="*/ 3361625 h 3498714"/>
                  <a:gd name="connsiteX73" fmla="*/ 4436113 w 4818179"/>
                  <a:gd name="connsiteY73" fmla="*/ 3470637 h 3498714"/>
                  <a:gd name="connsiteX74" fmla="*/ 4235039 w 4818179"/>
                  <a:gd name="connsiteY74" fmla="*/ 3470637 h 3498714"/>
                  <a:gd name="connsiteX75" fmla="*/ 2589325 w 4818179"/>
                  <a:gd name="connsiteY75" fmla="*/ 3124562 h 3498714"/>
                  <a:gd name="connsiteX76" fmla="*/ 2589325 w 4818179"/>
                  <a:gd name="connsiteY76" fmla="*/ 3361625 h 3498714"/>
                  <a:gd name="connsiteX77" fmla="*/ 2480313 w 4818179"/>
                  <a:gd name="connsiteY77" fmla="*/ 3470637 h 3498714"/>
                  <a:gd name="connsiteX78" fmla="*/ 2279239 w 4818179"/>
                  <a:gd name="connsiteY78" fmla="*/ 3470637 h 3498714"/>
                  <a:gd name="connsiteX79" fmla="*/ 2170227 w 4818179"/>
                  <a:gd name="connsiteY79" fmla="*/ 3361625 h 3498714"/>
                  <a:gd name="connsiteX80" fmla="*/ 2170227 w 4818179"/>
                  <a:gd name="connsiteY80" fmla="*/ 3124562 h 3498714"/>
                  <a:gd name="connsiteX81" fmla="*/ 2052754 w 4818179"/>
                  <a:gd name="connsiteY81" fmla="*/ 3124562 h 3498714"/>
                  <a:gd name="connsiteX82" fmla="*/ 1941629 w 4818179"/>
                  <a:gd name="connsiteY82" fmla="*/ 3013437 h 3498714"/>
                  <a:gd name="connsiteX83" fmla="*/ 2052754 w 4818179"/>
                  <a:gd name="connsiteY83" fmla="*/ 2902312 h 3498714"/>
                  <a:gd name="connsiteX84" fmla="*/ 682782 w 4818179"/>
                  <a:gd name="connsiteY84" fmla="*/ 0 h 3498714"/>
                  <a:gd name="connsiteX0" fmla="*/ 3775986 w 4818179"/>
                  <a:gd name="connsiteY0" fmla="*/ 2089512 h 3498714"/>
                  <a:gd name="connsiteX1" fmla="*/ 2671086 w 4818179"/>
                  <a:gd name="connsiteY1" fmla="*/ 2397487 h 3498714"/>
                  <a:gd name="connsiteX2" fmla="*/ 2671086 w 4818179"/>
                  <a:gd name="connsiteY2" fmla="*/ 2584811 h 3498714"/>
                  <a:gd name="connsiteX3" fmla="*/ 4083961 w 4818179"/>
                  <a:gd name="connsiteY3" fmla="*/ 2584811 h 3498714"/>
                  <a:gd name="connsiteX4" fmla="*/ 3775986 w 4818179"/>
                  <a:gd name="connsiteY4" fmla="*/ 2089512 h 3498714"/>
                  <a:gd name="connsiteX5" fmla="*/ 2251033 w 4818179"/>
                  <a:gd name="connsiteY5" fmla="*/ 2089512 h 3498714"/>
                  <a:gd name="connsiteX6" fmla="*/ 2070058 w 4818179"/>
                  <a:gd name="connsiteY6" fmla="*/ 2270487 h 3498714"/>
                  <a:gd name="connsiteX7" fmla="*/ 2251033 w 4818179"/>
                  <a:gd name="connsiteY7" fmla="*/ 2451462 h 3498714"/>
                  <a:gd name="connsiteX8" fmla="*/ 2432008 w 4818179"/>
                  <a:gd name="connsiteY8" fmla="*/ 2270487 h 3498714"/>
                  <a:gd name="connsiteX9" fmla="*/ 2251033 w 4818179"/>
                  <a:gd name="connsiteY9" fmla="*/ 2089512 h 3498714"/>
                  <a:gd name="connsiteX10" fmla="*/ 2842751 w 4818179"/>
                  <a:gd name="connsiteY10" fmla="*/ 1749356 h 3498714"/>
                  <a:gd name="connsiteX11" fmla="*/ 2392797 w 4818179"/>
                  <a:gd name="connsiteY11" fmla="*/ 1878907 h 3498714"/>
                  <a:gd name="connsiteX12" fmla="*/ 2478781 w 4818179"/>
                  <a:gd name="connsiteY12" fmla="*/ 1920808 h 3498714"/>
                  <a:gd name="connsiteX13" fmla="*/ 2842751 w 4818179"/>
                  <a:gd name="connsiteY13" fmla="*/ 1749356 h 3498714"/>
                  <a:gd name="connsiteX14" fmla="*/ 2534724 w 4818179"/>
                  <a:gd name="connsiteY14" fmla="*/ 982297 h 3498714"/>
                  <a:gd name="connsiteX15" fmla="*/ 1970999 w 4818179"/>
                  <a:gd name="connsiteY15" fmla="*/ 2826112 h 3498714"/>
                  <a:gd name="connsiteX16" fmla="*/ 1850348 w 4818179"/>
                  <a:gd name="connsiteY16" fmla="*/ 2705462 h 3498714"/>
                  <a:gd name="connsiteX17" fmla="*/ 1956769 w 4818179"/>
                  <a:gd name="connsiteY17" fmla="*/ 2587684 h 3498714"/>
                  <a:gd name="connsiteX18" fmla="*/ 1823360 w 4818179"/>
                  <a:gd name="connsiteY18" fmla="*/ 2279217 h 3498714"/>
                  <a:gd name="connsiteX19" fmla="*/ 2217440 w 4818179"/>
                  <a:gd name="connsiteY19" fmla="*/ 1856216 h 3498714"/>
                  <a:gd name="connsiteX20" fmla="*/ 2534724 w 4818179"/>
                  <a:gd name="connsiteY20" fmla="*/ 982297 h 3498714"/>
                  <a:gd name="connsiteX21" fmla="*/ 358791 w 4818179"/>
                  <a:gd name="connsiteY21" fmla="*/ 644545 h 3498714"/>
                  <a:gd name="connsiteX22" fmla="*/ 1006774 w 4818179"/>
                  <a:gd name="connsiteY22" fmla="*/ 644545 h 3498714"/>
                  <a:gd name="connsiteX23" fmla="*/ 1542636 w 4818179"/>
                  <a:gd name="connsiteY23" fmla="*/ 1193969 h 3498714"/>
                  <a:gd name="connsiteX24" fmla="*/ 1929878 w 4818179"/>
                  <a:gd name="connsiteY24" fmla="*/ 1193970 h 3498714"/>
                  <a:gd name="connsiteX25" fmla="*/ 2070059 w 4818179"/>
                  <a:gd name="connsiteY25" fmla="*/ 1334152 h 3498714"/>
                  <a:gd name="connsiteX26" fmla="*/ 1929878 w 4818179"/>
                  <a:gd name="connsiteY26" fmla="*/ 1474333 h 3498714"/>
                  <a:gd name="connsiteX27" fmla="*/ 1520943 w 4818179"/>
                  <a:gd name="connsiteY27" fmla="*/ 1470388 h 3498714"/>
                  <a:gd name="connsiteX28" fmla="*/ 1332825 w 4818179"/>
                  <a:gd name="connsiteY28" fmla="*/ 1367201 h 3498714"/>
                  <a:gd name="connsiteX29" fmla="*/ 1106501 w 4818179"/>
                  <a:gd name="connsiteY29" fmla="*/ 1098289 h 3498714"/>
                  <a:gd name="connsiteX30" fmla="*/ 1101049 w 4818179"/>
                  <a:gd name="connsiteY30" fmla="*/ 1092836 h 3498714"/>
                  <a:gd name="connsiteX31" fmla="*/ 1046523 w 4818179"/>
                  <a:gd name="connsiteY31" fmla="*/ 1092836 h 3498714"/>
                  <a:gd name="connsiteX32" fmla="*/ 1041071 w 4818179"/>
                  <a:gd name="connsiteY32" fmla="*/ 1098289 h 3498714"/>
                  <a:gd name="connsiteX33" fmla="*/ 1042136 w 4818179"/>
                  <a:gd name="connsiteY33" fmla="*/ 1419754 h 3498714"/>
                  <a:gd name="connsiteX34" fmla="*/ 1042136 w 4818179"/>
                  <a:gd name="connsiteY34" fmla="*/ 3337652 h 3498714"/>
                  <a:gd name="connsiteX35" fmla="*/ 881075 w 4818179"/>
                  <a:gd name="connsiteY35" fmla="*/ 3498714 h 3498714"/>
                  <a:gd name="connsiteX36" fmla="*/ 720012 w 4818179"/>
                  <a:gd name="connsiteY36" fmla="*/ 3337652 h 3498714"/>
                  <a:gd name="connsiteX37" fmla="*/ 720012 w 4818179"/>
                  <a:gd name="connsiteY37" fmla="*/ 2125717 h 3498714"/>
                  <a:gd name="connsiteX38" fmla="*/ 718947 w 4818179"/>
                  <a:gd name="connsiteY38" fmla="*/ 2033194 h 3498714"/>
                  <a:gd name="connsiteX39" fmla="*/ 714162 w 4818179"/>
                  <a:gd name="connsiteY39" fmla="*/ 2028410 h 3498714"/>
                  <a:gd name="connsiteX40" fmla="*/ 654759 w 4818179"/>
                  <a:gd name="connsiteY40" fmla="*/ 2028410 h 3498714"/>
                  <a:gd name="connsiteX41" fmla="*/ 649974 w 4818179"/>
                  <a:gd name="connsiteY41" fmla="*/ 2033194 h 3498714"/>
                  <a:gd name="connsiteX42" fmla="*/ 649974 w 4818179"/>
                  <a:gd name="connsiteY42" fmla="*/ 2125717 h 3498714"/>
                  <a:gd name="connsiteX43" fmla="*/ 649574 w 4818179"/>
                  <a:gd name="connsiteY43" fmla="*/ 3337652 h 3498714"/>
                  <a:gd name="connsiteX44" fmla="*/ 488511 w 4818179"/>
                  <a:gd name="connsiteY44" fmla="*/ 3498714 h 3498714"/>
                  <a:gd name="connsiteX45" fmla="*/ 327450 w 4818179"/>
                  <a:gd name="connsiteY45" fmla="*/ 3337652 h 3498714"/>
                  <a:gd name="connsiteX46" fmla="*/ 327450 w 4818179"/>
                  <a:gd name="connsiteY46" fmla="*/ 1458216 h 3498714"/>
                  <a:gd name="connsiteX47" fmla="*/ 322427 w 4818179"/>
                  <a:gd name="connsiteY47" fmla="*/ 1098205 h 3498714"/>
                  <a:gd name="connsiteX48" fmla="*/ 317058 w 4818179"/>
                  <a:gd name="connsiteY48" fmla="*/ 1092836 h 3498714"/>
                  <a:gd name="connsiteX49" fmla="*/ 263371 w 4818179"/>
                  <a:gd name="connsiteY49" fmla="*/ 1092836 h 3498714"/>
                  <a:gd name="connsiteX50" fmla="*/ 258001 w 4818179"/>
                  <a:gd name="connsiteY50" fmla="*/ 1098205 h 3498714"/>
                  <a:gd name="connsiteX51" fmla="*/ 258001 w 4818179"/>
                  <a:gd name="connsiteY51" fmla="*/ 1444446 h 3498714"/>
                  <a:gd name="connsiteX52" fmla="*/ 257700 w 4818179"/>
                  <a:gd name="connsiteY52" fmla="*/ 1444370 h 3498714"/>
                  <a:gd name="connsiteX53" fmla="*/ 257700 w 4818179"/>
                  <a:gd name="connsiteY53" fmla="*/ 1912573 h 3498714"/>
                  <a:gd name="connsiteX54" fmla="*/ 128850 w 4818179"/>
                  <a:gd name="connsiteY54" fmla="*/ 2041423 h 3498714"/>
                  <a:gd name="connsiteX55" fmla="*/ 0 w 4818179"/>
                  <a:gd name="connsiteY55" fmla="*/ 1912573 h 3498714"/>
                  <a:gd name="connsiteX56" fmla="*/ 0 w 4818179"/>
                  <a:gd name="connsiteY56" fmla="*/ 1101802 h 3498714"/>
                  <a:gd name="connsiteX57" fmla="*/ 0 w 4818179"/>
                  <a:gd name="connsiteY57" fmla="*/ 1003338 h 3498714"/>
                  <a:gd name="connsiteX58" fmla="*/ 0 w 4818179"/>
                  <a:gd name="connsiteY58" fmla="*/ 982486 h 3498714"/>
                  <a:gd name="connsiteX59" fmla="*/ 12733 w 4818179"/>
                  <a:gd name="connsiteY59" fmla="*/ 894663 h 3498714"/>
                  <a:gd name="connsiteX60" fmla="*/ 20539 w 4818179"/>
                  <a:gd name="connsiteY60" fmla="*/ 868773 h 3498714"/>
                  <a:gd name="connsiteX61" fmla="*/ 358791 w 4818179"/>
                  <a:gd name="connsiteY61" fmla="*/ 644545 h 3498714"/>
                  <a:gd name="connsiteX62" fmla="*/ 682782 w 4818179"/>
                  <a:gd name="connsiteY62" fmla="*/ 0 h 3498714"/>
                  <a:gd name="connsiteX63" fmla="*/ 966919 w 4818179"/>
                  <a:gd name="connsiteY63" fmla="*/ 284138 h 3498714"/>
                  <a:gd name="connsiteX64" fmla="*/ 682782 w 4818179"/>
                  <a:gd name="connsiteY64" fmla="*/ 568275 h 3498714"/>
                  <a:gd name="connsiteX65" fmla="*/ 398645 w 4818179"/>
                  <a:gd name="connsiteY65" fmla="*/ 284138 h 3498714"/>
                  <a:gd name="connsiteX66" fmla="*/ 682782 w 4818179"/>
                  <a:gd name="connsiteY66" fmla="*/ 0 h 3498714"/>
                  <a:gd name="connsiteX67" fmla="*/ 4707054 w 4818179"/>
                  <a:gd name="connsiteY67" fmla="*/ 2902312 h 3498714"/>
                  <a:gd name="connsiteX68" fmla="*/ 4818179 w 4818179"/>
                  <a:gd name="connsiteY68" fmla="*/ 3013437 h 3498714"/>
                  <a:gd name="connsiteX69" fmla="*/ 4707054 w 4818179"/>
                  <a:gd name="connsiteY69" fmla="*/ 3124562 h 3498714"/>
                  <a:gd name="connsiteX70" fmla="*/ 4545125 w 4818179"/>
                  <a:gd name="connsiteY70" fmla="*/ 3124562 h 3498714"/>
                  <a:gd name="connsiteX71" fmla="*/ 4545125 w 4818179"/>
                  <a:gd name="connsiteY71" fmla="*/ 3361625 h 3498714"/>
                  <a:gd name="connsiteX72" fmla="*/ 4436113 w 4818179"/>
                  <a:gd name="connsiteY72" fmla="*/ 3470637 h 3498714"/>
                  <a:gd name="connsiteX73" fmla="*/ 4235039 w 4818179"/>
                  <a:gd name="connsiteY73" fmla="*/ 3470637 h 3498714"/>
                  <a:gd name="connsiteX74" fmla="*/ 2589325 w 4818179"/>
                  <a:gd name="connsiteY74" fmla="*/ 3124562 h 3498714"/>
                  <a:gd name="connsiteX75" fmla="*/ 2589325 w 4818179"/>
                  <a:gd name="connsiteY75" fmla="*/ 3361625 h 3498714"/>
                  <a:gd name="connsiteX76" fmla="*/ 2480313 w 4818179"/>
                  <a:gd name="connsiteY76" fmla="*/ 3470637 h 3498714"/>
                  <a:gd name="connsiteX77" fmla="*/ 2279239 w 4818179"/>
                  <a:gd name="connsiteY77" fmla="*/ 3470637 h 3498714"/>
                  <a:gd name="connsiteX78" fmla="*/ 2170227 w 4818179"/>
                  <a:gd name="connsiteY78" fmla="*/ 3361625 h 3498714"/>
                  <a:gd name="connsiteX79" fmla="*/ 2170227 w 4818179"/>
                  <a:gd name="connsiteY79" fmla="*/ 3124562 h 3498714"/>
                  <a:gd name="connsiteX80" fmla="*/ 2052754 w 4818179"/>
                  <a:gd name="connsiteY80" fmla="*/ 3124562 h 3498714"/>
                  <a:gd name="connsiteX81" fmla="*/ 1941629 w 4818179"/>
                  <a:gd name="connsiteY81" fmla="*/ 3013437 h 3498714"/>
                  <a:gd name="connsiteX82" fmla="*/ 2052754 w 4818179"/>
                  <a:gd name="connsiteY82" fmla="*/ 2902312 h 3498714"/>
                  <a:gd name="connsiteX83" fmla="*/ 682782 w 4818179"/>
                  <a:gd name="connsiteY83" fmla="*/ 0 h 3498714"/>
                  <a:gd name="connsiteX0" fmla="*/ 4083961 w 4818179"/>
                  <a:gd name="connsiteY0" fmla="*/ 2584811 h 3498714"/>
                  <a:gd name="connsiteX1" fmla="*/ 2671086 w 4818179"/>
                  <a:gd name="connsiteY1" fmla="*/ 2397487 h 3498714"/>
                  <a:gd name="connsiteX2" fmla="*/ 2671086 w 4818179"/>
                  <a:gd name="connsiteY2" fmla="*/ 2584811 h 3498714"/>
                  <a:gd name="connsiteX3" fmla="*/ 4083961 w 4818179"/>
                  <a:gd name="connsiteY3" fmla="*/ 2584811 h 3498714"/>
                  <a:gd name="connsiteX4" fmla="*/ 2251033 w 4818179"/>
                  <a:gd name="connsiteY4" fmla="*/ 2089512 h 3498714"/>
                  <a:gd name="connsiteX5" fmla="*/ 2070058 w 4818179"/>
                  <a:gd name="connsiteY5" fmla="*/ 2270487 h 3498714"/>
                  <a:gd name="connsiteX6" fmla="*/ 2251033 w 4818179"/>
                  <a:gd name="connsiteY6" fmla="*/ 2451462 h 3498714"/>
                  <a:gd name="connsiteX7" fmla="*/ 2432008 w 4818179"/>
                  <a:gd name="connsiteY7" fmla="*/ 2270487 h 3498714"/>
                  <a:gd name="connsiteX8" fmla="*/ 2251033 w 4818179"/>
                  <a:gd name="connsiteY8" fmla="*/ 2089512 h 3498714"/>
                  <a:gd name="connsiteX9" fmla="*/ 2842751 w 4818179"/>
                  <a:gd name="connsiteY9" fmla="*/ 1749356 h 3498714"/>
                  <a:gd name="connsiteX10" fmla="*/ 2392797 w 4818179"/>
                  <a:gd name="connsiteY10" fmla="*/ 1878907 h 3498714"/>
                  <a:gd name="connsiteX11" fmla="*/ 2478781 w 4818179"/>
                  <a:gd name="connsiteY11" fmla="*/ 1920808 h 3498714"/>
                  <a:gd name="connsiteX12" fmla="*/ 2842751 w 4818179"/>
                  <a:gd name="connsiteY12" fmla="*/ 1749356 h 3498714"/>
                  <a:gd name="connsiteX13" fmla="*/ 2534724 w 4818179"/>
                  <a:gd name="connsiteY13" fmla="*/ 982297 h 3498714"/>
                  <a:gd name="connsiteX14" fmla="*/ 1970999 w 4818179"/>
                  <a:gd name="connsiteY14" fmla="*/ 2826112 h 3498714"/>
                  <a:gd name="connsiteX15" fmla="*/ 1850348 w 4818179"/>
                  <a:gd name="connsiteY15" fmla="*/ 2705462 h 3498714"/>
                  <a:gd name="connsiteX16" fmla="*/ 1956769 w 4818179"/>
                  <a:gd name="connsiteY16" fmla="*/ 2587684 h 3498714"/>
                  <a:gd name="connsiteX17" fmla="*/ 1823360 w 4818179"/>
                  <a:gd name="connsiteY17" fmla="*/ 2279217 h 3498714"/>
                  <a:gd name="connsiteX18" fmla="*/ 2217440 w 4818179"/>
                  <a:gd name="connsiteY18" fmla="*/ 1856216 h 3498714"/>
                  <a:gd name="connsiteX19" fmla="*/ 2534724 w 4818179"/>
                  <a:gd name="connsiteY19" fmla="*/ 982297 h 3498714"/>
                  <a:gd name="connsiteX20" fmla="*/ 358791 w 4818179"/>
                  <a:gd name="connsiteY20" fmla="*/ 644545 h 3498714"/>
                  <a:gd name="connsiteX21" fmla="*/ 1006774 w 4818179"/>
                  <a:gd name="connsiteY21" fmla="*/ 644545 h 3498714"/>
                  <a:gd name="connsiteX22" fmla="*/ 1542636 w 4818179"/>
                  <a:gd name="connsiteY22" fmla="*/ 1193969 h 3498714"/>
                  <a:gd name="connsiteX23" fmla="*/ 1929878 w 4818179"/>
                  <a:gd name="connsiteY23" fmla="*/ 1193970 h 3498714"/>
                  <a:gd name="connsiteX24" fmla="*/ 2070059 w 4818179"/>
                  <a:gd name="connsiteY24" fmla="*/ 1334152 h 3498714"/>
                  <a:gd name="connsiteX25" fmla="*/ 1929878 w 4818179"/>
                  <a:gd name="connsiteY25" fmla="*/ 1474333 h 3498714"/>
                  <a:gd name="connsiteX26" fmla="*/ 1520943 w 4818179"/>
                  <a:gd name="connsiteY26" fmla="*/ 1470388 h 3498714"/>
                  <a:gd name="connsiteX27" fmla="*/ 1332825 w 4818179"/>
                  <a:gd name="connsiteY27" fmla="*/ 1367201 h 3498714"/>
                  <a:gd name="connsiteX28" fmla="*/ 1106501 w 4818179"/>
                  <a:gd name="connsiteY28" fmla="*/ 1098289 h 3498714"/>
                  <a:gd name="connsiteX29" fmla="*/ 1101049 w 4818179"/>
                  <a:gd name="connsiteY29" fmla="*/ 1092836 h 3498714"/>
                  <a:gd name="connsiteX30" fmla="*/ 1046523 w 4818179"/>
                  <a:gd name="connsiteY30" fmla="*/ 1092836 h 3498714"/>
                  <a:gd name="connsiteX31" fmla="*/ 1041071 w 4818179"/>
                  <a:gd name="connsiteY31" fmla="*/ 1098289 h 3498714"/>
                  <a:gd name="connsiteX32" fmla="*/ 1042136 w 4818179"/>
                  <a:gd name="connsiteY32" fmla="*/ 1419754 h 3498714"/>
                  <a:gd name="connsiteX33" fmla="*/ 1042136 w 4818179"/>
                  <a:gd name="connsiteY33" fmla="*/ 3337652 h 3498714"/>
                  <a:gd name="connsiteX34" fmla="*/ 881075 w 4818179"/>
                  <a:gd name="connsiteY34" fmla="*/ 3498714 h 3498714"/>
                  <a:gd name="connsiteX35" fmla="*/ 720012 w 4818179"/>
                  <a:gd name="connsiteY35" fmla="*/ 3337652 h 3498714"/>
                  <a:gd name="connsiteX36" fmla="*/ 720012 w 4818179"/>
                  <a:gd name="connsiteY36" fmla="*/ 2125717 h 3498714"/>
                  <a:gd name="connsiteX37" fmla="*/ 718947 w 4818179"/>
                  <a:gd name="connsiteY37" fmla="*/ 2033194 h 3498714"/>
                  <a:gd name="connsiteX38" fmla="*/ 714162 w 4818179"/>
                  <a:gd name="connsiteY38" fmla="*/ 2028410 h 3498714"/>
                  <a:gd name="connsiteX39" fmla="*/ 654759 w 4818179"/>
                  <a:gd name="connsiteY39" fmla="*/ 2028410 h 3498714"/>
                  <a:gd name="connsiteX40" fmla="*/ 649974 w 4818179"/>
                  <a:gd name="connsiteY40" fmla="*/ 2033194 h 3498714"/>
                  <a:gd name="connsiteX41" fmla="*/ 649974 w 4818179"/>
                  <a:gd name="connsiteY41" fmla="*/ 2125717 h 3498714"/>
                  <a:gd name="connsiteX42" fmla="*/ 649574 w 4818179"/>
                  <a:gd name="connsiteY42" fmla="*/ 3337652 h 3498714"/>
                  <a:gd name="connsiteX43" fmla="*/ 488511 w 4818179"/>
                  <a:gd name="connsiteY43" fmla="*/ 3498714 h 3498714"/>
                  <a:gd name="connsiteX44" fmla="*/ 327450 w 4818179"/>
                  <a:gd name="connsiteY44" fmla="*/ 3337652 h 3498714"/>
                  <a:gd name="connsiteX45" fmla="*/ 327450 w 4818179"/>
                  <a:gd name="connsiteY45" fmla="*/ 1458216 h 3498714"/>
                  <a:gd name="connsiteX46" fmla="*/ 322427 w 4818179"/>
                  <a:gd name="connsiteY46" fmla="*/ 1098205 h 3498714"/>
                  <a:gd name="connsiteX47" fmla="*/ 317058 w 4818179"/>
                  <a:gd name="connsiteY47" fmla="*/ 1092836 h 3498714"/>
                  <a:gd name="connsiteX48" fmla="*/ 263371 w 4818179"/>
                  <a:gd name="connsiteY48" fmla="*/ 1092836 h 3498714"/>
                  <a:gd name="connsiteX49" fmla="*/ 258001 w 4818179"/>
                  <a:gd name="connsiteY49" fmla="*/ 1098205 h 3498714"/>
                  <a:gd name="connsiteX50" fmla="*/ 258001 w 4818179"/>
                  <a:gd name="connsiteY50" fmla="*/ 1444446 h 3498714"/>
                  <a:gd name="connsiteX51" fmla="*/ 257700 w 4818179"/>
                  <a:gd name="connsiteY51" fmla="*/ 1444370 h 3498714"/>
                  <a:gd name="connsiteX52" fmla="*/ 257700 w 4818179"/>
                  <a:gd name="connsiteY52" fmla="*/ 1912573 h 3498714"/>
                  <a:gd name="connsiteX53" fmla="*/ 128850 w 4818179"/>
                  <a:gd name="connsiteY53" fmla="*/ 2041423 h 3498714"/>
                  <a:gd name="connsiteX54" fmla="*/ 0 w 4818179"/>
                  <a:gd name="connsiteY54" fmla="*/ 1912573 h 3498714"/>
                  <a:gd name="connsiteX55" fmla="*/ 0 w 4818179"/>
                  <a:gd name="connsiteY55" fmla="*/ 1101802 h 3498714"/>
                  <a:gd name="connsiteX56" fmla="*/ 0 w 4818179"/>
                  <a:gd name="connsiteY56" fmla="*/ 1003338 h 3498714"/>
                  <a:gd name="connsiteX57" fmla="*/ 0 w 4818179"/>
                  <a:gd name="connsiteY57" fmla="*/ 982486 h 3498714"/>
                  <a:gd name="connsiteX58" fmla="*/ 12733 w 4818179"/>
                  <a:gd name="connsiteY58" fmla="*/ 894663 h 3498714"/>
                  <a:gd name="connsiteX59" fmla="*/ 20539 w 4818179"/>
                  <a:gd name="connsiteY59" fmla="*/ 868773 h 3498714"/>
                  <a:gd name="connsiteX60" fmla="*/ 358791 w 4818179"/>
                  <a:gd name="connsiteY60" fmla="*/ 644545 h 3498714"/>
                  <a:gd name="connsiteX61" fmla="*/ 682782 w 4818179"/>
                  <a:gd name="connsiteY61" fmla="*/ 0 h 3498714"/>
                  <a:gd name="connsiteX62" fmla="*/ 966919 w 4818179"/>
                  <a:gd name="connsiteY62" fmla="*/ 284138 h 3498714"/>
                  <a:gd name="connsiteX63" fmla="*/ 682782 w 4818179"/>
                  <a:gd name="connsiteY63" fmla="*/ 568275 h 3498714"/>
                  <a:gd name="connsiteX64" fmla="*/ 398645 w 4818179"/>
                  <a:gd name="connsiteY64" fmla="*/ 284138 h 3498714"/>
                  <a:gd name="connsiteX65" fmla="*/ 682782 w 4818179"/>
                  <a:gd name="connsiteY65" fmla="*/ 0 h 3498714"/>
                  <a:gd name="connsiteX66" fmla="*/ 4707054 w 4818179"/>
                  <a:gd name="connsiteY66" fmla="*/ 2902312 h 3498714"/>
                  <a:gd name="connsiteX67" fmla="*/ 4818179 w 4818179"/>
                  <a:gd name="connsiteY67" fmla="*/ 3013437 h 3498714"/>
                  <a:gd name="connsiteX68" fmla="*/ 4707054 w 4818179"/>
                  <a:gd name="connsiteY68" fmla="*/ 3124562 h 3498714"/>
                  <a:gd name="connsiteX69" fmla="*/ 4545125 w 4818179"/>
                  <a:gd name="connsiteY69" fmla="*/ 3124562 h 3498714"/>
                  <a:gd name="connsiteX70" fmla="*/ 4545125 w 4818179"/>
                  <a:gd name="connsiteY70" fmla="*/ 3361625 h 3498714"/>
                  <a:gd name="connsiteX71" fmla="*/ 4436113 w 4818179"/>
                  <a:gd name="connsiteY71" fmla="*/ 3470637 h 3498714"/>
                  <a:gd name="connsiteX72" fmla="*/ 4235039 w 4818179"/>
                  <a:gd name="connsiteY72" fmla="*/ 3470637 h 3498714"/>
                  <a:gd name="connsiteX73" fmla="*/ 2589325 w 4818179"/>
                  <a:gd name="connsiteY73" fmla="*/ 3124562 h 3498714"/>
                  <a:gd name="connsiteX74" fmla="*/ 2589325 w 4818179"/>
                  <a:gd name="connsiteY74" fmla="*/ 3361625 h 3498714"/>
                  <a:gd name="connsiteX75" fmla="*/ 2480313 w 4818179"/>
                  <a:gd name="connsiteY75" fmla="*/ 3470637 h 3498714"/>
                  <a:gd name="connsiteX76" fmla="*/ 2279239 w 4818179"/>
                  <a:gd name="connsiteY76" fmla="*/ 3470637 h 3498714"/>
                  <a:gd name="connsiteX77" fmla="*/ 2170227 w 4818179"/>
                  <a:gd name="connsiteY77" fmla="*/ 3361625 h 3498714"/>
                  <a:gd name="connsiteX78" fmla="*/ 2170227 w 4818179"/>
                  <a:gd name="connsiteY78" fmla="*/ 3124562 h 3498714"/>
                  <a:gd name="connsiteX79" fmla="*/ 2052754 w 4818179"/>
                  <a:gd name="connsiteY79" fmla="*/ 3124562 h 3498714"/>
                  <a:gd name="connsiteX80" fmla="*/ 1941629 w 4818179"/>
                  <a:gd name="connsiteY80" fmla="*/ 3013437 h 3498714"/>
                  <a:gd name="connsiteX81" fmla="*/ 2052754 w 4818179"/>
                  <a:gd name="connsiteY81" fmla="*/ 2902312 h 3498714"/>
                  <a:gd name="connsiteX82" fmla="*/ 682782 w 4818179"/>
                  <a:gd name="connsiteY82" fmla="*/ 0 h 3498714"/>
                  <a:gd name="connsiteX0" fmla="*/ 2671086 w 4818179"/>
                  <a:gd name="connsiteY0" fmla="*/ 2584811 h 3498714"/>
                  <a:gd name="connsiteX1" fmla="*/ 2671086 w 4818179"/>
                  <a:gd name="connsiteY1" fmla="*/ 2397487 h 3498714"/>
                  <a:gd name="connsiteX2" fmla="*/ 2671086 w 4818179"/>
                  <a:gd name="connsiteY2" fmla="*/ 2584811 h 3498714"/>
                  <a:gd name="connsiteX3" fmla="*/ 2251033 w 4818179"/>
                  <a:gd name="connsiteY3" fmla="*/ 2089512 h 3498714"/>
                  <a:gd name="connsiteX4" fmla="*/ 2070058 w 4818179"/>
                  <a:gd name="connsiteY4" fmla="*/ 2270487 h 3498714"/>
                  <a:gd name="connsiteX5" fmla="*/ 2251033 w 4818179"/>
                  <a:gd name="connsiteY5" fmla="*/ 2451462 h 3498714"/>
                  <a:gd name="connsiteX6" fmla="*/ 2432008 w 4818179"/>
                  <a:gd name="connsiteY6" fmla="*/ 2270487 h 3498714"/>
                  <a:gd name="connsiteX7" fmla="*/ 2251033 w 4818179"/>
                  <a:gd name="connsiteY7" fmla="*/ 2089512 h 3498714"/>
                  <a:gd name="connsiteX8" fmla="*/ 2842751 w 4818179"/>
                  <a:gd name="connsiteY8" fmla="*/ 1749356 h 3498714"/>
                  <a:gd name="connsiteX9" fmla="*/ 2392797 w 4818179"/>
                  <a:gd name="connsiteY9" fmla="*/ 1878907 h 3498714"/>
                  <a:gd name="connsiteX10" fmla="*/ 2478781 w 4818179"/>
                  <a:gd name="connsiteY10" fmla="*/ 1920808 h 3498714"/>
                  <a:gd name="connsiteX11" fmla="*/ 2842751 w 4818179"/>
                  <a:gd name="connsiteY11" fmla="*/ 1749356 h 3498714"/>
                  <a:gd name="connsiteX12" fmla="*/ 2534724 w 4818179"/>
                  <a:gd name="connsiteY12" fmla="*/ 982297 h 3498714"/>
                  <a:gd name="connsiteX13" fmla="*/ 1970999 w 4818179"/>
                  <a:gd name="connsiteY13" fmla="*/ 2826112 h 3498714"/>
                  <a:gd name="connsiteX14" fmla="*/ 1850348 w 4818179"/>
                  <a:gd name="connsiteY14" fmla="*/ 2705462 h 3498714"/>
                  <a:gd name="connsiteX15" fmla="*/ 1956769 w 4818179"/>
                  <a:gd name="connsiteY15" fmla="*/ 2587684 h 3498714"/>
                  <a:gd name="connsiteX16" fmla="*/ 1823360 w 4818179"/>
                  <a:gd name="connsiteY16" fmla="*/ 2279217 h 3498714"/>
                  <a:gd name="connsiteX17" fmla="*/ 2217440 w 4818179"/>
                  <a:gd name="connsiteY17" fmla="*/ 1856216 h 3498714"/>
                  <a:gd name="connsiteX18" fmla="*/ 2534724 w 4818179"/>
                  <a:gd name="connsiteY18" fmla="*/ 982297 h 3498714"/>
                  <a:gd name="connsiteX19" fmla="*/ 358791 w 4818179"/>
                  <a:gd name="connsiteY19" fmla="*/ 644545 h 3498714"/>
                  <a:gd name="connsiteX20" fmla="*/ 1006774 w 4818179"/>
                  <a:gd name="connsiteY20" fmla="*/ 644545 h 3498714"/>
                  <a:gd name="connsiteX21" fmla="*/ 1542636 w 4818179"/>
                  <a:gd name="connsiteY21" fmla="*/ 1193969 h 3498714"/>
                  <a:gd name="connsiteX22" fmla="*/ 1929878 w 4818179"/>
                  <a:gd name="connsiteY22" fmla="*/ 1193970 h 3498714"/>
                  <a:gd name="connsiteX23" fmla="*/ 2070059 w 4818179"/>
                  <a:gd name="connsiteY23" fmla="*/ 1334152 h 3498714"/>
                  <a:gd name="connsiteX24" fmla="*/ 1929878 w 4818179"/>
                  <a:gd name="connsiteY24" fmla="*/ 1474333 h 3498714"/>
                  <a:gd name="connsiteX25" fmla="*/ 1520943 w 4818179"/>
                  <a:gd name="connsiteY25" fmla="*/ 1470388 h 3498714"/>
                  <a:gd name="connsiteX26" fmla="*/ 1332825 w 4818179"/>
                  <a:gd name="connsiteY26" fmla="*/ 1367201 h 3498714"/>
                  <a:gd name="connsiteX27" fmla="*/ 1106501 w 4818179"/>
                  <a:gd name="connsiteY27" fmla="*/ 1098289 h 3498714"/>
                  <a:gd name="connsiteX28" fmla="*/ 1101049 w 4818179"/>
                  <a:gd name="connsiteY28" fmla="*/ 1092836 h 3498714"/>
                  <a:gd name="connsiteX29" fmla="*/ 1046523 w 4818179"/>
                  <a:gd name="connsiteY29" fmla="*/ 1092836 h 3498714"/>
                  <a:gd name="connsiteX30" fmla="*/ 1041071 w 4818179"/>
                  <a:gd name="connsiteY30" fmla="*/ 1098289 h 3498714"/>
                  <a:gd name="connsiteX31" fmla="*/ 1042136 w 4818179"/>
                  <a:gd name="connsiteY31" fmla="*/ 1419754 h 3498714"/>
                  <a:gd name="connsiteX32" fmla="*/ 1042136 w 4818179"/>
                  <a:gd name="connsiteY32" fmla="*/ 3337652 h 3498714"/>
                  <a:gd name="connsiteX33" fmla="*/ 881075 w 4818179"/>
                  <a:gd name="connsiteY33" fmla="*/ 3498714 h 3498714"/>
                  <a:gd name="connsiteX34" fmla="*/ 720012 w 4818179"/>
                  <a:gd name="connsiteY34" fmla="*/ 3337652 h 3498714"/>
                  <a:gd name="connsiteX35" fmla="*/ 720012 w 4818179"/>
                  <a:gd name="connsiteY35" fmla="*/ 2125717 h 3498714"/>
                  <a:gd name="connsiteX36" fmla="*/ 718947 w 4818179"/>
                  <a:gd name="connsiteY36" fmla="*/ 2033194 h 3498714"/>
                  <a:gd name="connsiteX37" fmla="*/ 714162 w 4818179"/>
                  <a:gd name="connsiteY37" fmla="*/ 2028410 h 3498714"/>
                  <a:gd name="connsiteX38" fmla="*/ 654759 w 4818179"/>
                  <a:gd name="connsiteY38" fmla="*/ 2028410 h 3498714"/>
                  <a:gd name="connsiteX39" fmla="*/ 649974 w 4818179"/>
                  <a:gd name="connsiteY39" fmla="*/ 2033194 h 3498714"/>
                  <a:gd name="connsiteX40" fmla="*/ 649974 w 4818179"/>
                  <a:gd name="connsiteY40" fmla="*/ 2125717 h 3498714"/>
                  <a:gd name="connsiteX41" fmla="*/ 649574 w 4818179"/>
                  <a:gd name="connsiteY41" fmla="*/ 3337652 h 3498714"/>
                  <a:gd name="connsiteX42" fmla="*/ 488511 w 4818179"/>
                  <a:gd name="connsiteY42" fmla="*/ 3498714 h 3498714"/>
                  <a:gd name="connsiteX43" fmla="*/ 327450 w 4818179"/>
                  <a:gd name="connsiteY43" fmla="*/ 3337652 h 3498714"/>
                  <a:gd name="connsiteX44" fmla="*/ 327450 w 4818179"/>
                  <a:gd name="connsiteY44" fmla="*/ 1458216 h 3498714"/>
                  <a:gd name="connsiteX45" fmla="*/ 322427 w 4818179"/>
                  <a:gd name="connsiteY45" fmla="*/ 1098205 h 3498714"/>
                  <a:gd name="connsiteX46" fmla="*/ 317058 w 4818179"/>
                  <a:gd name="connsiteY46" fmla="*/ 1092836 h 3498714"/>
                  <a:gd name="connsiteX47" fmla="*/ 263371 w 4818179"/>
                  <a:gd name="connsiteY47" fmla="*/ 1092836 h 3498714"/>
                  <a:gd name="connsiteX48" fmla="*/ 258001 w 4818179"/>
                  <a:gd name="connsiteY48" fmla="*/ 1098205 h 3498714"/>
                  <a:gd name="connsiteX49" fmla="*/ 258001 w 4818179"/>
                  <a:gd name="connsiteY49" fmla="*/ 1444446 h 3498714"/>
                  <a:gd name="connsiteX50" fmla="*/ 257700 w 4818179"/>
                  <a:gd name="connsiteY50" fmla="*/ 1444370 h 3498714"/>
                  <a:gd name="connsiteX51" fmla="*/ 257700 w 4818179"/>
                  <a:gd name="connsiteY51" fmla="*/ 1912573 h 3498714"/>
                  <a:gd name="connsiteX52" fmla="*/ 128850 w 4818179"/>
                  <a:gd name="connsiteY52" fmla="*/ 2041423 h 3498714"/>
                  <a:gd name="connsiteX53" fmla="*/ 0 w 4818179"/>
                  <a:gd name="connsiteY53" fmla="*/ 1912573 h 3498714"/>
                  <a:gd name="connsiteX54" fmla="*/ 0 w 4818179"/>
                  <a:gd name="connsiteY54" fmla="*/ 1101802 h 3498714"/>
                  <a:gd name="connsiteX55" fmla="*/ 0 w 4818179"/>
                  <a:gd name="connsiteY55" fmla="*/ 1003338 h 3498714"/>
                  <a:gd name="connsiteX56" fmla="*/ 0 w 4818179"/>
                  <a:gd name="connsiteY56" fmla="*/ 982486 h 3498714"/>
                  <a:gd name="connsiteX57" fmla="*/ 12733 w 4818179"/>
                  <a:gd name="connsiteY57" fmla="*/ 894663 h 3498714"/>
                  <a:gd name="connsiteX58" fmla="*/ 20539 w 4818179"/>
                  <a:gd name="connsiteY58" fmla="*/ 868773 h 3498714"/>
                  <a:gd name="connsiteX59" fmla="*/ 358791 w 4818179"/>
                  <a:gd name="connsiteY59" fmla="*/ 644545 h 3498714"/>
                  <a:gd name="connsiteX60" fmla="*/ 682782 w 4818179"/>
                  <a:gd name="connsiteY60" fmla="*/ 0 h 3498714"/>
                  <a:gd name="connsiteX61" fmla="*/ 966919 w 4818179"/>
                  <a:gd name="connsiteY61" fmla="*/ 284138 h 3498714"/>
                  <a:gd name="connsiteX62" fmla="*/ 682782 w 4818179"/>
                  <a:gd name="connsiteY62" fmla="*/ 568275 h 3498714"/>
                  <a:gd name="connsiteX63" fmla="*/ 398645 w 4818179"/>
                  <a:gd name="connsiteY63" fmla="*/ 284138 h 3498714"/>
                  <a:gd name="connsiteX64" fmla="*/ 682782 w 4818179"/>
                  <a:gd name="connsiteY64" fmla="*/ 0 h 3498714"/>
                  <a:gd name="connsiteX65" fmla="*/ 4707054 w 4818179"/>
                  <a:gd name="connsiteY65" fmla="*/ 2902312 h 3498714"/>
                  <a:gd name="connsiteX66" fmla="*/ 4818179 w 4818179"/>
                  <a:gd name="connsiteY66" fmla="*/ 3013437 h 3498714"/>
                  <a:gd name="connsiteX67" fmla="*/ 4707054 w 4818179"/>
                  <a:gd name="connsiteY67" fmla="*/ 3124562 h 3498714"/>
                  <a:gd name="connsiteX68" fmla="*/ 4545125 w 4818179"/>
                  <a:gd name="connsiteY68" fmla="*/ 3124562 h 3498714"/>
                  <a:gd name="connsiteX69" fmla="*/ 4545125 w 4818179"/>
                  <a:gd name="connsiteY69" fmla="*/ 3361625 h 3498714"/>
                  <a:gd name="connsiteX70" fmla="*/ 4436113 w 4818179"/>
                  <a:gd name="connsiteY70" fmla="*/ 3470637 h 3498714"/>
                  <a:gd name="connsiteX71" fmla="*/ 4235039 w 4818179"/>
                  <a:gd name="connsiteY71" fmla="*/ 3470637 h 3498714"/>
                  <a:gd name="connsiteX72" fmla="*/ 2589325 w 4818179"/>
                  <a:gd name="connsiteY72" fmla="*/ 3124562 h 3498714"/>
                  <a:gd name="connsiteX73" fmla="*/ 2589325 w 4818179"/>
                  <a:gd name="connsiteY73" fmla="*/ 3361625 h 3498714"/>
                  <a:gd name="connsiteX74" fmla="*/ 2480313 w 4818179"/>
                  <a:gd name="connsiteY74" fmla="*/ 3470637 h 3498714"/>
                  <a:gd name="connsiteX75" fmla="*/ 2279239 w 4818179"/>
                  <a:gd name="connsiteY75" fmla="*/ 3470637 h 3498714"/>
                  <a:gd name="connsiteX76" fmla="*/ 2170227 w 4818179"/>
                  <a:gd name="connsiteY76" fmla="*/ 3361625 h 3498714"/>
                  <a:gd name="connsiteX77" fmla="*/ 2170227 w 4818179"/>
                  <a:gd name="connsiteY77" fmla="*/ 3124562 h 3498714"/>
                  <a:gd name="connsiteX78" fmla="*/ 2052754 w 4818179"/>
                  <a:gd name="connsiteY78" fmla="*/ 3124562 h 3498714"/>
                  <a:gd name="connsiteX79" fmla="*/ 1941629 w 4818179"/>
                  <a:gd name="connsiteY79" fmla="*/ 3013437 h 3498714"/>
                  <a:gd name="connsiteX80" fmla="*/ 2052754 w 4818179"/>
                  <a:gd name="connsiteY80" fmla="*/ 2902312 h 3498714"/>
                  <a:gd name="connsiteX81" fmla="*/ 682782 w 4818179"/>
                  <a:gd name="connsiteY81" fmla="*/ 0 h 3498714"/>
                  <a:gd name="connsiteX0" fmla="*/ 2251033 w 4818179"/>
                  <a:gd name="connsiteY0" fmla="*/ 2089512 h 3498714"/>
                  <a:gd name="connsiteX1" fmla="*/ 2070058 w 4818179"/>
                  <a:gd name="connsiteY1" fmla="*/ 2270487 h 3498714"/>
                  <a:gd name="connsiteX2" fmla="*/ 2251033 w 4818179"/>
                  <a:gd name="connsiteY2" fmla="*/ 2451462 h 3498714"/>
                  <a:gd name="connsiteX3" fmla="*/ 2432008 w 4818179"/>
                  <a:gd name="connsiteY3" fmla="*/ 2270487 h 3498714"/>
                  <a:gd name="connsiteX4" fmla="*/ 2251033 w 4818179"/>
                  <a:gd name="connsiteY4" fmla="*/ 2089512 h 3498714"/>
                  <a:gd name="connsiteX5" fmla="*/ 2842751 w 4818179"/>
                  <a:gd name="connsiteY5" fmla="*/ 1749356 h 3498714"/>
                  <a:gd name="connsiteX6" fmla="*/ 2392797 w 4818179"/>
                  <a:gd name="connsiteY6" fmla="*/ 1878907 h 3498714"/>
                  <a:gd name="connsiteX7" fmla="*/ 2478781 w 4818179"/>
                  <a:gd name="connsiteY7" fmla="*/ 1920808 h 3498714"/>
                  <a:gd name="connsiteX8" fmla="*/ 2842751 w 4818179"/>
                  <a:gd name="connsiteY8" fmla="*/ 1749356 h 3498714"/>
                  <a:gd name="connsiteX9" fmla="*/ 2534724 w 4818179"/>
                  <a:gd name="connsiteY9" fmla="*/ 982297 h 3498714"/>
                  <a:gd name="connsiteX10" fmla="*/ 1970999 w 4818179"/>
                  <a:gd name="connsiteY10" fmla="*/ 2826112 h 3498714"/>
                  <a:gd name="connsiteX11" fmla="*/ 1850348 w 4818179"/>
                  <a:gd name="connsiteY11" fmla="*/ 2705462 h 3498714"/>
                  <a:gd name="connsiteX12" fmla="*/ 1956769 w 4818179"/>
                  <a:gd name="connsiteY12" fmla="*/ 2587684 h 3498714"/>
                  <a:gd name="connsiteX13" fmla="*/ 1823360 w 4818179"/>
                  <a:gd name="connsiteY13" fmla="*/ 2279217 h 3498714"/>
                  <a:gd name="connsiteX14" fmla="*/ 2217440 w 4818179"/>
                  <a:gd name="connsiteY14" fmla="*/ 1856216 h 3498714"/>
                  <a:gd name="connsiteX15" fmla="*/ 2534724 w 4818179"/>
                  <a:gd name="connsiteY15" fmla="*/ 982297 h 3498714"/>
                  <a:gd name="connsiteX16" fmla="*/ 358791 w 4818179"/>
                  <a:gd name="connsiteY16" fmla="*/ 644545 h 3498714"/>
                  <a:gd name="connsiteX17" fmla="*/ 1006774 w 4818179"/>
                  <a:gd name="connsiteY17" fmla="*/ 644545 h 3498714"/>
                  <a:gd name="connsiteX18" fmla="*/ 1542636 w 4818179"/>
                  <a:gd name="connsiteY18" fmla="*/ 1193969 h 3498714"/>
                  <a:gd name="connsiteX19" fmla="*/ 1929878 w 4818179"/>
                  <a:gd name="connsiteY19" fmla="*/ 1193970 h 3498714"/>
                  <a:gd name="connsiteX20" fmla="*/ 2070059 w 4818179"/>
                  <a:gd name="connsiteY20" fmla="*/ 1334152 h 3498714"/>
                  <a:gd name="connsiteX21" fmla="*/ 1929878 w 4818179"/>
                  <a:gd name="connsiteY21" fmla="*/ 1474333 h 3498714"/>
                  <a:gd name="connsiteX22" fmla="*/ 1520943 w 4818179"/>
                  <a:gd name="connsiteY22" fmla="*/ 1470388 h 3498714"/>
                  <a:gd name="connsiteX23" fmla="*/ 1332825 w 4818179"/>
                  <a:gd name="connsiteY23" fmla="*/ 1367201 h 3498714"/>
                  <a:gd name="connsiteX24" fmla="*/ 1106501 w 4818179"/>
                  <a:gd name="connsiteY24" fmla="*/ 1098289 h 3498714"/>
                  <a:gd name="connsiteX25" fmla="*/ 1101049 w 4818179"/>
                  <a:gd name="connsiteY25" fmla="*/ 1092836 h 3498714"/>
                  <a:gd name="connsiteX26" fmla="*/ 1046523 w 4818179"/>
                  <a:gd name="connsiteY26" fmla="*/ 1092836 h 3498714"/>
                  <a:gd name="connsiteX27" fmla="*/ 1041071 w 4818179"/>
                  <a:gd name="connsiteY27" fmla="*/ 1098289 h 3498714"/>
                  <a:gd name="connsiteX28" fmla="*/ 1042136 w 4818179"/>
                  <a:gd name="connsiteY28" fmla="*/ 1419754 h 3498714"/>
                  <a:gd name="connsiteX29" fmla="*/ 1042136 w 4818179"/>
                  <a:gd name="connsiteY29" fmla="*/ 3337652 h 3498714"/>
                  <a:gd name="connsiteX30" fmla="*/ 881075 w 4818179"/>
                  <a:gd name="connsiteY30" fmla="*/ 3498714 h 3498714"/>
                  <a:gd name="connsiteX31" fmla="*/ 720012 w 4818179"/>
                  <a:gd name="connsiteY31" fmla="*/ 3337652 h 3498714"/>
                  <a:gd name="connsiteX32" fmla="*/ 720012 w 4818179"/>
                  <a:gd name="connsiteY32" fmla="*/ 2125717 h 3498714"/>
                  <a:gd name="connsiteX33" fmla="*/ 718947 w 4818179"/>
                  <a:gd name="connsiteY33" fmla="*/ 2033194 h 3498714"/>
                  <a:gd name="connsiteX34" fmla="*/ 714162 w 4818179"/>
                  <a:gd name="connsiteY34" fmla="*/ 2028410 h 3498714"/>
                  <a:gd name="connsiteX35" fmla="*/ 654759 w 4818179"/>
                  <a:gd name="connsiteY35" fmla="*/ 2028410 h 3498714"/>
                  <a:gd name="connsiteX36" fmla="*/ 649974 w 4818179"/>
                  <a:gd name="connsiteY36" fmla="*/ 2033194 h 3498714"/>
                  <a:gd name="connsiteX37" fmla="*/ 649974 w 4818179"/>
                  <a:gd name="connsiteY37" fmla="*/ 2125717 h 3498714"/>
                  <a:gd name="connsiteX38" fmla="*/ 649574 w 4818179"/>
                  <a:gd name="connsiteY38" fmla="*/ 3337652 h 3498714"/>
                  <a:gd name="connsiteX39" fmla="*/ 488511 w 4818179"/>
                  <a:gd name="connsiteY39" fmla="*/ 3498714 h 3498714"/>
                  <a:gd name="connsiteX40" fmla="*/ 327450 w 4818179"/>
                  <a:gd name="connsiteY40" fmla="*/ 3337652 h 3498714"/>
                  <a:gd name="connsiteX41" fmla="*/ 327450 w 4818179"/>
                  <a:gd name="connsiteY41" fmla="*/ 1458216 h 3498714"/>
                  <a:gd name="connsiteX42" fmla="*/ 322427 w 4818179"/>
                  <a:gd name="connsiteY42" fmla="*/ 1098205 h 3498714"/>
                  <a:gd name="connsiteX43" fmla="*/ 317058 w 4818179"/>
                  <a:gd name="connsiteY43" fmla="*/ 1092836 h 3498714"/>
                  <a:gd name="connsiteX44" fmla="*/ 263371 w 4818179"/>
                  <a:gd name="connsiteY44" fmla="*/ 1092836 h 3498714"/>
                  <a:gd name="connsiteX45" fmla="*/ 258001 w 4818179"/>
                  <a:gd name="connsiteY45" fmla="*/ 1098205 h 3498714"/>
                  <a:gd name="connsiteX46" fmla="*/ 258001 w 4818179"/>
                  <a:gd name="connsiteY46" fmla="*/ 1444446 h 3498714"/>
                  <a:gd name="connsiteX47" fmla="*/ 257700 w 4818179"/>
                  <a:gd name="connsiteY47" fmla="*/ 1444370 h 3498714"/>
                  <a:gd name="connsiteX48" fmla="*/ 257700 w 4818179"/>
                  <a:gd name="connsiteY48" fmla="*/ 1912573 h 3498714"/>
                  <a:gd name="connsiteX49" fmla="*/ 128850 w 4818179"/>
                  <a:gd name="connsiteY49" fmla="*/ 2041423 h 3498714"/>
                  <a:gd name="connsiteX50" fmla="*/ 0 w 4818179"/>
                  <a:gd name="connsiteY50" fmla="*/ 1912573 h 3498714"/>
                  <a:gd name="connsiteX51" fmla="*/ 0 w 4818179"/>
                  <a:gd name="connsiteY51" fmla="*/ 1101802 h 3498714"/>
                  <a:gd name="connsiteX52" fmla="*/ 0 w 4818179"/>
                  <a:gd name="connsiteY52" fmla="*/ 1003338 h 3498714"/>
                  <a:gd name="connsiteX53" fmla="*/ 0 w 4818179"/>
                  <a:gd name="connsiteY53" fmla="*/ 982486 h 3498714"/>
                  <a:gd name="connsiteX54" fmla="*/ 12733 w 4818179"/>
                  <a:gd name="connsiteY54" fmla="*/ 894663 h 3498714"/>
                  <a:gd name="connsiteX55" fmla="*/ 20539 w 4818179"/>
                  <a:gd name="connsiteY55" fmla="*/ 868773 h 3498714"/>
                  <a:gd name="connsiteX56" fmla="*/ 358791 w 4818179"/>
                  <a:gd name="connsiteY56" fmla="*/ 644545 h 3498714"/>
                  <a:gd name="connsiteX57" fmla="*/ 682782 w 4818179"/>
                  <a:gd name="connsiteY57" fmla="*/ 0 h 3498714"/>
                  <a:gd name="connsiteX58" fmla="*/ 966919 w 4818179"/>
                  <a:gd name="connsiteY58" fmla="*/ 284138 h 3498714"/>
                  <a:gd name="connsiteX59" fmla="*/ 682782 w 4818179"/>
                  <a:gd name="connsiteY59" fmla="*/ 568275 h 3498714"/>
                  <a:gd name="connsiteX60" fmla="*/ 398645 w 4818179"/>
                  <a:gd name="connsiteY60" fmla="*/ 284138 h 3498714"/>
                  <a:gd name="connsiteX61" fmla="*/ 682782 w 4818179"/>
                  <a:gd name="connsiteY61" fmla="*/ 0 h 3498714"/>
                  <a:gd name="connsiteX62" fmla="*/ 4707054 w 4818179"/>
                  <a:gd name="connsiteY62" fmla="*/ 2902312 h 3498714"/>
                  <a:gd name="connsiteX63" fmla="*/ 4818179 w 4818179"/>
                  <a:gd name="connsiteY63" fmla="*/ 3013437 h 3498714"/>
                  <a:gd name="connsiteX64" fmla="*/ 4707054 w 4818179"/>
                  <a:gd name="connsiteY64" fmla="*/ 3124562 h 3498714"/>
                  <a:gd name="connsiteX65" fmla="*/ 4545125 w 4818179"/>
                  <a:gd name="connsiteY65" fmla="*/ 3124562 h 3498714"/>
                  <a:gd name="connsiteX66" fmla="*/ 4545125 w 4818179"/>
                  <a:gd name="connsiteY66" fmla="*/ 3361625 h 3498714"/>
                  <a:gd name="connsiteX67" fmla="*/ 4436113 w 4818179"/>
                  <a:gd name="connsiteY67" fmla="*/ 3470637 h 3498714"/>
                  <a:gd name="connsiteX68" fmla="*/ 4235039 w 4818179"/>
                  <a:gd name="connsiteY68" fmla="*/ 3470637 h 3498714"/>
                  <a:gd name="connsiteX69" fmla="*/ 2589325 w 4818179"/>
                  <a:gd name="connsiteY69" fmla="*/ 3124562 h 3498714"/>
                  <a:gd name="connsiteX70" fmla="*/ 2589325 w 4818179"/>
                  <a:gd name="connsiteY70" fmla="*/ 3361625 h 3498714"/>
                  <a:gd name="connsiteX71" fmla="*/ 2480313 w 4818179"/>
                  <a:gd name="connsiteY71" fmla="*/ 3470637 h 3498714"/>
                  <a:gd name="connsiteX72" fmla="*/ 2279239 w 4818179"/>
                  <a:gd name="connsiteY72" fmla="*/ 3470637 h 3498714"/>
                  <a:gd name="connsiteX73" fmla="*/ 2170227 w 4818179"/>
                  <a:gd name="connsiteY73" fmla="*/ 3361625 h 3498714"/>
                  <a:gd name="connsiteX74" fmla="*/ 2170227 w 4818179"/>
                  <a:gd name="connsiteY74" fmla="*/ 3124562 h 3498714"/>
                  <a:gd name="connsiteX75" fmla="*/ 2052754 w 4818179"/>
                  <a:gd name="connsiteY75" fmla="*/ 3124562 h 3498714"/>
                  <a:gd name="connsiteX76" fmla="*/ 1941629 w 4818179"/>
                  <a:gd name="connsiteY76" fmla="*/ 3013437 h 3498714"/>
                  <a:gd name="connsiteX77" fmla="*/ 2052754 w 4818179"/>
                  <a:gd name="connsiteY77" fmla="*/ 2902312 h 3498714"/>
                  <a:gd name="connsiteX78" fmla="*/ 682782 w 4818179"/>
                  <a:gd name="connsiteY78" fmla="*/ 0 h 3498714"/>
                  <a:gd name="connsiteX0" fmla="*/ 2251033 w 4818179"/>
                  <a:gd name="connsiteY0" fmla="*/ 2089512 h 3498714"/>
                  <a:gd name="connsiteX1" fmla="*/ 2070058 w 4818179"/>
                  <a:gd name="connsiteY1" fmla="*/ 2270487 h 3498714"/>
                  <a:gd name="connsiteX2" fmla="*/ 2251033 w 4818179"/>
                  <a:gd name="connsiteY2" fmla="*/ 2451462 h 3498714"/>
                  <a:gd name="connsiteX3" fmla="*/ 2432008 w 4818179"/>
                  <a:gd name="connsiteY3" fmla="*/ 2270487 h 3498714"/>
                  <a:gd name="connsiteX4" fmla="*/ 2251033 w 4818179"/>
                  <a:gd name="connsiteY4" fmla="*/ 2089512 h 3498714"/>
                  <a:gd name="connsiteX5" fmla="*/ 2842751 w 4818179"/>
                  <a:gd name="connsiteY5" fmla="*/ 1749356 h 3498714"/>
                  <a:gd name="connsiteX6" fmla="*/ 2392797 w 4818179"/>
                  <a:gd name="connsiteY6" fmla="*/ 1878907 h 3498714"/>
                  <a:gd name="connsiteX7" fmla="*/ 2478781 w 4818179"/>
                  <a:gd name="connsiteY7" fmla="*/ 1920808 h 3498714"/>
                  <a:gd name="connsiteX8" fmla="*/ 2842751 w 4818179"/>
                  <a:gd name="connsiteY8" fmla="*/ 1749356 h 3498714"/>
                  <a:gd name="connsiteX9" fmla="*/ 2534724 w 4818179"/>
                  <a:gd name="connsiteY9" fmla="*/ 982297 h 3498714"/>
                  <a:gd name="connsiteX10" fmla="*/ 1970999 w 4818179"/>
                  <a:gd name="connsiteY10" fmla="*/ 2826112 h 3498714"/>
                  <a:gd name="connsiteX11" fmla="*/ 1850348 w 4818179"/>
                  <a:gd name="connsiteY11" fmla="*/ 2705462 h 3498714"/>
                  <a:gd name="connsiteX12" fmla="*/ 1956769 w 4818179"/>
                  <a:gd name="connsiteY12" fmla="*/ 2587684 h 3498714"/>
                  <a:gd name="connsiteX13" fmla="*/ 1823360 w 4818179"/>
                  <a:gd name="connsiteY13" fmla="*/ 2279217 h 3498714"/>
                  <a:gd name="connsiteX14" fmla="*/ 2217440 w 4818179"/>
                  <a:gd name="connsiteY14" fmla="*/ 1856216 h 3498714"/>
                  <a:gd name="connsiteX15" fmla="*/ 2534724 w 4818179"/>
                  <a:gd name="connsiteY15" fmla="*/ 982297 h 3498714"/>
                  <a:gd name="connsiteX16" fmla="*/ 358791 w 4818179"/>
                  <a:gd name="connsiteY16" fmla="*/ 644545 h 3498714"/>
                  <a:gd name="connsiteX17" fmla="*/ 1006774 w 4818179"/>
                  <a:gd name="connsiteY17" fmla="*/ 644545 h 3498714"/>
                  <a:gd name="connsiteX18" fmla="*/ 1542636 w 4818179"/>
                  <a:gd name="connsiteY18" fmla="*/ 1193969 h 3498714"/>
                  <a:gd name="connsiteX19" fmla="*/ 1929878 w 4818179"/>
                  <a:gd name="connsiteY19" fmla="*/ 1193970 h 3498714"/>
                  <a:gd name="connsiteX20" fmla="*/ 2070059 w 4818179"/>
                  <a:gd name="connsiteY20" fmla="*/ 1334152 h 3498714"/>
                  <a:gd name="connsiteX21" fmla="*/ 1929878 w 4818179"/>
                  <a:gd name="connsiteY21" fmla="*/ 1474333 h 3498714"/>
                  <a:gd name="connsiteX22" fmla="*/ 1520943 w 4818179"/>
                  <a:gd name="connsiteY22" fmla="*/ 1470388 h 3498714"/>
                  <a:gd name="connsiteX23" fmla="*/ 1332825 w 4818179"/>
                  <a:gd name="connsiteY23" fmla="*/ 1367201 h 3498714"/>
                  <a:gd name="connsiteX24" fmla="*/ 1106501 w 4818179"/>
                  <a:gd name="connsiteY24" fmla="*/ 1098289 h 3498714"/>
                  <a:gd name="connsiteX25" fmla="*/ 1101049 w 4818179"/>
                  <a:gd name="connsiteY25" fmla="*/ 1092836 h 3498714"/>
                  <a:gd name="connsiteX26" fmla="*/ 1046523 w 4818179"/>
                  <a:gd name="connsiteY26" fmla="*/ 1092836 h 3498714"/>
                  <a:gd name="connsiteX27" fmla="*/ 1041071 w 4818179"/>
                  <a:gd name="connsiteY27" fmla="*/ 1098289 h 3498714"/>
                  <a:gd name="connsiteX28" fmla="*/ 1042136 w 4818179"/>
                  <a:gd name="connsiteY28" fmla="*/ 1419754 h 3498714"/>
                  <a:gd name="connsiteX29" fmla="*/ 1042136 w 4818179"/>
                  <a:gd name="connsiteY29" fmla="*/ 3337652 h 3498714"/>
                  <a:gd name="connsiteX30" fmla="*/ 881075 w 4818179"/>
                  <a:gd name="connsiteY30" fmla="*/ 3498714 h 3498714"/>
                  <a:gd name="connsiteX31" fmla="*/ 720012 w 4818179"/>
                  <a:gd name="connsiteY31" fmla="*/ 3337652 h 3498714"/>
                  <a:gd name="connsiteX32" fmla="*/ 720012 w 4818179"/>
                  <a:gd name="connsiteY32" fmla="*/ 2125717 h 3498714"/>
                  <a:gd name="connsiteX33" fmla="*/ 718947 w 4818179"/>
                  <a:gd name="connsiteY33" fmla="*/ 2033194 h 3498714"/>
                  <a:gd name="connsiteX34" fmla="*/ 714162 w 4818179"/>
                  <a:gd name="connsiteY34" fmla="*/ 2028410 h 3498714"/>
                  <a:gd name="connsiteX35" fmla="*/ 654759 w 4818179"/>
                  <a:gd name="connsiteY35" fmla="*/ 2028410 h 3498714"/>
                  <a:gd name="connsiteX36" fmla="*/ 649974 w 4818179"/>
                  <a:gd name="connsiteY36" fmla="*/ 2033194 h 3498714"/>
                  <a:gd name="connsiteX37" fmla="*/ 649974 w 4818179"/>
                  <a:gd name="connsiteY37" fmla="*/ 2125717 h 3498714"/>
                  <a:gd name="connsiteX38" fmla="*/ 649574 w 4818179"/>
                  <a:gd name="connsiteY38" fmla="*/ 3337652 h 3498714"/>
                  <a:gd name="connsiteX39" fmla="*/ 488511 w 4818179"/>
                  <a:gd name="connsiteY39" fmla="*/ 3498714 h 3498714"/>
                  <a:gd name="connsiteX40" fmla="*/ 327450 w 4818179"/>
                  <a:gd name="connsiteY40" fmla="*/ 3337652 h 3498714"/>
                  <a:gd name="connsiteX41" fmla="*/ 327450 w 4818179"/>
                  <a:gd name="connsiteY41" fmla="*/ 1458216 h 3498714"/>
                  <a:gd name="connsiteX42" fmla="*/ 322427 w 4818179"/>
                  <a:gd name="connsiteY42" fmla="*/ 1098205 h 3498714"/>
                  <a:gd name="connsiteX43" fmla="*/ 317058 w 4818179"/>
                  <a:gd name="connsiteY43" fmla="*/ 1092836 h 3498714"/>
                  <a:gd name="connsiteX44" fmla="*/ 263371 w 4818179"/>
                  <a:gd name="connsiteY44" fmla="*/ 1092836 h 3498714"/>
                  <a:gd name="connsiteX45" fmla="*/ 258001 w 4818179"/>
                  <a:gd name="connsiteY45" fmla="*/ 1098205 h 3498714"/>
                  <a:gd name="connsiteX46" fmla="*/ 258001 w 4818179"/>
                  <a:gd name="connsiteY46" fmla="*/ 1444446 h 3498714"/>
                  <a:gd name="connsiteX47" fmla="*/ 257700 w 4818179"/>
                  <a:gd name="connsiteY47" fmla="*/ 1444370 h 3498714"/>
                  <a:gd name="connsiteX48" fmla="*/ 257700 w 4818179"/>
                  <a:gd name="connsiteY48" fmla="*/ 1912573 h 3498714"/>
                  <a:gd name="connsiteX49" fmla="*/ 128850 w 4818179"/>
                  <a:gd name="connsiteY49" fmla="*/ 2041423 h 3498714"/>
                  <a:gd name="connsiteX50" fmla="*/ 0 w 4818179"/>
                  <a:gd name="connsiteY50" fmla="*/ 1912573 h 3498714"/>
                  <a:gd name="connsiteX51" fmla="*/ 0 w 4818179"/>
                  <a:gd name="connsiteY51" fmla="*/ 1101802 h 3498714"/>
                  <a:gd name="connsiteX52" fmla="*/ 0 w 4818179"/>
                  <a:gd name="connsiteY52" fmla="*/ 1003338 h 3498714"/>
                  <a:gd name="connsiteX53" fmla="*/ 0 w 4818179"/>
                  <a:gd name="connsiteY53" fmla="*/ 982486 h 3498714"/>
                  <a:gd name="connsiteX54" fmla="*/ 12733 w 4818179"/>
                  <a:gd name="connsiteY54" fmla="*/ 894663 h 3498714"/>
                  <a:gd name="connsiteX55" fmla="*/ 20539 w 4818179"/>
                  <a:gd name="connsiteY55" fmla="*/ 868773 h 3498714"/>
                  <a:gd name="connsiteX56" fmla="*/ 358791 w 4818179"/>
                  <a:gd name="connsiteY56" fmla="*/ 644545 h 3498714"/>
                  <a:gd name="connsiteX57" fmla="*/ 682782 w 4818179"/>
                  <a:gd name="connsiteY57" fmla="*/ 0 h 3498714"/>
                  <a:gd name="connsiteX58" fmla="*/ 966919 w 4818179"/>
                  <a:gd name="connsiteY58" fmla="*/ 284138 h 3498714"/>
                  <a:gd name="connsiteX59" fmla="*/ 682782 w 4818179"/>
                  <a:gd name="connsiteY59" fmla="*/ 568275 h 3498714"/>
                  <a:gd name="connsiteX60" fmla="*/ 398645 w 4818179"/>
                  <a:gd name="connsiteY60" fmla="*/ 284138 h 3498714"/>
                  <a:gd name="connsiteX61" fmla="*/ 682782 w 4818179"/>
                  <a:gd name="connsiteY61" fmla="*/ 0 h 3498714"/>
                  <a:gd name="connsiteX62" fmla="*/ 4818179 w 4818179"/>
                  <a:gd name="connsiteY62" fmla="*/ 3013437 h 3498714"/>
                  <a:gd name="connsiteX63" fmla="*/ 4707054 w 4818179"/>
                  <a:gd name="connsiteY63" fmla="*/ 3124562 h 3498714"/>
                  <a:gd name="connsiteX64" fmla="*/ 4545125 w 4818179"/>
                  <a:gd name="connsiteY64" fmla="*/ 3124562 h 3498714"/>
                  <a:gd name="connsiteX65" fmla="*/ 4545125 w 4818179"/>
                  <a:gd name="connsiteY65" fmla="*/ 3361625 h 3498714"/>
                  <a:gd name="connsiteX66" fmla="*/ 4436113 w 4818179"/>
                  <a:gd name="connsiteY66" fmla="*/ 3470637 h 3498714"/>
                  <a:gd name="connsiteX67" fmla="*/ 4235039 w 4818179"/>
                  <a:gd name="connsiteY67" fmla="*/ 3470637 h 3498714"/>
                  <a:gd name="connsiteX68" fmla="*/ 2589325 w 4818179"/>
                  <a:gd name="connsiteY68" fmla="*/ 3124562 h 3498714"/>
                  <a:gd name="connsiteX69" fmla="*/ 2589325 w 4818179"/>
                  <a:gd name="connsiteY69" fmla="*/ 3361625 h 3498714"/>
                  <a:gd name="connsiteX70" fmla="*/ 2480313 w 4818179"/>
                  <a:gd name="connsiteY70" fmla="*/ 3470637 h 3498714"/>
                  <a:gd name="connsiteX71" fmla="*/ 2279239 w 4818179"/>
                  <a:gd name="connsiteY71" fmla="*/ 3470637 h 3498714"/>
                  <a:gd name="connsiteX72" fmla="*/ 2170227 w 4818179"/>
                  <a:gd name="connsiteY72" fmla="*/ 3361625 h 3498714"/>
                  <a:gd name="connsiteX73" fmla="*/ 2170227 w 4818179"/>
                  <a:gd name="connsiteY73" fmla="*/ 3124562 h 3498714"/>
                  <a:gd name="connsiteX74" fmla="*/ 2052754 w 4818179"/>
                  <a:gd name="connsiteY74" fmla="*/ 3124562 h 3498714"/>
                  <a:gd name="connsiteX75" fmla="*/ 1941629 w 4818179"/>
                  <a:gd name="connsiteY75" fmla="*/ 3013437 h 3498714"/>
                  <a:gd name="connsiteX76" fmla="*/ 2052754 w 4818179"/>
                  <a:gd name="connsiteY76" fmla="*/ 2902312 h 3498714"/>
                  <a:gd name="connsiteX77" fmla="*/ 682782 w 4818179"/>
                  <a:gd name="connsiteY77" fmla="*/ 0 h 3498714"/>
                  <a:gd name="connsiteX0" fmla="*/ 2251033 w 4707054"/>
                  <a:gd name="connsiteY0" fmla="*/ 2089512 h 3498714"/>
                  <a:gd name="connsiteX1" fmla="*/ 2070058 w 4707054"/>
                  <a:gd name="connsiteY1" fmla="*/ 2270487 h 3498714"/>
                  <a:gd name="connsiteX2" fmla="*/ 2251033 w 4707054"/>
                  <a:gd name="connsiteY2" fmla="*/ 2451462 h 3498714"/>
                  <a:gd name="connsiteX3" fmla="*/ 2432008 w 4707054"/>
                  <a:gd name="connsiteY3" fmla="*/ 2270487 h 3498714"/>
                  <a:gd name="connsiteX4" fmla="*/ 2251033 w 4707054"/>
                  <a:gd name="connsiteY4" fmla="*/ 2089512 h 3498714"/>
                  <a:gd name="connsiteX5" fmla="*/ 2842751 w 4707054"/>
                  <a:gd name="connsiteY5" fmla="*/ 1749356 h 3498714"/>
                  <a:gd name="connsiteX6" fmla="*/ 2392797 w 4707054"/>
                  <a:gd name="connsiteY6" fmla="*/ 1878907 h 3498714"/>
                  <a:gd name="connsiteX7" fmla="*/ 2478781 w 4707054"/>
                  <a:gd name="connsiteY7" fmla="*/ 1920808 h 3498714"/>
                  <a:gd name="connsiteX8" fmla="*/ 2842751 w 4707054"/>
                  <a:gd name="connsiteY8" fmla="*/ 1749356 h 3498714"/>
                  <a:gd name="connsiteX9" fmla="*/ 2534724 w 4707054"/>
                  <a:gd name="connsiteY9" fmla="*/ 982297 h 3498714"/>
                  <a:gd name="connsiteX10" fmla="*/ 1970999 w 4707054"/>
                  <a:gd name="connsiteY10" fmla="*/ 2826112 h 3498714"/>
                  <a:gd name="connsiteX11" fmla="*/ 1850348 w 4707054"/>
                  <a:gd name="connsiteY11" fmla="*/ 2705462 h 3498714"/>
                  <a:gd name="connsiteX12" fmla="*/ 1956769 w 4707054"/>
                  <a:gd name="connsiteY12" fmla="*/ 2587684 h 3498714"/>
                  <a:gd name="connsiteX13" fmla="*/ 1823360 w 4707054"/>
                  <a:gd name="connsiteY13" fmla="*/ 2279217 h 3498714"/>
                  <a:gd name="connsiteX14" fmla="*/ 2217440 w 4707054"/>
                  <a:gd name="connsiteY14" fmla="*/ 1856216 h 3498714"/>
                  <a:gd name="connsiteX15" fmla="*/ 2534724 w 4707054"/>
                  <a:gd name="connsiteY15" fmla="*/ 982297 h 3498714"/>
                  <a:gd name="connsiteX16" fmla="*/ 358791 w 4707054"/>
                  <a:gd name="connsiteY16" fmla="*/ 644545 h 3498714"/>
                  <a:gd name="connsiteX17" fmla="*/ 1006774 w 4707054"/>
                  <a:gd name="connsiteY17" fmla="*/ 644545 h 3498714"/>
                  <a:gd name="connsiteX18" fmla="*/ 1542636 w 4707054"/>
                  <a:gd name="connsiteY18" fmla="*/ 1193969 h 3498714"/>
                  <a:gd name="connsiteX19" fmla="*/ 1929878 w 4707054"/>
                  <a:gd name="connsiteY19" fmla="*/ 1193970 h 3498714"/>
                  <a:gd name="connsiteX20" fmla="*/ 2070059 w 4707054"/>
                  <a:gd name="connsiteY20" fmla="*/ 1334152 h 3498714"/>
                  <a:gd name="connsiteX21" fmla="*/ 1929878 w 4707054"/>
                  <a:gd name="connsiteY21" fmla="*/ 1474333 h 3498714"/>
                  <a:gd name="connsiteX22" fmla="*/ 1520943 w 4707054"/>
                  <a:gd name="connsiteY22" fmla="*/ 1470388 h 3498714"/>
                  <a:gd name="connsiteX23" fmla="*/ 1332825 w 4707054"/>
                  <a:gd name="connsiteY23" fmla="*/ 1367201 h 3498714"/>
                  <a:gd name="connsiteX24" fmla="*/ 1106501 w 4707054"/>
                  <a:gd name="connsiteY24" fmla="*/ 1098289 h 3498714"/>
                  <a:gd name="connsiteX25" fmla="*/ 1101049 w 4707054"/>
                  <a:gd name="connsiteY25" fmla="*/ 1092836 h 3498714"/>
                  <a:gd name="connsiteX26" fmla="*/ 1046523 w 4707054"/>
                  <a:gd name="connsiteY26" fmla="*/ 1092836 h 3498714"/>
                  <a:gd name="connsiteX27" fmla="*/ 1041071 w 4707054"/>
                  <a:gd name="connsiteY27" fmla="*/ 1098289 h 3498714"/>
                  <a:gd name="connsiteX28" fmla="*/ 1042136 w 4707054"/>
                  <a:gd name="connsiteY28" fmla="*/ 1419754 h 3498714"/>
                  <a:gd name="connsiteX29" fmla="*/ 1042136 w 4707054"/>
                  <a:gd name="connsiteY29" fmla="*/ 3337652 h 3498714"/>
                  <a:gd name="connsiteX30" fmla="*/ 881075 w 4707054"/>
                  <a:gd name="connsiteY30" fmla="*/ 3498714 h 3498714"/>
                  <a:gd name="connsiteX31" fmla="*/ 720012 w 4707054"/>
                  <a:gd name="connsiteY31" fmla="*/ 3337652 h 3498714"/>
                  <a:gd name="connsiteX32" fmla="*/ 720012 w 4707054"/>
                  <a:gd name="connsiteY32" fmla="*/ 2125717 h 3498714"/>
                  <a:gd name="connsiteX33" fmla="*/ 718947 w 4707054"/>
                  <a:gd name="connsiteY33" fmla="*/ 2033194 h 3498714"/>
                  <a:gd name="connsiteX34" fmla="*/ 714162 w 4707054"/>
                  <a:gd name="connsiteY34" fmla="*/ 2028410 h 3498714"/>
                  <a:gd name="connsiteX35" fmla="*/ 654759 w 4707054"/>
                  <a:gd name="connsiteY35" fmla="*/ 2028410 h 3498714"/>
                  <a:gd name="connsiteX36" fmla="*/ 649974 w 4707054"/>
                  <a:gd name="connsiteY36" fmla="*/ 2033194 h 3498714"/>
                  <a:gd name="connsiteX37" fmla="*/ 649974 w 4707054"/>
                  <a:gd name="connsiteY37" fmla="*/ 2125717 h 3498714"/>
                  <a:gd name="connsiteX38" fmla="*/ 649574 w 4707054"/>
                  <a:gd name="connsiteY38" fmla="*/ 3337652 h 3498714"/>
                  <a:gd name="connsiteX39" fmla="*/ 488511 w 4707054"/>
                  <a:gd name="connsiteY39" fmla="*/ 3498714 h 3498714"/>
                  <a:gd name="connsiteX40" fmla="*/ 327450 w 4707054"/>
                  <a:gd name="connsiteY40" fmla="*/ 3337652 h 3498714"/>
                  <a:gd name="connsiteX41" fmla="*/ 327450 w 4707054"/>
                  <a:gd name="connsiteY41" fmla="*/ 1458216 h 3498714"/>
                  <a:gd name="connsiteX42" fmla="*/ 322427 w 4707054"/>
                  <a:gd name="connsiteY42" fmla="*/ 1098205 h 3498714"/>
                  <a:gd name="connsiteX43" fmla="*/ 317058 w 4707054"/>
                  <a:gd name="connsiteY43" fmla="*/ 1092836 h 3498714"/>
                  <a:gd name="connsiteX44" fmla="*/ 263371 w 4707054"/>
                  <a:gd name="connsiteY44" fmla="*/ 1092836 h 3498714"/>
                  <a:gd name="connsiteX45" fmla="*/ 258001 w 4707054"/>
                  <a:gd name="connsiteY45" fmla="*/ 1098205 h 3498714"/>
                  <a:gd name="connsiteX46" fmla="*/ 258001 w 4707054"/>
                  <a:gd name="connsiteY46" fmla="*/ 1444446 h 3498714"/>
                  <a:gd name="connsiteX47" fmla="*/ 257700 w 4707054"/>
                  <a:gd name="connsiteY47" fmla="*/ 1444370 h 3498714"/>
                  <a:gd name="connsiteX48" fmla="*/ 257700 w 4707054"/>
                  <a:gd name="connsiteY48" fmla="*/ 1912573 h 3498714"/>
                  <a:gd name="connsiteX49" fmla="*/ 128850 w 4707054"/>
                  <a:gd name="connsiteY49" fmla="*/ 2041423 h 3498714"/>
                  <a:gd name="connsiteX50" fmla="*/ 0 w 4707054"/>
                  <a:gd name="connsiteY50" fmla="*/ 1912573 h 3498714"/>
                  <a:gd name="connsiteX51" fmla="*/ 0 w 4707054"/>
                  <a:gd name="connsiteY51" fmla="*/ 1101802 h 3498714"/>
                  <a:gd name="connsiteX52" fmla="*/ 0 w 4707054"/>
                  <a:gd name="connsiteY52" fmla="*/ 1003338 h 3498714"/>
                  <a:gd name="connsiteX53" fmla="*/ 0 w 4707054"/>
                  <a:gd name="connsiteY53" fmla="*/ 982486 h 3498714"/>
                  <a:gd name="connsiteX54" fmla="*/ 12733 w 4707054"/>
                  <a:gd name="connsiteY54" fmla="*/ 894663 h 3498714"/>
                  <a:gd name="connsiteX55" fmla="*/ 20539 w 4707054"/>
                  <a:gd name="connsiteY55" fmla="*/ 868773 h 3498714"/>
                  <a:gd name="connsiteX56" fmla="*/ 358791 w 4707054"/>
                  <a:gd name="connsiteY56" fmla="*/ 644545 h 3498714"/>
                  <a:gd name="connsiteX57" fmla="*/ 682782 w 4707054"/>
                  <a:gd name="connsiteY57" fmla="*/ 0 h 3498714"/>
                  <a:gd name="connsiteX58" fmla="*/ 966919 w 4707054"/>
                  <a:gd name="connsiteY58" fmla="*/ 284138 h 3498714"/>
                  <a:gd name="connsiteX59" fmla="*/ 682782 w 4707054"/>
                  <a:gd name="connsiteY59" fmla="*/ 568275 h 3498714"/>
                  <a:gd name="connsiteX60" fmla="*/ 398645 w 4707054"/>
                  <a:gd name="connsiteY60" fmla="*/ 284138 h 3498714"/>
                  <a:gd name="connsiteX61" fmla="*/ 682782 w 4707054"/>
                  <a:gd name="connsiteY61" fmla="*/ 0 h 3498714"/>
                  <a:gd name="connsiteX62" fmla="*/ 4707054 w 4707054"/>
                  <a:gd name="connsiteY62" fmla="*/ 3124562 h 3498714"/>
                  <a:gd name="connsiteX63" fmla="*/ 4545125 w 4707054"/>
                  <a:gd name="connsiteY63" fmla="*/ 3124562 h 3498714"/>
                  <a:gd name="connsiteX64" fmla="*/ 4545125 w 4707054"/>
                  <a:gd name="connsiteY64" fmla="*/ 3361625 h 3498714"/>
                  <a:gd name="connsiteX65" fmla="*/ 4436113 w 4707054"/>
                  <a:gd name="connsiteY65" fmla="*/ 3470637 h 3498714"/>
                  <a:gd name="connsiteX66" fmla="*/ 4235039 w 4707054"/>
                  <a:gd name="connsiteY66" fmla="*/ 3470637 h 3498714"/>
                  <a:gd name="connsiteX67" fmla="*/ 2589325 w 4707054"/>
                  <a:gd name="connsiteY67" fmla="*/ 3124562 h 3498714"/>
                  <a:gd name="connsiteX68" fmla="*/ 2589325 w 4707054"/>
                  <a:gd name="connsiteY68" fmla="*/ 3361625 h 3498714"/>
                  <a:gd name="connsiteX69" fmla="*/ 2480313 w 4707054"/>
                  <a:gd name="connsiteY69" fmla="*/ 3470637 h 3498714"/>
                  <a:gd name="connsiteX70" fmla="*/ 2279239 w 4707054"/>
                  <a:gd name="connsiteY70" fmla="*/ 3470637 h 3498714"/>
                  <a:gd name="connsiteX71" fmla="*/ 2170227 w 4707054"/>
                  <a:gd name="connsiteY71" fmla="*/ 3361625 h 3498714"/>
                  <a:gd name="connsiteX72" fmla="*/ 2170227 w 4707054"/>
                  <a:gd name="connsiteY72" fmla="*/ 3124562 h 3498714"/>
                  <a:gd name="connsiteX73" fmla="*/ 2052754 w 4707054"/>
                  <a:gd name="connsiteY73" fmla="*/ 3124562 h 3498714"/>
                  <a:gd name="connsiteX74" fmla="*/ 1941629 w 4707054"/>
                  <a:gd name="connsiteY74" fmla="*/ 3013437 h 3498714"/>
                  <a:gd name="connsiteX75" fmla="*/ 2052754 w 4707054"/>
                  <a:gd name="connsiteY75" fmla="*/ 2902312 h 3498714"/>
                  <a:gd name="connsiteX76" fmla="*/ 682782 w 4707054"/>
                  <a:gd name="connsiteY76" fmla="*/ 0 h 3498714"/>
                  <a:gd name="connsiteX0" fmla="*/ 2251033 w 4545125"/>
                  <a:gd name="connsiteY0" fmla="*/ 2089512 h 3498714"/>
                  <a:gd name="connsiteX1" fmla="*/ 2070058 w 4545125"/>
                  <a:gd name="connsiteY1" fmla="*/ 2270487 h 3498714"/>
                  <a:gd name="connsiteX2" fmla="*/ 2251033 w 4545125"/>
                  <a:gd name="connsiteY2" fmla="*/ 2451462 h 3498714"/>
                  <a:gd name="connsiteX3" fmla="*/ 2432008 w 4545125"/>
                  <a:gd name="connsiteY3" fmla="*/ 2270487 h 3498714"/>
                  <a:gd name="connsiteX4" fmla="*/ 2251033 w 4545125"/>
                  <a:gd name="connsiteY4" fmla="*/ 2089512 h 3498714"/>
                  <a:gd name="connsiteX5" fmla="*/ 2842751 w 4545125"/>
                  <a:gd name="connsiteY5" fmla="*/ 1749356 h 3498714"/>
                  <a:gd name="connsiteX6" fmla="*/ 2392797 w 4545125"/>
                  <a:gd name="connsiteY6" fmla="*/ 1878907 h 3498714"/>
                  <a:gd name="connsiteX7" fmla="*/ 2478781 w 4545125"/>
                  <a:gd name="connsiteY7" fmla="*/ 1920808 h 3498714"/>
                  <a:gd name="connsiteX8" fmla="*/ 2842751 w 4545125"/>
                  <a:gd name="connsiteY8" fmla="*/ 1749356 h 3498714"/>
                  <a:gd name="connsiteX9" fmla="*/ 2534724 w 4545125"/>
                  <a:gd name="connsiteY9" fmla="*/ 982297 h 3498714"/>
                  <a:gd name="connsiteX10" fmla="*/ 1970999 w 4545125"/>
                  <a:gd name="connsiteY10" fmla="*/ 2826112 h 3498714"/>
                  <a:gd name="connsiteX11" fmla="*/ 1850348 w 4545125"/>
                  <a:gd name="connsiteY11" fmla="*/ 2705462 h 3498714"/>
                  <a:gd name="connsiteX12" fmla="*/ 1956769 w 4545125"/>
                  <a:gd name="connsiteY12" fmla="*/ 2587684 h 3498714"/>
                  <a:gd name="connsiteX13" fmla="*/ 1823360 w 4545125"/>
                  <a:gd name="connsiteY13" fmla="*/ 2279217 h 3498714"/>
                  <a:gd name="connsiteX14" fmla="*/ 2217440 w 4545125"/>
                  <a:gd name="connsiteY14" fmla="*/ 1856216 h 3498714"/>
                  <a:gd name="connsiteX15" fmla="*/ 2534724 w 4545125"/>
                  <a:gd name="connsiteY15" fmla="*/ 982297 h 3498714"/>
                  <a:gd name="connsiteX16" fmla="*/ 358791 w 4545125"/>
                  <a:gd name="connsiteY16" fmla="*/ 644545 h 3498714"/>
                  <a:gd name="connsiteX17" fmla="*/ 1006774 w 4545125"/>
                  <a:gd name="connsiteY17" fmla="*/ 644545 h 3498714"/>
                  <a:gd name="connsiteX18" fmla="*/ 1542636 w 4545125"/>
                  <a:gd name="connsiteY18" fmla="*/ 1193969 h 3498714"/>
                  <a:gd name="connsiteX19" fmla="*/ 1929878 w 4545125"/>
                  <a:gd name="connsiteY19" fmla="*/ 1193970 h 3498714"/>
                  <a:gd name="connsiteX20" fmla="*/ 2070059 w 4545125"/>
                  <a:gd name="connsiteY20" fmla="*/ 1334152 h 3498714"/>
                  <a:gd name="connsiteX21" fmla="*/ 1929878 w 4545125"/>
                  <a:gd name="connsiteY21" fmla="*/ 1474333 h 3498714"/>
                  <a:gd name="connsiteX22" fmla="*/ 1520943 w 4545125"/>
                  <a:gd name="connsiteY22" fmla="*/ 1470388 h 3498714"/>
                  <a:gd name="connsiteX23" fmla="*/ 1332825 w 4545125"/>
                  <a:gd name="connsiteY23" fmla="*/ 1367201 h 3498714"/>
                  <a:gd name="connsiteX24" fmla="*/ 1106501 w 4545125"/>
                  <a:gd name="connsiteY24" fmla="*/ 1098289 h 3498714"/>
                  <a:gd name="connsiteX25" fmla="*/ 1101049 w 4545125"/>
                  <a:gd name="connsiteY25" fmla="*/ 1092836 h 3498714"/>
                  <a:gd name="connsiteX26" fmla="*/ 1046523 w 4545125"/>
                  <a:gd name="connsiteY26" fmla="*/ 1092836 h 3498714"/>
                  <a:gd name="connsiteX27" fmla="*/ 1041071 w 4545125"/>
                  <a:gd name="connsiteY27" fmla="*/ 1098289 h 3498714"/>
                  <a:gd name="connsiteX28" fmla="*/ 1042136 w 4545125"/>
                  <a:gd name="connsiteY28" fmla="*/ 1419754 h 3498714"/>
                  <a:gd name="connsiteX29" fmla="*/ 1042136 w 4545125"/>
                  <a:gd name="connsiteY29" fmla="*/ 3337652 h 3498714"/>
                  <a:gd name="connsiteX30" fmla="*/ 881075 w 4545125"/>
                  <a:gd name="connsiteY30" fmla="*/ 3498714 h 3498714"/>
                  <a:gd name="connsiteX31" fmla="*/ 720012 w 4545125"/>
                  <a:gd name="connsiteY31" fmla="*/ 3337652 h 3498714"/>
                  <a:gd name="connsiteX32" fmla="*/ 720012 w 4545125"/>
                  <a:gd name="connsiteY32" fmla="*/ 2125717 h 3498714"/>
                  <a:gd name="connsiteX33" fmla="*/ 718947 w 4545125"/>
                  <a:gd name="connsiteY33" fmla="*/ 2033194 h 3498714"/>
                  <a:gd name="connsiteX34" fmla="*/ 714162 w 4545125"/>
                  <a:gd name="connsiteY34" fmla="*/ 2028410 h 3498714"/>
                  <a:gd name="connsiteX35" fmla="*/ 654759 w 4545125"/>
                  <a:gd name="connsiteY35" fmla="*/ 2028410 h 3498714"/>
                  <a:gd name="connsiteX36" fmla="*/ 649974 w 4545125"/>
                  <a:gd name="connsiteY36" fmla="*/ 2033194 h 3498714"/>
                  <a:gd name="connsiteX37" fmla="*/ 649974 w 4545125"/>
                  <a:gd name="connsiteY37" fmla="*/ 2125717 h 3498714"/>
                  <a:gd name="connsiteX38" fmla="*/ 649574 w 4545125"/>
                  <a:gd name="connsiteY38" fmla="*/ 3337652 h 3498714"/>
                  <a:gd name="connsiteX39" fmla="*/ 488511 w 4545125"/>
                  <a:gd name="connsiteY39" fmla="*/ 3498714 h 3498714"/>
                  <a:gd name="connsiteX40" fmla="*/ 327450 w 4545125"/>
                  <a:gd name="connsiteY40" fmla="*/ 3337652 h 3498714"/>
                  <a:gd name="connsiteX41" fmla="*/ 327450 w 4545125"/>
                  <a:gd name="connsiteY41" fmla="*/ 1458216 h 3498714"/>
                  <a:gd name="connsiteX42" fmla="*/ 322427 w 4545125"/>
                  <a:gd name="connsiteY42" fmla="*/ 1098205 h 3498714"/>
                  <a:gd name="connsiteX43" fmla="*/ 317058 w 4545125"/>
                  <a:gd name="connsiteY43" fmla="*/ 1092836 h 3498714"/>
                  <a:gd name="connsiteX44" fmla="*/ 263371 w 4545125"/>
                  <a:gd name="connsiteY44" fmla="*/ 1092836 h 3498714"/>
                  <a:gd name="connsiteX45" fmla="*/ 258001 w 4545125"/>
                  <a:gd name="connsiteY45" fmla="*/ 1098205 h 3498714"/>
                  <a:gd name="connsiteX46" fmla="*/ 258001 w 4545125"/>
                  <a:gd name="connsiteY46" fmla="*/ 1444446 h 3498714"/>
                  <a:gd name="connsiteX47" fmla="*/ 257700 w 4545125"/>
                  <a:gd name="connsiteY47" fmla="*/ 1444370 h 3498714"/>
                  <a:gd name="connsiteX48" fmla="*/ 257700 w 4545125"/>
                  <a:gd name="connsiteY48" fmla="*/ 1912573 h 3498714"/>
                  <a:gd name="connsiteX49" fmla="*/ 128850 w 4545125"/>
                  <a:gd name="connsiteY49" fmla="*/ 2041423 h 3498714"/>
                  <a:gd name="connsiteX50" fmla="*/ 0 w 4545125"/>
                  <a:gd name="connsiteY50" fmla="*/ 1912573 h 3498714"/>
                  <a:gd name="connsiteX51" fmla="*/ 0 w 4545125"/>
                  <a:gd name="connsiteY51" fmla="*/ 1101802 h 3498714"/>
                  <a:gd name="connsiteX52" fmla="*/ 0 w 4545125"/>
                  <a:gd name="connsiteY52" fmla="*/ 1003338 h 3498714"/>
                  <a:gd name="connsiteX53" fmla="*/ 0 w 4545125"/>
                  <a:gd name="connsiteY53" fmla="*/ 982486 h 3498714"/>
                  <a:gd name="connsiteX54" fmla="*/ 12733 w 4545125"/>
                  <a:gd name="connsiteY54" fmla="*/ 894663 h 3498714"/>
                  <a:gd name="connsiteX55" fmla="*/ 20539 w 4545125"/>
                  <a:gd name="connsiteY55" fmla="*/ 868773 h 3498714"/>
                  <a:gd name="connsiteX56" fmla="*/ 358791 w 4545125"/>
                  <a:gd name="connsiteY56" fmla="*/ 644545 h 3498714"/>
                  <a:gd name="connsiteX57" fmla="*/ 682782 w 4545125"/>
                  <a:gd name="connsiteY57" fmla="*/ 0 h 3498714"/>
                  <a:gd name="connsiteX58" fmla="*/ 966919 w 4545125"/>
                  <a:gd name="connsiteY58" fmla="*/ 284138 h 3498714"/>
                  <a:gd name="connsiteX59" fmla="*/ 682782 w 4545125"/>
                  <a:gd name="connsiteY59" fmla="*/ 568275 h 3498714"/>
                  <a:gd name="connsiteX60" fmla="*/ 398645 w 4545125"/>
                  <a:gd name="connsiteY60" fmla="*/ 284138 h 3498714"/>
                  <a:gd name="connsiteX61" fmla="*/ 682782 w 4545125"/>
                  <a:gd name="connsiteY61" fmla="*/ 0 h 3498714"/>
                  <a:gd name="connsiteX62" fmla="*/ 4545125 w 4545125"/>
                  <a:gd name="connsiteY62" fmla="*/ 3124562 h 3498714"/>
                  <a:gd name="connsiteX63" fmla="*/ 4545125 w 4545125"/>
                  <a:gd name="connsiteY63" fmla="*/ 3361625 h 3498714"/>
                  <a:gd name="connsiteX64" fmla="*/ 4436113 w 4545125"/>
                  <a:gd name="connsiteY64" fmla="*/ 3470637 h 3498714"/>
                  <a:gd name="connsiteX65" fmla="*/ 4235039 w 4545125"/>
                  <a:gd name="connsiteY65" fmla="*/ 3470637 h 3498714"/>
                  <a:gd name="connsiteX66" fmla="*/ 2589325 w 4545125"/>
                  <a:gd name="connsiteY66" fmla="*/ 3124562 h 3498714"/>
                  <a:gd name="connsiteX67" fmla="*/ 2589325 w 4545125"/>
                  <a:gd name="connsiteY67" fmla="*/ 3361625 h 3498714"/>
                  <a:gd name="connsiteX68" fmla="*/ 2480313 w 4545125"/>
                  <a:gd name="connsiteY68" fmla="*/ 3470637 h 3498714"/>
                  <a:gd name="connsiteX69" fmla="*/ 2279239 w 4545125"/>
                  <a:gd name="connsiteY69" fmla="*/ 3470637 h 3498714"/>
                  <a:gd name="connsiteX70" fmla="*/ 2170227 w 4545125"/>
                  <a:gd name="connsiteY70" fmla="*/ 3361625 h 3498714"/>
                  <a:gd name="connsiteX71" fmla="*/ 2170227 w 4545125"/>
                  <a:gd name="connsiteY71" fmla="*/ 3124562 h 3498714"/>
                  <a:gd name="connsiteX72" fmla="*/ 2052754 w 4545125"/>
                  <a:gd name="connsiteY72" fmla="*/ 3124562 h 3498714"/>
                  <a:gd name="connsiteX73" fmla="*/ 1941629 w 4545125"/>
                  <a:gd name="connsiteY73" fmla="*/ 3013437 h 3498714"/>
                  <a:gd name="connsiteX74" fmla="*/ 2052754 w 4545125"/>
                  <a:gd name="connsiteY74" fmla="*/ 2902312 h 3498714"/>
                  <a:gd name="connsiteX75" fmla="*/ 682782 w 4545125"/>
                  <a:gd name="connsiteY75" fmla="*/ 0 h 3498714"/>
                  <a:gd name="connsiteX0" fmla="*/ 2251033 w 4545125"/>
                  <a:gd name="connsiteY0" fmla="*/ 2089512 h 3498714"/>
                  <a:gd name="connsiteX1" fmla="*/ 2070058 w 4545125"/>
                  <a:gd name="connsiteY1" fmla="*/ 2270487 h 3498714"/>
                  <a:gd name="connsiteX2" fmla="*/ 2251033 w 4545125"/>
                  <a:gd name="connsiteY2" fmla="*/ 2451462 h 3498714"/>
                  <a:gd name="connsiteX3" fmla="*/ 2432008 w 4545125"/>
                  <a:gd name="connsiteY3" fmla="*/ 2270487 h 3498714"/>
                  <a:gd name="connsiteX4" fmla="*/ 2251033 w 4545125"/>
                  <a:gd name="connsiteY4" fmla="*/ 2089512 h 3498714"/>
                  <a:gd name="connsiteX5" fmla="*/ 2842751 w 4545125"/>
                  <a:gd name="connsiteY5" fmla="*/ 1749356 h 3498714"/>
                  <a:gd name="connsiteX6" fmla="*/ 2392797 w 4545125"/>
                  <a:gd name="connsiteY6" fmla="*/ 1878907 h 3498714"/>
                  <a:gd name="connsiteX7" fmla="*/ 2478781 w 4545125"/>
                  <a:gd name="connsiteY7" fmla="*/ 1920808 h 3498714"/>
                  <a:gd name="connsiteX8" fmla="*/ 2842751 w 4545125"/>
                  <a:gd name="connsiteY8" fmla="*/ 1749356 h 3498714"/>
                  <a:gd name="connsiteX9" fmla="*/ 2534724 w 4545125"/>
                  <a:gd name="connsiteY9" fmla="*/ 982297 h 3498714"/>
                  <a:gd name="connsiteX10" fmla="*/ 1970999 w 4545125"/>
                  <a:gd name="connsiteY10" fmla="*/ 2826112 h 3498714"/>
                  <a:gd name="connsiteX11" fmla="*/ 1850348 w 4545125"/>
                  <a:gd name="connsiteY11" fmla="*/ 2705462 h 3498714"/>
                  <a:gd name="connsiteX12" fmla="*/ 1956769 w 4545125"/>
                  <a:gd name="connsiteY12" fmla="*/ 2587684 h 3498714"/>
                  <a:gd name="connsiteX13" fmla="*/ 1823360 w 4545125"/>
                  <a:gd name="connsiteY13" fmla="*/ 2279217 h 3498714"/>
                  <a:gd name="connsiteX14" fmla="*/ 2217440 w 4545125"/>
                  <a:gd name="connsiteY14" fmla="*/ 1856216 h 3498714"/>
                  <a:gd name="connsiteX15" fmla="*/ 2534724 w 4545125"/>
                  <a:gd name="connsiteY15" fmla="*/ 982297 h 3498714"/>
                  <a:gd name="connsiteX16" fmla="*/ 358791 w 4545125"/>
                  <a:gd name="connsiteY16" fmla="*/ 644545 h 3498714"/>
                  <a:gd name="connsiteX17" fmla="*/ 1006774 w 4545125"/>
                  <a:gd name="connsiteY17" fmla="*/ 644545 h 3498714"/>
                  <a:gd name="connsiteX18" fmla="*/ 1542636 w 4545125"/>
                  <a:gd name="connsiteY18" fmla="*/ 1193969 h 3498714"/>
                  <a:gd name="connsiteX19" fmla="*/ 1929878 w 4545125"/>
                  <a:gd name="connsiteY19" fmla="*/ 1193970 h 3498714"/>
                  <a:gd name="connsiteX20" fmla="*/ 2070059 w 4545125"/>
                  <a:gd name="connsiteY20" fmla="*/ 1334152 h 3498714"/>
                  <a:gd name="connsiteX21" fmla="*/ 1929878 w 4545125"/>
                  <a:gd name="connsiteY21" fmla="*/ 1474333 h 3498714"/>
                  <a:gd name="connsiteX22" fmla="*/ 1520943 w 4545125"/>
                  <a:gd name="connsiteY22" fmla="*/ 1470388 h 3498714"/>
                  <a:gd name="connsiteX23" fmla="*/ 1332825 w 4545125"/>
                  <a:gd name="connsiteY23" fmla="*/ 1367201 h 3498714"/>
                  <a:gd name="connsiteX24" fmla="*/ 1106501 w 4545125"/>
                  <a:gd name="connsiteY24" fmla="*/ 1098289 h 3498714"/>
                  <a:gd name="connsiteX25" fmla="*/ 1101049 w 4545125"/>
                  <a:gd name="connsiteY25" fmla="*/ 1092836 h 3498714"/>
                  <a:gd name="connsiteX26" fmla="*/ 1046523 w 4545125"/>
                  <a:gd name="connsiteY26" fmla="*/ 1092836 h 3498714"/>
                  <a:gd name="connsiteX27" fmla="*/ 1041071 w 4545125"/>
                  <a:gd name="connsiteY27" fmla="*/ 1098289 h 3498714"/>
                  <a:gd name="connsiteX28" fmla="*/ 1042136 w 4545125"/>
                  <a:gd name="connsiteY28" fmla="*/ 1419754 h 3498714"/>
                  <a:gd name="connsiteX29" fmla="*/ 1042136 w 4545125"/>
                  <a:gd name="connsiteY29" fmla="*/ 3337652 h 3498714"/>
                  <a:gd name="connsiteX30" fmla="*/ 881075 w 4545125"/>
                  <a:gd name="connsiteY30" fmla="*/ 3498714 h 3498714"/>
                  <a:gd name="connsiteX31" fmla="*/ 720012 w 4545125"/>
                  <a:gd name="connsiteY31" fmla="*/ 3337652 h 3498714"/>
                  <a:gd name="connsiteX32" fmla="*/ 720012 w 4545125"/>
                  <a:gd name="connsiteY32" fmla="*/ 2125717 h 3498714"/>
                  <a:gd name="connsiteX33" fmla="*/ 718947 w 4545125"/>
                  <a:gd name="connsiteY33" fmla="*/ 2033194 h 3498714"/>
                  <a:gd name="connsiteX34" fmla="*/ 714162 w 4545125"/>
                  <a:gd name="connsiteY34" fmla="*/ 2028410 h 3498714"/>
                  <a:gd name="connsiteX35" fmla="*/ 654759 w 4545125"/>
                  <a:gd name="connsiteY35" fmla="*/ 2028410 h 3498714"/>
                  <a:gd name="connsiteX36" fmla="*/ 649974 w 4545125"/>
                  <a:gd name="connsiteY36" fmla="*/ 2033194 h 3498714"/>
                  <a:gd name="connsiteX37" fmla="*/ 649974 w 4545125"/>
                  <a:gd name="connsiteY37" fmla="*/ 2125717 h 3498714"/>
                  <a:gd name="connsiteX38" fmla="*/ 649574 w 4545125"/>
                  <a:gd name="connsiteY38" fmla="*/ 3337652 h 3498714"/>
                  <a:gd name="connsiteX39" fmla="*/ 488511 w 4545125"/>
                  <a:gd name="connsiteY39" fmla="*/ 3498714 h 3498714"/>
                  <a:gd name="connsiteX40" fmla="*/ 327450 w 4545125"/>
                  <a:gd name="connsiteY40" fmla="*/ 3337652 h 3498714"/>
                  <a:gd name="connsiteX41" fmla="*/ 327450 w 4545125"/>
                  <a:gd name="connsiteY41" fmla="*/ 1458216 h 3498714"/>
                  <a:gd name="connsiteX42" fmla="*/ 322427 w 4545125"/>
                  <a:gd name="connsiteY42" fmla="*/ 1098205 h 3498714"/>
                  <a:gd name="connsiteX43" fmla="*/ 317058 w 4545125"/>
                  <a:gd name="connsiteY43" fmla="*/ 1092836 h 3498714"/>
                  <a:gd name="connsiteX44" fmla="*/ 263371 w 4545125"/>
                  <a:gd name="connsiteY44" fmla="*/ 1092836 h 3498714"/>
                  <a:gd name="connsiteX45" fmla="*/ 258001 w 4545125"/>
                  <a:gd name="connsiteY45" fmla="*/ 1098205 h 3498714"/>
                  <a:gd name="connsiteX46" fmla="*/ 258001 w 4545125"/>
                  <a:gd name="connsiteY46" fmla="*/ 1444446 h 3498714"/>
                  <a:gd name="connsiteX47" fmla="*/ 257700 w 4545125"/>
                  <a:gd name="connsiteY47" fmla="*/ 1444370 h 3498714"/>
                  <a:gd name="connsiteX48" fmla="*/ 257700 w 4545125"/>
                  <a:gd name="connsiteY48" fmla="*/ 1912573 h 3498714"/>
                  <a:gd name="connsiteX49" fmla="*/ 128850 w 4545125"/>
                  <a:gd name="connsiteY49" fmla="*/ 2041423 h 3498714"/>
                  <a:gd name="connsiteX50" fmla="*/ 0 w 4545125"/>
                  <a:gd name="connsiteY50" fmla="*/ 1912573 h 3498714"/>
                  <a:gd name="connsiteX51" fmla="*/ 0 w 4545125"/>
                  <a:gd name="connsiteY51" fmla="*/ 1101802 h 3498714"/>
                  <a:gd name="connsiteX52" fmla="*/ 0 w 4545125"/>
                  <a:gd name="connsiteY52" fmla="*/ 1003338 h 3498714"/>
                  <a:gd name="connsiteX53" fmla="*/ 0 w 4545125"/>
                  <a:gd name="connsiteY53" fmla="*/ 982486 h 3498714"/>
                  <a:gd name="connsiteX54" fmla="*/ 12733 w 4545125"/>
                  <a:gd name="connsiteY54" fmla="*/ 894663 h 3498714"/>
                  <a:gd name="connsiteX55" fmla="*/ 20539 w 4545125"/>
                  <a:gd name="connsiteY55" fmla="*/ 868773 h 3498714"/>
                  <a:gd name="connsiteX56" fmla="*/ 358791 w 4545125"/>
                  <a:gd name="connsiteY56" fmla="*/ 644545 h 3498714"/>
                  <a:gd name="connsiteX57" fmla="*/ 682782 w 4545125"/>
                  <a:gd name="connsiteY57" fmla="*/ 0 h 3498714"/>
                  <a:gd name="connsiteX58" fmla="*/ 966919 w 4545125"/>
                  <a:gd name="connsiteY58" fmla="*/ 284138 h 3498714"/>
                  <a:gd name="connsiteX59" fmla="*/ 682782 w 4545125"/>
                  <a:gd name="connsiteY59" fmla="*/ 568275 h 3498714"/>
                  <a:gd name="connsiteX60" fmla="*/ 398645 w 4545125"/>
                  <a:gd name="connsiteY60" fmla="*/ 284138 h 3498714"/>
                  <a:gd name="connsiteX61" fmla="*/ 682782 w 4545125"/>
                  <a:gd name="connsiteY61" fmla="*/ 0 h 3498714"/>
                  <a:gd name="connsiteX62" fmla="*/ 4545125 w 4545125"/>
                  <a:gd name="connsiteY62" fmla="*/ 3361625 h 3498714"/>
                  <a:gd name="connsiteX63" fmla="*/ 4436113 w 4545125"/>
                  <a:gd name="connsiteY63" fmla="*/ 3470637 h 3498714"/>
                  <a:gd name="connsiteX64" fmla="*/ 4235039 w 4545125"/>
                  <a:gd name="connsiteY64" fmla="*/ 3470637 h 3498714"/>
                  <a:gd name="connsiteX65" fmla="*/ 2589325 w 4545125"/>
                  <a:gd name="connsiteY65" fmla="*/ 3124562 h 3498714"/>
                  <a:gd name="connsiteX66" fmla="*/ 2589325 w 4545125"/>
                  <a:gd name="connsiteY66" fmla="*/ 3361625 h 3498714"/>
                  <a:gd name="connsiteX67" fmla="*/ 2480313 w 4545125"/>
                  <a:gd name="connsiteY67" fmla="*/ 3470637 h 3498714"/>
                  <a:gd name="connsiteX68" fmla="*/ 2279239 w 4545125"/>
                  <a:gd name="connsiteY68" fmla="*/ 3470637 h 3498714"/>
                  <a:gd name="connsiteX69" fmla="*/ 2170227 w 4545125"/>
                  <a:gd name="connsiteY69" fmla="*/ 3361625 h 3498714"/>
                  <a:gd name="connsiteX70" fmla="*/ 2170227 w 4545125"/>
                  <a:gd name="connsiteY70" fmla="*/ 3124562 h 3498714"/>
                  <a:gd name="connsiteX71" fmla="*/ 2052754 w 4545125"/>
                  <a:gd name="connsiteY71" fmla="*/ 3124562 h 3498714"/>
                  <a:gd name="connsiteX72" fmla="*/ 1941629 w 4545125"/>
                  <a:gd name="connsiteY72" fmla="*/ 3013437 h 3498714"/>
                  <a:gd name="connsiteX73" fmla="*/ 2052754 w 4545125"/>
                  <a:gd name="connsiteY73" fmla="*/ 2902312 h 3498714"/>
                  <a:gd name="connsiteX74" fmla="*/ 682782 w 4545125"/>
                  <a:gd name="connsiteY74" fmla="*/ 0 h 3498714"/>
                  <a:gd name="connsiteX0" fmla="*/ 2251033 w 4436113"/>
                  <a:gd name="connsiteY0" fmla="*/ 2089512 h 3498714"/>
                  <a:gd name="connsiteX1" fmla="*/ 2070058 w 4436113"/>
                  <a:gd name="connsiteY1" fmla="*/ 2270487 h 3498714"/>
                  <a:gd name="connsiteX2" fmla="*/ 2251033 w 4436113"/>
                  <a:gd name="connsiteY2" fmla="*/ 2451462 h 3498714"/>
                  <a:gd name="connsiteX3" fmla="*/ 2432008 w 4436113"/>
                  <a:gd name="connsiteY3" fmla="*/ 2270487 h 3498714"/>
                  <a:gd name="connsiteX4" fmla="*/ 2251033 w 4436113"/>
                  <a:gd name="connsiteY4" fmla="*/ 2089512 h 3498714"/>
                  <a:gd name="connsiteX5" fmla="*/ 2842751 w 4436113"/>
                  <a:gd name="connsiteY5" fmla="*/ 1749356 h 3498714"/>
                  <a:gd name="connsiteX6" fmla="*/ 2392797 w 4436113"/>
                  <a:gd name="connsiteY6" fmla="*/ 1878907 h 3498714"/>
                  <a:gd name="connsiteX7" fmla="*/ 2478781 w 4436113"/>
                  <a:gd name="connsiteY7" fmla="*/ 1920808 h 3498714"/>
                  <a:gd name="connsiteX8" fmla="*/ 2842751 w 4436113"/>
                  <a:gd name="connsiteY8" fmla="*/ 1749356 h 3498714"/>
                  <a:gd name="connsiteX9" fmla="*/ 2534724 w 4436113"/>
                  <a:gd name="connsiteY9" fmla="*/ 982297 h 3498714"/>
                  <a:gd name="connsiteX10" fmla="*/ 1970999 w 4436113"/>
                  <a:gd name="connsiteY10" fmla="*/ 2826112 h 3498714"/>
                  <a:gd name="connsiteX11" fmla="*/ 1850348 w 4436113"/>
                  <a:gd name="connsiteY11" fmla="*/ 2705462 h 3498714"/>
                  <a:gd name="connsiteX12" fmla="*/ 1956769 w 4436113"/>
                  <a:gd name="connsiteY12" fmla="*/ 2587684 h 3498714"/>
                  <a:gd name="connsiteX13" fmla="*/ 1823360 w 4436113"/>
                  <a:gd name="connsiteY13" fmla="*/ 2279217 h 3498714"/>
                  <a:gd name="connsiteX14" fmla="*/ 2217440 w 4436113"/>
                  <a:gd name="connsiteY14" fmla="*/ 1856216 h 3498714"/>
                  <a:gd name="connsiteX15" fmla="*/ 2534724 w 4436113"/>
                  <a:gd name="connsiteY15" fmla="*/ 982297 h 3498714"/>
                  <a:gd name="connsiteX16" fmla="*/ 358791 w 4436113"/>
                  <a:gd name="connsiteY16" fmla="*/ 644545 h 3498714"/>
                  <a:gd name="connsiteX17" fmla="*/ 1006774 w 4436113"/>
                  <a:gd name="connsiteY17" fmla="*/ 644545 h 3498714"/>
                  <a:gd name="connsiteX18" fmla="*/ 1542636 w 4436113"/>
                  <a:gd name="connsiteY18" fmla="*/ 1193969 h 3498714"/>
                  <a:gd name="connsiteX19" fmla="*/ 1929878 w 4436113"/>
                  <a:gd name="connsiteY19" fmla="*/ 1193970 h 3498714"/>
                  <a:gd name="connsiteX20" fmla="*/ 2070059 w 4436113"/>
                  <a:gd name="connsiteY20" fmla="*/ 1334152 h 3498714"/>
                  <a:gd name="connsiteX21" fmla="*/ 1929878 w 4436113"/>
                  <a:gd name="connsiteY21" fmla="*/ 1474333 h 3498714"/>
                  <a:gd name="connsiteX22" fmla="*/ 1520943 w 4436113"/>
                  <a:gd name="connsiteY22" fmla="*/ 1470388 h 3498714"/>
                  <a:gd name="connsiteX23" fmla="*/ 1332825 w 4436113"/>
                  <a:gd name="connsiteY23" fmla="*/ 1367201 h 3498714"/>
                  <a:gd name="connsiteX24" fmla="*/ 1106501 w 4436113"/>
                  <a:gd name="connsiteY24" fmla="*/ 1098289 h 3498714"/>
                  <a:gd name="connsiteX25" fmla="*/ 1101049 w 4436113"/>
                  <a:gd name="connsiteY25" fmla="*/ 1092836 h 3498714"/>
                  <a:gd name="connsiteX26" fmla="*/ 1046523 w 4436113"/>
                  <a:gd name="connsiteY26" fmla="*/ 1092836 h 3498714"/>
                  <a:gd name="connsiteX27" fmla="*/ 1041071 w 4436113"/>
                  <a:gd name="connsiteY27" fmla="*/ 1098289 h 3498714"/>
                  <a:gd name="connsiteX28" fmla="*/ 1042136 w 4436113"/>
                  <a:gd name="connsiteY28" fmla="*/ 1419754 h 3498714"/>
                  <a:gd name="connsiteX29" fmla="*/ 1042136 w 4436113"/>
                  <a:gd name="connsiteY29" fmla="*/ 3337652 h 3498714"/>
                  <a:gd name="connsiteX30" fmla="*/ 881075 w 4436113"/>
                  <a:gd name="connsiteY30" fmla="*/ 3498714 h 3498714"/>
                  <a:gd name="connsiteX31" fmla="*/ 720012 w 4436113"/>
                  <a:gd name="connsiteY31" fmla="*/ 3337652 h 3498714"/>
                  <a:gd name="connsiteX32" fmla="*/ 720012 w 4436113"/>
                  <a:gd name="connsiteY32" fmla="*/ 2125717 h 3498714"/>
                  <a:gd name="connsiteX33" fmla="*/ 718947 w 4436113"/>
                  <a:gd name="connsiteY33" fmla="*/ 2033194 h 3498714"/>
                  <a:gd name="connsiteX34" fmla="*/ 714162 w 4436113"/>
                  <a:gd name="connsiteY34" fmla="*/ 2028410 h 3498714"/>
                  <a:gd name="connsiteX35" fmla="*/ 654759 w 4436113"/>
                  <a:gd name="connsiteY35" fmla="*/ 2028410 h 3498714"/>
                  <a:gd name="connsiteX36" fmla="*/ 649974 w 4436113"/>
                  <a:gd name="connsiteY36" fmla="*/ 2033194 h 3498714"/>
                  <a:gd name="connsiteX37" fmla="*/ 649974 w 4436113"/>
                  <a:gd name="connsiteY37" fmla="*/ 2125717 h 3498714"/>
                  <a:gd name="connsiteX38" fmla="*/ 649574 w 4436113"/>
                  <a:gd name="connsiteY38" fmla="*/ 3337652 h 3498714"/>
                  <a:gd name="connsiteX39" fmla="*/ 488511 w 4436113"/>
                  <a:gd name="connsiteY39" fmla="*/ 3498714 h 3498714"/>
                  <a:gd name="connsiteX40" fmla="*/ 327450 w 4436113"/>
                  <a:gd name="connsiteY40" fmla="*/ 3337652 h 3498714"/>
                  <a:gd name="connsiteX41" fmla="*/ 327450 w 4436113"/>
                  <a:gd name="connsiteY41" fmla="*/ 1458216 h 3498714"/>
                  <a:gd name="connsiteX42" fmla="*/ 322427 w 4436113"/>
                  <a:gd name="connsiteY42" fmla="*/ 1098205 h 3498714"/>
                  <a:gd name="connsiteX43" fmla="*/ 317058 w 4436113"/>
                  <a:gd name="connsiteY43" fmla="*/ 1092836 h 3498714"/>
                  <a:gd name="connsiteX44" fmla="*/ 263371 w 4436113"/>
                  <a:gd name="connsiteY44" fmla="*/ 1092836 h 3498714"/>
                  <a:gd name="connsiteX45" fmla="*/ 258001 w 4436113"/>
                  <a:gd name="connsiteY45" fmla="*/ 1098205 h 3498714"/>
                  <a:gd name="connsiteX46" fmla="*/ 258001 w 4436113"/>
                  <a:gd name="connsiteY46" fmla="*/ 1444446 h 3498714"/>
                  <a:gd name="connsiteX47" fmla="*/ 257700 w 4436113"/>
                  <a:gd name="connsiteY47" fmla="*/ 1444370 h 3498714"/>
                  <a:gd name="connsiteX48" fmla="*/ 257700 w 4436113"/>
                  <a:gd name="connsiteY48" fmla="*/ 1912573 h 3498714"/>
                  <a:gd name="connsiteX49" fmla="*/ 128850 w 4436113"/>
                  <a:gd name="connsiteY49" fmla="*/ 2041423 h 3498714"/>
                  <a:gd name="connsiteX50" fmla="*/ 0 w 4436113"/>
                  <a:gd name="connsiteY50" fmla="*/ 1912573 h 3498714"/>
                  <a:gd name="connsiteX51" fmla="*/ 0 w 4436113"/>
                  <a:gd name="connsiteY51" fmla="*/ 1101802 h 3498714"/>
                  <a:gd name="connsiteX52" fmla="*/ 0 w 4436113"/>
                  <a:gd name="connsiteY52" fmla="*/ 1003338 h 3498714"/>
                  <a:gd name="connsiteX53" fmla="*/ 0 w 4436113"/>
                  <a:gd name="connsiteY53" fmla="*/ 982486 h 3498714"/>
                  <a:gd name="connsiteX54" fmla="*/ 12733 w 4436113"/>
                  <a:gd name="connsiteY54" fmla="*/ 894663 h 3498714"/>
                  <a:gd name="connsiteX55" fmla="*/ 20539 w 4436113"/>
                  <a:gd name="connsiteY55" fmla="*/ 868773 h 3498714"/>
                  <a:gd name="connsiteX56" fmla="*/ 358791 w 4436113"/>
                  <a:gd name="connsiteY56" fmla="*/ 644545 h 3498714"/>
                  <a:gd name="connsiteX57" fmla="*/ 682782 w 4436113"/>
                  <a:gd name="connsiteY57" fmla="*/ 0 h 3498714"/>
                  <a:gd name="connsiteX58" fmla="*/ 966919 w 4436113"/>
                  <a:gd name="connsiteY58" fmla="*/ 284138 h 3498714"/>
                  <a:gd name="connsiteX59" fmla="*/ 682782 w 4436113"/>
                  <a:gd name="connsiteY59" fmla="*/ 568275 h 3498714"/>
                  <a:gd name="connsiteX60" fmla="*/ 398645 w 4436113"/>
                  <a:gd name="connsiteY60" fmla="*/ 284138 h 3498714"/>
                  <a:gd name="connsiteX61" fmla="*/ 682782 w 4436113"/>
                  <a:gd name="connsiteY61" fmla="*/ 0 h 3498714"/>
                  <a:gd name="connsiteX62" fmla="*/ 4436113 w 4436113"/>
                  <a:gd name="connsiteY62" fmla="*/ 3470637 h 3498714"/>
                  <a:gd name="connsiteX63" fmla="*/ 4235039 w 4436113"/>
                  <a:gd name="connsiteY63" fmla="*/ 3470637 h 3498714"/>
                  <a:gd name="connsiteX64" fmla="*/ 2589325 w 4436113"/>
                  <a:gd name="connsiteY64" fmla="*/ 3124562 h 3498714"/>
                  <a:gd name="connsiteX65" fmla="*/ 2589325 w 4436113"/>
                  <a:gd name="connsiteY65" fmla="*/ 3361625 h 3498714"/>
                  <a:gd name="connsiteX66" fmla="*/ 2480313 w 4436113"/>
                  <a:gd name="connsiteY66" fmla="*/ 3470637 h 3498714"/>
                  <a:gd name="connsiteX67" fmla="*/ 2279239 w 4436113"/>
                  <a:gd name="connsiteY67" fmla="*/ 3470637 h 3498714"/>
                  <a:gd name="connsiteX68" fmla="*/ 2170227 w 4436113"/>
                  <a:gd name="connsiteY68" fmla="*/ 3361625 h 3498714"/>
                  <a:gd name="connsiteX69" fmla="*/ 2170227 w 4436113"/>
                  <a:gd name="connsiteY69" fmla="*/ 3124562 h 3498714"/>
                  <a:gd name="connsiteX70" fmla="*/ 2052754 w 4436113"/>
                  <a:gd name="connsiteY70" fmla="*/ 3124562 h 3498714"/>
                  <a:gd name="connsiteX71" fmla="*/ 1941629 w 4436113"/>
                  <a:gd name="connsiteY71" fmla="*/ 3013437 h 3498714"/>
                  <a:gd name="connsiteX72" fmla="*/ 2052754 w 4436113"/>
                  <a:gd name="connsiteY72" fmla="*/ 2902312 h 3498714"/>
                  <a:gd name="connsiteX73" fmla="*/ 682782 w 4436113"/>
                  <a:gd name="connsiteY73" fmla="*/ 0 h 3498714"/>
                  <a:gd name="connsiteX0" fmla="*/ 2251033 w 4235039"/>
                  <a:gd name="connsiteY0" fmla="*/ 2089512 h 3498714"/>
                  <a:gd name="connsiteX1" fmla="*/ 2070058 w 4235039"/>
                  <a:gd name="connsiteY1" fmla="*/ 2270487 h 3498714"/>
                  <a:gd name="connsiteX2" fmla="*/ 2251033 w 4235039"/>
                  <a:gd name="connsiteY2" fmla="*/ 2451462 h 3498714"/>
                  <a:gd name="connsiteX3" fmla="*/ 2432008 w 4235039"/>
                  <a:gd name="connsiteY3" fmla="*/ 2270487 h 3498714"/>
                  <a:gd name="connsiteX4" fmla="*/ 2251033 w 4235039"/>
                  <a:gd name="connsiteY4" fmla="*/ 2089512 h 3498714"/>
                  <a:gd name="connsiteX5" fmla="*/ 2842751 w 4235039"/>
                  <a:gd name="connsiteY5" fmla="*/ 1749356 h 3498714"/>
                  <a:gd name="connsiteX6" fmla="*/ 2392797 w 4235039"/>
                  <a:gd name="connsiteY6" fmla="*/ 1878907 h 3498714"/>
                  <a:gd name="connsiteX7" fmla="*/ 2478781 w 4235039"/>
                  <a:gd name="connsiteY7" fmla="*/ 1920808 h 3498714"/>
                  <a:gd name="connsiteX8" fmla="*/ 2842751 w 4235039"/>
                  <a:gd name="connsiteY8" fmla="*/ 1749356 h 3498714"/>
                  <a:gd name="connsiteX9" fmla="*/ 2534724 w 4235039"/>
                  <a:gd name="connsiteY9" fmla="*/ 982297 h 3498714"/>
                  <a:gd name="connsiteX10" fmla="*/ 1970999 w 4235039"/>
                  <a:gd name="connsiteY10" fmla="*/ 2826112 h 3498714"/>
                  <a:gd name="connsiteX11" fmla="*/ 1850348 w 4235039"/>
                  <a:gd name="connsiteY11" fmla="*/ 2705462 h 3498714"/>
                  <a:gd name="connsiteX12" fmla="*/ 1956769 w 4235039"/>
                  <a:gd name="connsiteY12" fmla="*/ 2587684 h 3498714"/>
                  <a:gd name="connsiteX13" fmla="*/ 1823360 w 4235039"/>
                  <a:gd name="connsiteY13" fmla="*/ 2279217 h 3498714"/>
                  <a:gd name="connsiteX14" fmla="*/ 2217440 w 4235039"/>
                  <a:gd name="connsiteY14" fmla="*/ 1856216 h 3498714"/>
                  <a:gd name="connsiteX15" fmla="*/ 2534724 w 4235039"/>
                  <a:gd name="connsiteY15" fmla="*/ 982297 h 3498714"/>
                  <a:gd name="connsiteX16" fmla="*/ 358791 w 4235039"/>
                  <a:gd name="connsiteY16" fmla="*/ 644545 h 3498714"/>
                  <a:gd name="connsiteX17" fmla="*/ 1006774 w 4235039"/>
                  <a:gd name="connsiteY17" fmla="*/ 644545 h 3498714"/>
                  <a:gd name="connsiteX18" fmla="*/ 1542636 w 4235039"/>
                  <a:gd name="connsiteY18" fmla="*/ 1193969 h 3498714"/>
                  <a:gd name="connsiteX19" fmla="*/ 1929878 w 4235039"/>
                  <a:gd name="connsiteY19" fmla="*/ 1193970 h 3498714"/>
                  <a:gd name="connsiteX20" fmla="*/ 2070059 w 4235039"/>
                  <a:gd name="connsiteY20" fmla="*/ 1334152 h 3498714"/>
                  <a:gd name="connsiteX21" fmla="*/ 1929878 w 4235039"/>
                  <a:gd name="connsiteY21" fmla="*/ 1474333 h 3498714"/>
                  <a:gd name="connsiteX22" fmla="*/ 1520943 w 4235039"/>
                  <a:gd name="connsiteY22" fmla="*/ 1470388 h 3498714"/>
                  <a:gd name="connsiteX23" fmla="*/ 1332825 w 4235039"/>
                  <a:gd name="connsiteY23" fmla="*/ 1367201 h 3498714"/>
                  <a:gd name="connsiteX24" fmla="*/ 1106501 w 4235039"/>
                  <a:gd name="connsiteY24" fmla="*/ 1098289 h 3498714"/>
                  <a:gd name="connsiteX25" fmla="*/ 1101049 w 4235039"/>
                  <a:gd name="connsiteY25" fmla="*/ 1092836 h 3498714"/>
                  <a:gd name="connsiteX26" fmla="*/ 1046523 w 4235039"/>
                  <a:gd name="connsiteY26" fmla="*/ 1092836 h 3498714"/>
                  <a:gd name="connsiteX27" fmla="*/ 1041071 w 4235039"/>
                  <a:gd name="connsiteY27" fmla="*/ 1098289 h 3498714"/>
                  <a:gd name="connsiteX28" fmla="*/ 1042136 w 4235039"/>
                  <a:gd name="connsiteY28" fmla="*/ 1419754 h 3498714"/>
                  <a:gd name="connsiteX29" fmla="*/ 1042136 w 4235039"/>
                  <a:gd name="connsiteY29" fmla="*/ 3337652 h 3498714"/>
                  <a:gd name="connsiteX30" fmla="*/ 881075 w 4235039"/>
                  <a:gd name="connsiteY30" fmla="*/ 3498714 h 3498714"/>
                  <a:gd name="connsiteX31" fmla="*/ 720012 w 4235039"/>
                  <a:gd name="connsiteY31" fmla="*/ 3337652 h 3498714"/>
                  <a:gd name="connsiteX32" fmla="*/ 720012 w 4235039"/>
                  <a:gd name="connsiteY32" fmla="*/ 2125717 h 3498714"/>
                  <a:gd name="connsiteX33" fmla="*/ 718947 w 4235039"/>
                  <a:gd name="connsiteY33" fmla="*/ 2033194 h 3498714"/>
                  <a:gd name="connsiteX34" fmla="*/ 714162 w 4235039"/>
                  <a:gd name="connsiteY34" fmla="*/ 2028410 h 3498714"/>
                  <a:gd name="connsiteX35" fmla="*/ 654759 w 4235039"/>
                  <a:gd name="connsiteY35" fmla="*/ 2028410 h 3498714"/>
                  <a:gd name="connsiteX36" fmla="*/ 649974 w 4235039"/>
                  <a:gd name="connsiteY36" fmla="*/ 2033194 h 3498714"/>
                  <a:gd name="connsiteX37" fmla="*/ 649974 w 4235039"/>
                  <a:gd name="connsiteY37" fmla="*/ 2125717 h 3498714"/>
                  <a:gd name="connsiteX38" fmla="*/ 649574 w 4235039"/>
                  <a:gd name="connsiteY38" fmla="*/ 3337652 h 3498714"/>
                  <a:gd name="connsiteX39" fmla="*/ 488511 w 4235039"/>
                  <a:gd name="connsiteY39" fmla="*/ 3498714 h 3498714"/>
                  <a:gd name="connsiteX40" fmla="*/ 327450 w 4235039"/>
                  <a:gd name="connsiteY40" fmla="*/ 3337652 h 3498714"/>
                  <a:gd name="connsiteX41" fmla="*/ 327450 w 4235039"/>
                  <a:gd name="connsiteY41" fmla="*/ 1458216 h 3498714"/>
                  <a:gd name="connsiteX42" fmla="*/ 322427 w 4235039"/>
                  <a:gd name="connsiteY42" fmla="*/ 1098205 h 3498714"/>
                  <a:gd name="connsiteX43" fmla="*/ 317058 w 4235039"/>
                  <a:gd name="connsiteY43" fmla="*/ 1092836 h 3498714"/>
                  <a:gd name="connsiteX44" fmla="*/ 263371 w 4235039"/>
                  <a:gd name="connsiteY44" fmla="*/ 1092836 h 3498714"/>
                  <a:gd name="connsiteX45" fmla="*/ 258001 w 4235039"/>
                  <a:gd name="connsiteY45" fmla="*/ 1098205 h 3498714"/>
                  <a:gd name="connsiteX46" fmla="*/ 258001 w 4235039"/>
                  <a:gd name="connsiteY46" fmla="*/ 1444446 h 3498714"/>
                  <a:gd name="connsiteX47" fmla="*/ 257700 w 4235039"/>
                  <a:gd name="connsiteY47" fmla="*/ 1444370 h 3498714"/>
                  <a:gd name="connsiteX48" fmla="*/ 257700 w 4235039"/>
                  <a:gd name="connsiteY48" fmla="*/ 1912573 h 3498714"/>
                  <a:gd name="connsiteX49" fmla="*/ 128850 w 4235039"/>
                  <a:gd name="connsiteY49" fmla="*/ 2041423 h 3498714"/>
                  <a:gd name="connsiteX50" fmla="*/ 0 w 4235039"/>
                  <a:gd name="connsiteY50" fmla="*/ 1912573 h 3498714"/>
                  <a:gd name="connsiteX51" fmla="*/ 0 w 4235039"/>
                  <a:gd name="connsiteY51" fmla="*/ 1101802 h 3498714"/>
                  <a:gd name="connsiteX52" fmla="*/ 0 w 4235039"/>
                  <a:gd name="connsiteY52" fmla="*/ 1003338 h 3498714"/>
                  <a:gd name="connsiteX53" fmla="*/ 0 w 4235039"/>
                  <a:gd name="connsiteY53" fmla="*/ 982486 h 3498714"/>
                  <a:gd name="connsiteX54" fmla="*/ 12733 w 4235039"/>
                  <a:gd name="connsiteY54" fmla="*/ 894663 h 3498714"/>
                  <a:gd name="connsiteX55" fmla="*/ 20539 w 4235039"/>
                  <a:gd name="connsiteY55" fmla="*/ 868773 h 3498714"/>
                  <a:gd name="connsiteX56" fmla="*/ 358791 w 4235039"/>
                  <a:gd name="connsiteY56" fmla="*/ 644545 h 3498714"/>
                  <a:gd name="connsiteX57" fmla="*/ 682782 w 4235039"/>
                  <a:gd name="connsiteY57" fmla="*/ 0 h 3498714"/>
                  <a:gd name="connsiteX58" fmla="*/ 966919 w 4235039"/>
                  <a:gd name="connsiteY58" fmla="*/ 284138 h 3498714"/>
                  <a:gd name="connsiteX59" fmla="*/ 682782 w 4235039"/>
                  <a:gd name="connsiteY59" fmla="*/ 568275 h 3498714"/>
                  <a:gd name="connsiteX60" fmla="*/ 398645 w 4235039"/>
                  <a:gd name="connsiteY60" fmla="*/ 284138 h 3498714"/>
                  <a:gd name="connsiteX61" fmla="*/ 682782 w 4235039"/>
                  <a:gd name="connsiteY61" fmla="*/ 0 h 3498714"/>
                  <a:gd name="connsiteX62" fmla="*/ 4235039 w 4235039"/>
                  <a:gd name="connsiteY62" fmla="*/ 3470637 h 3498714"/>
                  <a:gd name="connsiteX63" fmla="*/ 2589325 w 4235039"/>
                  <a:gd name="connsiteY63" fmla="*/ 3124562 h 3498714"/>
                  <a:gd name="connsiteX64" fmla="*/ 2589325 w 4235039"/>
                  <a:gd name="connsiteY64" fmla="*/ 3361625 h 3498714"/>
                  <a:gd name="connsiteX65" fmla="*/ 2480313 w 4235039"/>
                  <a:gd name="connsiteY65" fmla="*/ 3470637 h 3498714"/>
                  <a:gd name="connsiteX66" fmla="*/ 2279239 w 4235039"/>
                  <a:gd name="connsiteY66" fmla="*/ 3470637 h 3498714"/>
                  <a:gd name="connsiteX67" fmla="*/ 2170227 w 4235039"/>
                  <a:gd name="connsiteY67" fmla="*/ 3361625 h 3498714"/>
                  <a:gd name="connsiteX68" fmla="*/ 2170227 w 4235039"/>
                  <a:gd name="connsiteY68" fmla="*/ 3124562 h 3498714"/>
                  <a:gd name="connsiteX69" fmla="*/ 2052754 w 4235039"/>
                  <a:gd name="connsiteY69" fmla="*/ 3124562 h 3498714"/>
                  <a:gd name="connsiteX70" fmla="*/ 1941629 w 4235039"/>
                  <a:gd name="connsiteY70" fmla="*/ 3013437 h 3498714"/>
                  <a:gd name="connsiteX71" fmla="*/ 2052754 w 4235039"/>
                  <a:gd name="connsiteY71" fmla="*/ 2902312 h 3498714"/>
                  <a:gd name="connsiteX72" fmla="*/ 682782 w 4235039"/>
                  <a:gd name="connsiteY72" fmla="*/ 0 h 3498714"/>
                  <a:gd name="connsiteX0" fmla="*/ 2251033 w 2842751"/>
                  <a:gd name="connsiteY0" fmla="*/ 2089512 h 3498714"/>
                  <a:gd name="connsiteX1" fmla="*/ 2070058 w 2842751"/>
                  <a:gd name="connsiteY1" fmla="*/ 2270487 h 3498714"/>
                  <a:gd name="connsiteX2" fmla="*/ 2251033 w 2842751"/>
                  <a:gd name="connsiteY2" fmla="*/ 2451462 h 3498714"/>
                  <a:gd name="connsiteX3" fmla="*/ 2432008 w 2842751"/>
                  <a:gd name="connsiteY3" fmla="*/ 2270487 h 3498714"/>
                  <a:gd name="connsiteX4" fmla="*/ 2251033 w 2842751"/>
                  <a:gd name="connsiteY4" fmla="*/ 2089512 h 3498714"/>
                  <a:gd name="connsiteX5" fmla="*/ 2842751 w 2842751"/>
                  <a:gd name="connsiteY5" fmla="*/ 1749356 h 3498714"/>
                  <a:gd name="connsiteX6" fmla="*/ 2392797 w 2842751"/>
                  <a:gd name="connsiteY6" fmla="*/ 1878907 h 3498714"/>
                  <a:gd name="connsiteX7" fmla="*/ 2478781 w 2842751"/>
                  <a:gd name="connsiteY7" fmla="*/ 1920808 h 3498714"/>
                  <a:gd name="connsiteX8" fmla="*/ 2842751 w 2842751"/>
                  <a:gd name="connsiteY8" fmla="*/ 1749356 h 3498714"/>
                  <a:gd name="connsiteX9" fmla="*/ 2534724 w 2842751"/>
                  <a:gd name="connsiteY9" fmla="*/ 982297 h 3498714"/>
                  <a:gd name="connsiteX10" fmla="*/ 1970999 w 2842751"/>
                  <a:gd name="connsiteY10" fmla="*/ 2826112 h 3498714"/>
                  <a:gd name="connsiteX11" fmla="*/ 1850348 w 2842751"/>
                  <a:gd name="connsiteY11" fmla="*/ 2705462 h 3498714"/>
                  <a:gd name="connsiteX12" fmla="*/ 1956769 w 2842751"/>
                  <a:gd name="connsiteY12" fmla="*/ 2587684 h 3498714"/>
                  <a:gd name="connsiteX13" fmla="*/ 1823360 w 2842751"/>
                  <a:gd name="connsiteY13" fmla="*/ 2279217 h 3498714"/>
                  <a:gd name="connsiteX14" fmla="*/ 2217440 w 2842751"/>
                  <a:gd name="connsiteY14" fmla="*/ 1856216 h 3498714"/>
                  <a:gd name="connsiteX15" fmla="*/ 2534724 w 2842751"/>
                  <a:gd name="connsiteY15" fmla="*/ 982297 h 3498714"/>
                  <a:gd name="connsiteX16" fmla="*/ 358791 w 2842751"/>
                  <a:gd name="connsiteY16" fmla="*/ 644545 h 3498714"/>
                  <a:gd name="connsiteX17" fmla="*/ 1006774 w 2842751"/>
                  <a:gd name="connsiteY17" fmla="*/ 644545 h 3498714"/>
                  <a:gd name="connsiteX18" fmla="*/ 1542636 w 2842751"/>
                  <a:gd name="connsiteY18" fmla="*/ 1193969 h 3498714"/>
                  <a:gd name="connsiteX19" fmla="*/ 1929878 w 2842751"/>
                  <a:gd name="connsiteY19" fmla="*/ 1193970 h 3498714"/>
                  <a:gd name="connsiteX20" fmla="*/ 2070059 w 2842751"/>
                  <a:gd name="connsiteY20" fmla="*/ 1334152 h 3498714"/>
                  <a:gd name="connsiteX21" fmla="*/ 1929878 w 2842751"/>
                  <a:gd name="connsiteY21" fmla="*/ 1474333 h 3498714"/>
                  <a:gd name="connsiteX22" fmla="*/ 1520943 w 2842751"/>
                  <a:gd name="connsiteY22" fmla="*/ 1470388 h 3498714"/>
                  <a:gd name="connsiteX23" fmla="*/ 1332825 w 2842751"/>
                  <a:gd name="connsiteY23" fmla="*/ 1367201 h 3498714"/>
                  <a:gd name="connsiteX24" fmla="*/ 1106501 w 2842751"/>
                  <a:gd name="connsiteY24" fmla="*/ 1098289 h 3498714"/>
                  <a:gd name="connsiteX25" fmla="*/ 1101049 w 2842751"/>
                  <a:gd name="connsiteY25" fmla="*/ 1092836 h 3498714"/>
                  <a:gd name="connsiteX26" fmla="*/ 1046523 w 2842751"/>
                  <a:gd name="connsiteY26" fmla="*/ 1092836 h 3498714"/>
                  <a:gd name="connsiteX27" fmla="*/ 1041071 w 2842751"/>
                  <a:gd name="connsiteY27" fmla="*/ 1098289 h 3498714"/>
                  <a:gd name="connsiteX28" fmla="*/ 1042136 w 2842751"/>
                  <a:gd name="connsiteY28" fmla="*/ 1419754 h 3498714"/>
                  <a:gd name="connsiteX29" fmla="*/ 1042136 w 2842751"/>
                  <a:gd name="connsiteY29" fmla="*/ 3337652 h 3498714"/>
                  <a:gd name="connsiteX30" fmla="*/ 881075 w 2842751"/>
                  <a:gd name="connsiteY30" fmla="*/ 3498714 h 3498714"/>
                  <a:gd name="connsiteX31" fmla="*/ 720012 w 2842751"/>
                  <a:gd name="connsiteY31" fmla="*/ 3337652 h 3498714"/>
                  <a:gd name="connsiteX32" fmla="*/ 720012 w 2842751"/>
                  <a:gd name="connsiteY32" fmla="*/ 2125717 h 3498714"/>
                  <a:gd name="connsiteX33" fmla="*/ 718947 w 2842751"/>
                  <a:gd name="connsiteY33" fmla="*/ 2033194 h 3498714"/>
                  <a:gd name="connsiteX34" fmla="*/ 714162 w 2842751"/>
                  <a:gd name="connsiteY34" fmla="*/ 2028410 h 3498714"/>
                  <a:gd name="connsiteX35" fmla="*/ 654759 w 2842751"/>
                  <a:gd name="connsiteY35" fmla="*/ 2028410 h 3498714"/>
                  <a:gd name="connsiteX36" fmla="*/ 649974 w 2842751"/>
                  <a:gd name="connsiteY36" fmla="*/ 2033194 h 3498714"/>
                  <a:gd name="connsiteX37" fmla="*/ 649974 w 2842751"/>
                  <a:gd name="connsiteY37" fmla="*/ 2125717 h 3498714"/>
                  <a:gd name="connsiteX38" fmla="*/ 649574 w 2842751"/>
                  <a:gd name="connsiteY38" fmla="*/ 3337652 h 3498714"/>
                  <a:gd name="connsiteX39" fmla="*/ 488511 w 2842751"/>
                  <a:gd name="connsiteY39" fmla="*/ 3498714 h 3498714"/>
                  <a:gd name="connsiteX40" fmla="*/ 327450 w 2842751"/>
                  <a:gd name="connsiteY40" fmla="*/ 3337652 h 3498714"/>
                  <a:gd name="connsiteX41" fmla="*/ 327450 w 2842751"/>
                  <a:gd name="connsiteY41" fmla="*/ 1458216 h 3498714"/>
                  <a:gd name="connsiteX42" fmla="*/ 322427 w 2842751"/>
                  <a:gd name="connsiteY42" fmla="*/ 1098205 h 3498714"/>
                  <a:gd name="connsiteX43" fmla="*/ 317058 w 2842751"/>
                  <a:gd name="connsiteY43" fmla="*/ 1092836 h 3498714"/>
                  <a:gd name="connsiteX44" fmla="*/ 263371 w 2842751"/>
                  <a:gd name="connsiteY44" fmla="*/ 1092836 h 3498714"/>
                  <a:gd name="connsiteX45" fmla="*/ 258001 w 2842751"/>
                  <a:gd name="connsiteY45" fmla="*/ 1098205 h 3498714"/>
                  <a:gd name="connsiteX46" fmla="*/ 258001 w 2842751"/>
                  <a:gd name="connsiteY46" fmla="*/ 1444446 h 3498714"/>
                  <a:gd name="connsiteX47" fmla="*/ 257700 w 2842751"/>
                  <a:gd name="connsiteY47" fmla="*/ 1444370 h 3498714"/>
                  <a:gd name="connsiteX48" fmla="*/ 257700 w 2842751"/>
                  <a:gd name="connsiteY48" fmla="*/ 1912573 h 3498714"/>
                  <a:gd name="connsiteX49" fmla="*/ 128850 w 2842751"/>
                  <a:gd name="connsiteY49" fmla="*/ 2041423 h 3498714"/>
                  <a:gd name="connsiteX50" fmla="*/ 0 w 2842751"/>
                  <a:gd name="connsiteY50" fmla="*/ 1912573 h 3498714"/>
                  <a:gd name="connsiteX51" fmla="*/ 0 w 2842751"/>
                  <a:gd name="connsiteY51" fmla="*/ 1101802 h 3498714"/>
                  <a:gd name="connsiteX52" fmla="*/ 0 w 2842751"/>
                  <a:gd name="connsiteY52" fmla="*/ 1003338 h 3498714"/>
                  <a:gd name="connsiteX53" fmla="*/ 0 w 2842751"/>
                  <a:gd name="connsiteY53" fmla="*/ 982486 h 3498714"/>
                  <a:gd name="connsiteX54" fmla="*/ 12733 w 2842751"/>
                  <a:gd name="connsiteY54" fmla="*/ 894663 h 3498714"/>
                  <a:gd name="connsiteX55" fmla="*/ 20539 w 2842751"/>
                  <a:gd name="connsiteY55" fmla="*/ 868773 h 3498714"/>
                  <a:gd name="connsiteX56" fmla="*/ 358791 w 2842751"/>
                  <a:gd name="connsiteY56" fmla="*/ 644545 h 3498714"/>
                  <a:gd name="connsiteX57" fmla="*/ 682782 w 2842751"/>
                  <a:gd name="connsiteY57" fmla="*/ 0 h 3498714"/>
                  <a:gd name="connsiteX58" fmla="*/ 966919 w 2842751"/>
                  <a:gd name="connsiteY58" fmla="*/ 284138 h 3498714"/>
                  <a:gd name="connsiteX59" fmla="*/ 682782 w 2842751"/>
                  <a:gd name="connsiteY59" fmla="*/ 568275 h 3498714"/>
                  <a:gd name="connsiteX60" fmla="*/ 398645 w 2842751"/>
                  <a:gd name="connsiteY60" fmla="*/ 284138 h 3498714"/>
                  <a:gd name="connsiteX61" fmla="*/ 682782 w 2842751"/>
                  <a:gd name="connsiteY61" fmla="*/ 0 h 3498714"/>
                  <a:gd name="connsiteX62" fmla="*/ 2589325 w 2842751"/>
                  <a:gd name="connsiteY62" fmla="*/ 3124562 h 3498714"/>
                  <a:gd name="connsiteX63" fmla="*/ 2589325 w 2842751"/>
                  <a:gd name="connsiteY63" fmla="*/ 3361625 h 3498714"/>
                  <a:gd name="connsiteX64" fmla="*/ 2480313 w 2842751"/>
                  <a:gd name="connsiteY64" fmla="*/ 3470637 h 3498714"/>
                  <a:gd name="connsiteX65" fmla="*/ 2279239 w 2842751"/>
                  <a:gd name="connsiteY65" fmla="*/ 3470637 h 3498714"/>
                  <a:gd name="connsiteX66" fmla="*/ 2170227 w 2842751"/>
                  <a:gd name="connsiteY66" fmla="*/ 3361625 h 3498714"/>
                  <a:gd name="connsiteX67" fmla="*/ 2170227 w 2842751"/>
                  <a:gd name="connsiteY67" fmla="*/ 3124562 h 3498714"/>
                  <a:gd name="connsiteX68" fmla="*/ 2052754 w 2842751"/>
                  <a:gd name="connsiteY68" fmla="*/ 3124562 h 3498714"/>
                  <a:gd name="connsiteX69" fmla="*/ 1941629 w 2842751"/>
                  <a:gd name="connsiteY69" fmla="*/ 3013437 h 3498714"/>
                  <a:gd name="connsiteX70" fmla="*/ 2052754 w 2842751"/>
                  <a:gd name="connsiteY70" fmla="*/ 2902312 h 3498714"/>
                  <a:gd name="connsiteX71" fmla="*/ 682782 w 2842751"/>
                  <a:gd name="connsiteY71" fmla="*/ 0 h 3498714"/>
                  <a:gd name="connsiteX0" fmla="*/ 2251033 w 2842751"/>
                  <a:gd name="connsiteY0" fmla="*/ 2089512 h 3498714"/>
                  <a:gd name="connsiteX1" fmla="*/ 2070058 w 2842751"/>
                  <a:gd name="connsiteY1" fmla="*/ 2270487 h 3498714"/>
                  <a:gd name="connsiteX2" fmla="*/ 2432008 w 2842751"/>
                  <a:gd name="connsiteY2" fmla="*/ 2270487 h 3498714"/>
                  <a:gd name="connsiteX3" fmla="*/ 2251033 w 2842751"/>
                  <a:gd name="connsiteY3" fmla="*/ 2089512 h 3498714"/>
                  <a:gd name="connsiteX4" fmla="*/ 2842751 w 2842751"/>
                  <a:gd name="connsiteY4" fmla="*/ 1749356 h 3498714"/>
                  <a:gd name="connsiteX5" fmla="*/ 2392797 w 2842751"/>
                  <a:gd name="connsiteY5" fmla="*/ 1878907 h 3498714"/>
                  <a:gd name="connsiteX6" fmla="*/ 2478781 w 2842751"/>
                  <a:gd name="connsiteY6" fmla="*/ 1920808 h 3498714"/>
                  <a:gd name="connsiteX7" fmla="*/ 2842751 w 2842751"/>
                  <a:gd name="connsiteY7" fmla="*/ 1749356 h 3498714"/>
                  <a:gd name="connsiteX8" fmla="*/ 2534724 w 2842751"/>
                  <a:gd name="connsiteY8" fmla="*/ 982297 h 3498714"/>
                  <a:gd name="connsiteX9" fmla="*/ 1970999 w 2842751"/>
                  <a:gd name="connsiteY9" fmla="*/ 2826112 h 3498714"/>
                  <a:gd name="connsiteX10" fmla="*/ 1850348 w 2842751"/>
                  <a:gd name="connsiteY10" fmla="*/ 2705462 h 3498714"/>
                  <a:gd name="connsiteX11" fmla="*/ 1956769 w 2842751"/>
                  <a:gd name="connsiteY11" fmla="*/ 2587684 h 3498714"/>
                  <a:gd name="connsiteX12" fmla="*/ 1823360 w 2842751"/>
                  <a:gd name="connsiteY12" fmla="*/ 2279217 h 3498714"/>
                  <a:gd name="connsiteX13" fmla="*/ 2217440 w 2842751"/>
                  <a:gd name="connsiteY13" fmla="*/ 1856216 h 3498714"/>
                  <a:gd name="connsiteX14" fmla="*/ 2534724 w 2842751"/>
                  <a:gd name="connsiteY14" fmla="*/ 982297 h 3498714"/>
                  <a:gd name="connsiteX15" fmla="*/ 358791 w 2842751"/>
                  <a:gd name="connsiteY15" fmla="*/ 644545 h 3498714"/>
                  <a:gd name="connsiteX16" fmla="*/ 1006774 w 2842751"/>
                  <a:gd name="connsiteY16" fmla="*/ 644545 h 3498714"/>
                  <a:gd name="connsiteX17" fmla="*/ 1542636 w 2842751"/>
                  <a:gd name="connsiteY17" fmla="*/ 1193969 h 3498714"/>
                  <a:gd name="connsiteX18" fmla="*/ 1929878 w 2842751"/>
                  <a:gd name="connsiteY18" fmla="*/ 1193970 h 3498714"/>
                  <a:gd name="connsiteX19" fmla="*/ 2070059 w 2842751"/>
                  <a:gd name="connsiteY19" fmla="*/ 1334152 h 3498714"/>
                  <a:gd name="connsiteX20" fmla="*/ 1929878 w 2842751"/>
                  <a:gd name="connsiteY20" fmla="*/ 1474333 h 3498714"/>
                  <a:gd name="connsiteX21" fmla="*/ 1520943 w 2842751"/>
                  <a:gd name="connsiteY21" fmla="*/ 1470388 h 3498714"/>
                  <a:gd name="connsiteX22" fmla="*/ 1332825 w 2842751"/>
                  <a:gd name="connsiteY22" fmla="*/ 1367201 h 3498714"/>
                  <a:gd name="connsiteX23" fmla="*/ 1106501 w 2842751"/>
                  <a:gd name="connsiteY23" fmla="*/ 1098289 h 3498714"/>
                  <a:gd name="connsiteX24" fmla="*/ 1101049 w 2842751"/>
                  <a:gd name="connsiteY24" fmla="*/ 1092836 h 3498714"/>
                  <a:gd name="connsiteX25" fmla="*/ 1046523 w 2842751"/>
                  <a:gd name="connsiteY25" fmla="*/ 1092836 h 3498714"/>
                  <a:gd name="connsiteX26" fmla="*/ 1041071 w 2842751"/>
                  <a:gd name="connsiteY26" fmla="*/ 1098289 h 3498714"/>
                  <a:gd name="connsiteX27" fmla="*/ 1042136 w 2842751"/>
                  <a:gd name="connsiteY27" fmla="*/ 1419754 h 3498714"/>
                  <a:gd name="connsiteX28" fmla="*/ 1042136 w 2842751"/>
                  <a:gd name="connsiteY28" fmla="*/ 3337652 h 3498714"/>
                  <a:gd name="connsiteX29" fmla="*/ 881075 w 2842751"/>
                  <a:gd name="connsiteY29" fmla="*/ 3498714 h 3498714"/>
                  <a:gd name="connsiteX30" fmla="*/ 720012 w 2842751"/>
                  <a:gd name="connsiteY30" fmla="*/ 3337652 h 3498714"/>
                  <a:gd name="connsiteX31" fmla="*/ 720012 w 2842751"/>
                  <a:gd name="connsiteY31" fmla="*/ 2125717 h 3498714"/>
                  <a:gd name="connsiteX32" fmla="*/ 718947 w 2842751"/>
                  <a:gd name="connsiteY32" fmla="*/ 2033194 h 3498714"/>
                  <a:gd name="connsiteX33" fmla="*/ 714162 w 2842751"/>
                  <a:gd name="connsiteY33" fmla="*/ 2028410 h 3498714"/>
                  <a:gd name="connsiteX34" fmla="*/ 654759 w 2842751"/>
                  <a:gd name="connsiteY34" fmla="*/ 2028410 h 3498714"/>
                  <a:gd name="connsiteX35" fmla="*/ 649974 w 2842751"/>
                  <a:gd name="connsiteY35" fmla="*/ 2033194 h 3498714"/>
                  <a:gd name="connsiteX36" fmla="*/ 649974 w 2842751"/>
                  <a:gd name="connsiteY36" fmla="*/ 2125717 h 3498714"/>
                  <a:gd name="connsiteX37" fmla="*/ 649574 w 2842751"/>
                  <a:gd name="connsiteY37" fmla="*/ 3337652 h 3498714"/>
                  <a:gd name="connsiteX38" fmla="*/ 488511 w 2842751"/>
                  <a:gd name="connsiteY38" fmla="*/ 3498714 h 3498714"/>
                  <a:gd name="connsiteX39" fmla="*/ 327450 w 2842751"/>
                  <a:gd name="connsiteY39" fmla="*/ 3337652 h 3498714"/>
                  <a:gd name="connsiteX40" fmla="*/ 327450 w 2842751"/>
                  <a:gd name="connsiteY40" fmla="*/ 1458216 h 3498714"/>
                  <a:gd name="connsiteX41" fmla="*/ 322427 w 2842751"/>
                  <a:gd name="connsiteY41" fmla="*/ 1098205 h 3498714"/>
                  <a:gd name="connsiteX42" fmla="*/ 317058 w 2842751"/>
                  <a:gd name="connsiteY42" fmla="*/ 1092836 h 3498714"/>
                  <a:gd name="connsiteX43" fmla="*/ 263371 w 2842751"/>
                  <a:gd name="connsiteY43" fmla="*/ 1092836 h 3498714"/>
                  <a:gd name="connsiteX44" fmla="*/ 258001 w 2842751"/>
                  <a:gd name="connsiteY44" fmla="*/ 1098205 h 3498714"/>
                  <a:gd name="connsiteX45" fmla="*/ 258001 w 2842751"/>
                  <a:gd name="connsiteY45" fmla="*/ 1444446 h 3498714"/>
                  <a:gd name="connsiteX46" fmla="*/ 257700 w 2842751"/>
                  <a:gd name="connsiteY46" fmla="*/ 1444370 h 3498714"/>
                  <a:gd name="connsiteX47" fmla="*/ 257700 w 2842751"/>
                  <a:gd name="connsiteY47" fmla="*/ 1912573 h 3498714"/>
                  <a:gd name="connsiteX48" fmla="*/ 128850 w 2842751"/>
                  <a:gd name="connsiteY48" fmla="*/ 2041423 h 3498714"/>
                  <a:gd name="connsiteX49" fmla="*/ 0 w 2842751"/>
                  <a:gd name="connsiteY49" fmla="*/ 1912573 h 3498714"/>
                  <a:gd name="connsiteX50" fmla="*/ 0 w 2842751"/>
                  <a:gd name="connsiteY50" fmla="*/ 1101802 h 3498714"/>
                  <a:gd name="connsiteX51" fmla="*/ 0 w 2842751"/>
                  <a:gd name="connsiteY51" fmla="*/ 1003338 h 3498714"/>
                  <a:gd name="connsiteX52" fmla="*/ 0 w 2842751"/>
                  <a:gd name="connsiteY52" fmla="*/ 982486 h 3498714"/>
                  <a:gd name="connsiteX53" fmla="*/ 12733 w 2842751"/>
                  <a:gd name="connsiteY53" fmla="*/ 894663 h 3498714"/>
                  <a:gd name="connsiteX54" fmla="*/ 20539 w 2842751"/>
                  <a:gd name="connsiteY54" fmla="*/ 868773 h 3498714"/>
                  <a:gd name="connsiteX55" fmla="*/ 358791 w 2842751"/>
                  <a:gd name="connsiteY55" fmla="*/ 644545 h 3498714"/>
                  <a:gd name="connsiteX56" fmla="*/ 682782 w 2842751"/>
                  <a:gd name="connsiteY56" fmla="*/ 0 h 3498714"/>
                  <a:gd name="connsiteX57" fmla="*/ 966919 w 2842751"/>
                  <a:gd name="connsiteY57" fmla="*/ 284138 h 3498714"/>
                  <a:gd name="connsiteX58" fmla="*/ 682782 w 2842751"/>
                  <a:gd name="connsiteY58" fmla="*/ 568275 h 3498714"/>
                  <a:gd name="connsiteX59" fmla="*/ 398645 w 2842751"/>
                  <a:gd name="connsiteY59" fmla="*/ 284138 h 3498714"/>
                  <a:gd name="connsiteX60" fmla="*/ 682782 w 2842751"/>
                  <a:gd name="connsiteY60" fmla="*/ 0 h 3498714"/>
                  <a:gd name="connsiteX61" fmla="*/ 2589325 w 2842751"/>
                  <a:gd name="connsiteY61" fmla="*/ 3124562 h 3498714"/>
                  <a:gd name="connsiteX62" fmla="*/ 2589325 w 2842751"/>
                  <a:gd name="connsiteY62" fmla="*/ 3361625 h 3498714"/>
                  <a:gd name="connsiteX63" fmla="*/ 2480313 w 2842751"/>
                  <a:gd name="connsiteY63" fmla="*/ 3470637 h 3498714"/>
                  <a:gd name="connsiteX64" fmla="*/ 2279239 w 2842751"/>
                  <a:gd name="connsiteY64" fmla="*/ 3470637 h 3498714"/>
                  <a:gd name="connsiteX65" fmla="*/ 2170227 w 2842751"/>
                  <a:gd name="connsiteY65" fmla="*/ 3361625 h 3498714"/>
                  <a:gd name="connsiteX66" fmla="*/ 2170227 w 2842751"/>
                  <a:gd name="connsiteY66" fmla="*/ 3124562 h 3498714"/>
                  <a:gd name="connsiteX67" fmla="*/ 2052754 w 2842751"/>
                  <a:gd name="connsiteY67" fmla="*/ 3124562 h 3498714"/>
                  <a:gd name="connsiteX68" fmla="*/ 1941629 w 2842751"/>
                  <a:gd name="connsiteY68" fmla="*/ 3013437 h 3498714"/>
                  <a:gd name="connsiteX69" fmla="*/ 2052754 w 2842751"/>
                  <a:gd name="connsiteY69" fmla="*/ 2902312 h 3498714"/>
                  <a:gd name="connsiteX70" fmla="*/ 682782 w 2842751"/>
                  <a:gd name="connsiteY70" fmla="*/ 0 h 3498714"/>
                  <a:gd name="connsiteX0" fmla="*/ 2251033 w 2842751"/>
                  <a:gd name="connsiteY0" fmla="*/ 2089512 h 3498714"/>
                  <a:gd name="connsiteX1" fmla="*/ 2070058 w 2842751"/>
                  <a:gd name="connsiteY1" fmla="*/ 2270487 h 3498714"/>
                  <a:gd name="connsiteX2" fmla="*/ 2251033 w 2842751"/>
                  <a:gd name="connsiteY2" fmla="*/ 2089512 h 3498714"/>
                  <a:gd name="connsiteX3" fmla="*/ 2842751 w 2842751"/>
                  <a:gd name="connsiteY3" fmla="*/ 1749356 h 3498714"/>
                  <a:gd name="connsiteX4" fmla="*/ 2392797 w 2842751"/>
                  <a:gd name="connsiteY4" fmla="*/ 1878907 h 3498714"/>
                  <a:gd name="connsiteX5" fmla="*/ 2478781 w 2842751"/>
                  <a:gd name="connsiteY5" fmla="*/ 1920808 h 3498714"/>
                  <a:gd name="connsiteX6" fmla="*/ 2842751 w 2842751"/>
                  <a:gd name="connsiteY6" fmla="*/ 1749356 h 3498714"/>
                  <a:gd name="connsiteX7" fmla="*/ 2534724 w 2842751"/>
                  <a:gd name="connsiteY7" fmla="*/ 982297 h 3498714"/>
                  <a:gd name="connsiteX8" fmla="*/ 1970999 w 2842751"/>
                  <a:gd name="connsiteY8" fmla="*/ 2826112 h 3498714"/>
                  <a:gd name="connsiteX9" fmla="*/ 1850348 w 2842751"/>
                  <a:gd name="connsiteY9" fmla="*/ 2705462 h 3498714"/>
                  <a:gd name="connsiteX10" fmla="*/ 1956769 w 2842751"/>
                  <a:gd name="connsiteY10" fmla="*/ 2587684 h 3498714"/>
                  <a:gd name="connsiteX11" fmla="*/ 1823360 w 2842751"/>
                  <a:gd name="connsiteY11" fmla="*/ 2279217 h 3498714"/>
                  <a:gd name="connsiteX12" fmla="*/ 2217440 w 2842751"/>
                  <a:gd name="connsiteY12" fmla="*/ 1856216 h 3498714"/>
                  <a:gd name="connsiteX13" fmla="*/ 2534724 w 2842751"/>
                  <a:gd name="connsiteY13" fmla="*/ 982297 h 3498714"/>
                  <a:gd name="connsiteX14" fmla="*/ 358791 w 2842751"/>
                  <a:gd name="connsiteY14" fmla="*/ 644545 h 3498714"/>
                  <a:gd name="connsiteX15" fmla="*/ 1006774 w 2842751"/>
                  <a:gd name="connsiteY15" fmla="*/ 644545 h 3498714"/>
                  <a:gd name="connsiteX16" fmla="*/ 1542636 w 2842751"/>
                  <a:gd name="connsiteY16" fmla="*/ 1193969 h 3498714"/>
                  <a:gd name="connsiteX17" fmla="*/ 1929878 w 2842751"/>
                  <a:gd name="connsiteY17" fmla="*/ 1193970 h 3498714"/>
                  <a:gd name="connsiteX18" fmla="*/ 2070059 w 2842751"/>
                  <a:gd name="connsiteY18" fmla="*/ 1334152 h 3498714"/>
                  <a:gd name="connsiteX19" fmla="*/ 1929878 w 2842751"/>
                  <a:gd name="connsiteY19" fmla="*/ 1474333 h 3498714"/>
                  <a:gd name="connsiteX20" fmla="*/ 1520943 w 2842751"/>
                  <a:gd name="connsiteY20" fmla="*/ 1470388 h 3498714"/>
                  <a:gd name="connsiteX21" fmla="*/ 1332825 w 2842751"/>
                  <a:gd name="connsiteY21" fmla="*/ 1367201 h 3498714"/>
                  <a:gd name="connsiteX22" fmla="*/ 1106501 w 2842751"/>
                  <a:gd name="connsiteY22" fmla="*/ 1098289 h 3498714"/>
                  <a:gd name="connsiteX23" fmla="*/ 1101049 w 2842751"/>
                  <a:gd name="connsiteY23" fmla="*/ 1092836 h 3498714"/>
                  <a:gd name="connsiteX24" fmla="*/ 1046523 w 2842751"/>
                  <a:gd name="connsiteY24" fmla="*/ 1092836 h 3498714"/>
                  <a:gd name="connsiteX25" fmla="*/ 1041071 w 2842751"/>
                  <a:gd name="connsiteY25" fmla="*/ 1098289 h 3498714"/>
                  <a:gd name="connsiteX26" fmla="*/ 1042136 w 2842751"/>
                  <a:gd name="connsiteY26" fmla="*/ 1419754 h 3498714"/>
                  <a:gd name="connsiteX27" fmla="*/ 1042136 w 2842751"/>
                  <a:gd name="connsiteY27" fmla="*/ 3337652 h 3498714"/>
                  <a:gd name="connsiteX28" fmla="*/ 881075 w 2842751"/>
                  <a:gd name="connsiteY28" fmla="*/ 3498714 h 3498714"/>
                  <a:gd name="connsiteX29" fmla="*/ 720012 w 2842751"/>
                  <a:gd name="connsiteY29" fmla="*/ 3337652 h 3498714"/>
                  <a:gd name="connsiteX30" fmla="*/ 720012 w 2842751"/>
                  <a:gd name="connsiteY30" fmla="*/ 2125717 h 3498714"/>
                  <a:gd name="connsiteX31" fmla="*/ 718947 w 2842751"/>
                  <a:gd name="connsiteY31" fmla="*/ 2033194 h 3498714"/>
                  <a:gd name="connsiteX32" fmla="*/ 714162 w 2842751"/>
                  <a:gd name="connsiteY32" fmla="*/ 2028410 h 3498714"/>
                  <a:gd name="connsiteX33" fmla="*/ 654759 w 2842751"/>
                  <a:gd name="connsiteY33" fmla="*/ 2028410 h 3498714"/>
                  <a:gd name="connsiteX34" fmla="*/ 649974 w 2842751"/>
                  <a:gd name="connsiteY34" fmla="*/ 2033194 h 3498714"/>
                  <a:gd name="connsiteX35" fmla="*/ 649974 w 2842751"/>
                  <a:gd name="connsiteY35" fmla="*/ 2125717 h 3498714"/>
                  <a:gd name="connsiteX36" fmla="*/ 649574 w 2842751"/>
                  <a:gd name="connsiteY36" fmla="*/ 3337652 h 3498714"/>
                  <a:gd name="connsiteX37" fmla="*/ 488511 w 2842751"/>
                  <a:gd name="connsiteY37" fmla="*/ 3498714 h 3498714"/>
                  <a:gd name="connsiteX38" fmla="*/ 327450 w 2842751"/>
                  <a:gd name="connsiteY38" fmla="*/ 3337652 h 3498714"/>
                  <a:gd name="connsiteX39" fmla="*/ 327450 w 2842751"/>
                  <a:gd name="connsiteY39" fmla="*/ 1458216 h 3498714"/>
                  <a:gd name="connsiteX40" fmla="*/ 322427 w 2842751"/>
                  <a:gd name="connsiteY40" fmla="*/ 1098205 h 3498714"/>
                  <a:gd name="connsiteX41" fmla="*/ 317058 w 2842751"/>
                  <a:gd name="connsiteY41" fmla="*/ 1092836 h 3498714"/>
                  <a:gd name="connsiteX42" fmla="*/ 263371 w 2842751"/>
                  <a:gd name="connsiteY42" fmla="*/ 1092836 h 3498714"/>
                  <a:gd name="connsiteX43" fmla="*/ 258001 w 2842751"/>
                  <a:gd name="connsiteY43" fmla="*/ 1098205 h 3498714"/>
                  <a:gd name="connsiteX44" fmla="*/ 258001 w 2842751"/>
                  <a:gd name="connsiteY44" fmla="*/ 1444446 h 3498714"/>
                  <a:gd name="connsiteX45" fmla="*/ 257700 w 2842751"/>
                  <a:gd name="connsiteY45" fmla="*/ 1444370 h 3498714"/>
                  <a:gd name="connsiteX46" fmla="*/ 257700 w 2842751"/>
                  <a:gd name="connsiteY46" fmla="*/ 1912573 h 3498714"/>
                  <a:gd name="connsiteX47" fmla="*/ 128850 w 2842751"/>
                  <a:gd name="connsiteY47" fmla="*/ 2041423 h 3498714"/>
                  <a:gd name="connsiteX48" fmla="*/ 0 w 2842751"/>
                  <a:gd name="connsiteY48" fmla="*/ 1912573 h 3498714"/>
                  <a:gd name="connsiteX49" fmla="*/ 0 w 2842751"/>
                  <a:gd name="connsiteY49" fmla="*/ 1101802 h 3498714"/>
                  <a:gd name="connsiteX50" fmla="*/ 0 w 2842751"/>
                  <a:gd name="connsiteY50" fmla="*/ 1003338 h 3498714"/>
                  <a:gd name="connsiteX51" fmla="*/ 0 w 2842751"/>
                  <a:gd name="connsiteY51" fmla="*/ 982486 h 3498714"/>
                  <a:gd name="connsiteX52" fmla="*/ 12733 w 2842751"/>
                  <a:gd name="connsiteY52" fmla="*/ 894663 h 3498714"/>
                  <a:gd name="connsiteX53" fmla="*/ 20539 w 2842751"/>
                  <a:gd name="connsiteY53" fmla="*/ 868773 h 3498714"/>
                  <a:gd name="connsiteX54" fmla="*/ 358791 w 2842751"/>
                  <a:gd name="connsiteY54" fmla="*/ 644545 h 3498714"/>
                  <a:gd name="connsiteX55" fmla="*/ 682782 w 2842751"/>
                  <a:gd name="connsiteY55" fmla="*/ 0 h 3498714"/>
                  <a:gd name="connsiteX56" fmla="*/ 966919 w 2842751"/>
                  <a:gd name="connsiteY56" fmla="*/ 284138 h 3498714"/>
                  <a:gd name="connsiteX57" fmla="*/ 682782 w 2842751"/>
                  <a:gd name="connsiteY57" fmla="*/ 568275 h 3498714"/>
                  <a:gd name="connsiteX58" fmla="*/ 398645 w 2842751"/>
                  <a:gd name="connsiteY58" fmla="*/ 284138 h 3498714"/>
                  <a:gd name="connsiteX59" fmla="*/ 682782 w 2842751"/>
                  <a:gd name="connsiteY59" fmla="*/ 0 h 3498714"/>
                  <a:gd name="connsiteX60" fmla="*/ 2589325 w 2842751"/>
                  <a:gd name="connsiteY60" fmla="*/ 3124562 h 3498714"/>
                  <a:gd name="connsiteX61" fmla="*/ 2589325 w 2842751"/>
                  <a:gd name="connsiteY61" fmla="*/ 3361625 h 3498714"/>
                  <a:gd name="connsiteX62" fmla="*/ 2480313 w 2842751"/>
                  <a:gd name="connsiteY62" fmla="*/ 3470637 h 3498714"/>
                  <a:gd name="connsiteX63" fmla="*/ 2279239 w 2842751"/>
                  <a:gd name="connsiteY63" fmla="*/ 3470637 h 3498714"/>
                  <a:gd name="connsiteX64" fmla="*/ 2170227 w 2842751"/>
                  <a:gd name="connsiteY64" fmla="*/ 3361625 h 3498714"/>
                  <a:gd name="connsiteX65" fmla="*/ 2170227 w 2842751"/>
                  <a:gd name="connsiteY65" fmla="*/ 3124562 h 3498714"/>
                  <a:gd name="connsiteX66" fmla="*/ 2052754 w 2842751"/>
                  <a:gd name="connsiteY66" fmla="*/ 3124562 h 3498714"/>
                  <a:gd name="connsiteX67" fmla="*/ 1941629 w 2842751"/>
                  <a:gd name="connsiteY67" fmla="*/ 3013437 h 3498714"/>
                  <a:gd name="connsiteX68" fmla="*/ 2052754 w 2842751"/>
                  <a:gd name="connsiteY68" fmla="*/ 2902312 h 3498714"/>
                  <a:gd name="connsiteX69" fmla="*/ 682782 w 2842751"/>
                  <a:gd name="connsiteY69" fmla="*/ 0 h 3498714"/>
                  <a:gd name="connsiteX0" fmla="*/ 2251033 w 2842751"/>
                  <a:gd name="connsiteY0" fmla="*/ 2089512 h 3498714"/>
                  <a:gd name="connsiteX1" fmla="*/ 2070058 w 2842751"/>
                  <a:gd name="connsiteY1" fmla="*/ 2270487 h 3498714"/>
                  <a:gd name="connsiteX2" fmla="*/ 2251033 w 2842751"/>
                  <a:gd name="connsiteY2" fmla="*/ 2089512 h 3498714"/>
                  <a:gd name="connsiteX3" fmla="*/ 2842751 w 2842751"/>
                  <a:gd name="connsiteY3" fmla="*/ 1749356 h 3498714"/>
                  <a:gd name="connsiteX4" fmla="*/ 2392797 w 2842751"/>
                  <a:gd name="connsiteY4" fmla="*/ 1878907 h 3498714"/>
                  <a:gd name="connsiteX5" fmla="*/ 2478781 w 2842751"/>
                  <a:gd name="connsiteY5" fmla="*/ 1920808 h 3498714"/>
                  <a:gd name="connsiteX6" fmla="*/ 2842751 w 2842751"/>
                  <a:gd name="connsiteY6" fmla="*/ 1749356 h 3498714"/>
                  <a:gd name="connsiteX7" fmla="*/ 2534724 w 2842751"/>
                  <a:gd name="connsiteY7" fmla="*/ 982297 h 3498714"/>
                  <a:gd name="connsiteX8" fmla="*/ 1850348 w 2842751"/>
                  <a:gd name="connsiteY8" fmla="*/ 2705462 h 3498714"/>
                  <a:gd name="connsiteX9" fmla="*/ 1956769 w 2842751"/>
                  <a:gd name="connsiteY9" fmla="*/ 2587684 h 3498714"/>
                  <a:gd name="connsiteX10" fmla="*/ 1823360 w 2842751"/>
                  <a:gd name="connsiteY10" fmla="*/ 2279217 h 3498714"/>
                  <a:gd name="connsiteX11" fmla="*/ 2217440 w 2842751"/>
                  <a:gd name="connsiteY11" fmla="*/ 1856216 h 3498714"/>
                  <a:gd name="connsiteX12" fmla="*/ 2534724 w 2842751"/>
                  <a:gd name="connsiteY12" fmla="*/ 982297 h 3498714"/>
                  <a:gd name="connsiteX13" fmla="*/ 358791 w 2842751"/>
                  <a:gd name="connsiteY13" fmla="*/ 644545 h 3498714"/>
                  <a:gd name="connsiteX14" fmla="*/ 1006774 w 2842751"/>
                  <a:gd name="connsiteY14" fmla="*/ 644545 h 3498714"/>
                  <a:gd name="connsiteX15" fmla="*/ 1542636 w 2842751"/>
                  <a:gd name="connsiteY15" fmla="*/ 1193969 h 3498714"/>
                  <a:gd name="connsiteX16" fmla="*/ 1929878 w 2842751"/>
                  <a:gd name="connsiteY16" fmla="*/ 1193970 h 3498714"/>
                  <a:gd name="connsiteX17" fmla="*/ 2070059 w 2842751"/>
                  <a:gd name="connsiteY17" fmla="*/ 1334152 h 3498714"/>
                  <a:gd name="connsiteX18" fmla="*/ 1929878 w 2842751"/>
                  <a:gd name="connsiteY18" fmla="*/ 1474333 h 3498714"/>
                  <a:gd name="connsiteX19" fmla="*/ 1520943 w 2842751"/>
                  <a:gd name="connsiteY19" fmla="*/ 1470388 h 3498714"/>
                  <a:gd name="connsiteX20" fmla="*/ 1332825 w 2842751"/>
                  <a:gd name="connsiteY20" fmla="*/ 1367201 h 3498714"/>
                  <a:gd name="connsiteX21" fmla="*/ 1106501 w 2842751"/>
                  <a:gd name="connsiteY21" fmla="*/ 1098289 h 3498714"/>
                  <a:gd name="connsiteX22" fmla="*/ 1101049 w 2842751"/>
                  <a:gd name="connsiteY22" fmla="*/ 1092836 h 3498714"/>
                  <a:gd name="connsiteX23" fmla="*/ 1046523 w 2842751"/>
                  <a:gd name="connsiteY23" fmla="*/ 1092836 h 3498714"/>
                  <a:gd name="connsiteX24" fmla="*/ 1041071 w 2842751"/>
                  <a:gd name="connsiteY24" fmla="*/ 1098289 h 3498714"/>
                  <a:gd name="connsiteX25" fmla="*/ 1042136 w 2842751"/>
                  <a:gd name="connsiteY25" fmla="*/ 1419754 h 3498714"/>
                  <a:gd name="connsiteX26" fmla="*/ 1042136 w 2842751"/>
                  <a:gd name="connsiteY26" fmla="*/ 3337652 h 3498714"/>
                  <a:gd name="connsiteX27" fmla="*/ 881075 w 2842751"/>
                  <a:gd name="connsiteY27" fmla="*/ 3498714 h 3498714"/>
                  <a:gd name="connsiteX28" fmla="*/ 720012 w 2842751"/>
                  <a:gd name="connsiteY28" fmla="*/ 3337652 h 3498714"/>
                  <a:gd name="connsiteX29" fmla="*/ 720012 w 2842751"/>
                  <a:gd name="connsiteY29" fmla="*/ 2125717 h 3498714"/>
                  <a:gd name="connsiteX30" fmla="*/ 718947 w 2842751"/>
                  <a:gd name="connsiteY30" fmla="*/ 2033194 h 3498714"/>
                  <a:gd name="connsiteX31" fmla="*/ 714162 w 2842751"/>
                  <a:gd name="connsiteY31" fmla="*/ 2028410 h 3498714"/>
                  <a:gd name="connsiteX32" fmla="*/ 654759 w 2842751"/>
                  <a:gd name="connsiteY32" fmla="*/ 2028410 h 3498714"/>
                  <a:gd name="connsiteX33" fmla="*/ 649974 w 2842751"/>
                  <a:gd name="connsiteY33" fmla="*/ 2033194 h 3498714"/>
                  <a:gd name="connsiteX34" fmla="*/ 649974 w 2842751"/>
                  <a:gd name="connsiteY34" fmla="*/ 2125717 h 3498714"/>
                  <a:gd name="connsiteX35" fmla="*/ 649574 w 2842751"/>
                  <a:gd name="connsiteY35" fmla="*/ 3337652 h 3498714"/>
                  <a:gd name="connsiteX36" fmla="*/ 488511 w 2842751"/>
                  <a:gd name="connsiteY36" fmla="*/ 3498714 h 3498714"/>
                  <a:gd name="connsiteX37" fmla="*/ 327450 w 2842751"/>
                  <a:gd name="connsiteY37" fmla="*/ 3337652 h 3498714"/>
                  <a:gd name="connsiteX38" fmla="*/ 327450 w 2842751"/>
                  <a:gd name="connsiteY38" fmla="*/ 1458216 h 3498714"/>
                  <a:gd name="connsiteX39" fmla="*/ 322427 w 2842751"/>
                  <a:gd name="connsiteY39" fmla="*/ 1098205 h 3498714"/>
                  <a:gd name="connsiteX40" fmla="*/ 317058 w 2842751"/>
                  <a:gd name="connsiteY40" fmla="*/ 1092836 h 3498714"/>
                  <a:gd name="connsiteX41" fmla="*/ 263371 w 2842751"/>
                  <a:gd name="connsiteY41" fmla="*/ 1092836 h 3498714"/>
                  <a:gd name="connsiteX42" fmla="*/ 258001 w 2842751"/>
                  <a:gd name="connsiteY42" fmla="*/ 1098205 h 3498714"/>
                  <a:gd name="connsiteX43" fmla="*/ 258001 w 2842751"/>
                  <a:gd name="connsiteY43" fmla="*/ 1444446 h 3498714"/>
                  <a:gd name="connsiteX44" fmla="*/ 257700 w 2842751"/>
                  <a:gd name="connsiteY44" fmla="*/ 1444370 h 3498714"/>
                  <a:gd name="connsiteX45" fmla="*/ 257700 w 2842751"/>
                  <a:gd name="connsiteY45" fmla="*/ 1912573 h 3498714"/>
                  <a:gd name="connsiteX46" fmla="*/ 128850 w 2842751"/>
                  <a:gd name="connsiteY46" fmla="*/ 2041423 h 3498714"/>
                  <a:gd name="connsiteX47" fmla="*/ 0 w 2842751"/>
                  <a:gd name="connsiteY47" fmla="*/ 1912573 h 3498714"/>
                  <a:gd name="connsiteX48" fmla="*/ 0 w 2842751"/>
                  <a:gd name="connsiteY48" fmla="*/ 1101802 h 3498714"/>
                  <a:gd name="connsiteX49" fmla="*/ 0 w 2842751"/>
                  <a:gd name="connsiteY49" fmla="*/ 1003338 h 3498714"/>
                  <a:gd name="connsiteX50" fmla="*/ 0 w 2842751"/>
                  <a:gd name="connsiteY50" fmla="*/ 982486 h 3498714"/>
                  <a:gd name="connsiteX51" fmla="*/ 12733 w 2842751"/>
                  <a:gd name="connsiteY51" fmla="*/ 894663 h 3498714"/>
                  <a:gd name="connsiteX52" fmla="*/ 20539 w 2842751"/>
                  <a:gd name="connsiteY52" fmla="*/ 868773 h 3498714"/>
                  <a:gd name="connsiteX53" fmla="*/ 358791 w 2842751"/>
                  <a:gd name="connsiteY53" fmla="*/ 644545 h 3498714"/>
                  <a:gd name="connsiteX54" fmla="*/ 682782 w 2842751"/>
                  <a:gd name="connsiteY54" fmla="*/ 0 h 3498714"/>
                  <a:gd name="connsiteX55" fmla="*/ 966919 w 2842751"/>
                  <a:gd name="connsiteY55" fmla="*/ 284138 h 3498714"/>
                  <a:gd name="connsiteX56" fmla="*/ 682782 w 2842751"/>
                  <a:gd name="connsiteY56" fmla="*/ 568275 h 3498714"/>
                  <a:gd name="connsiteX57" fmla="*/ 398645 w 2842751"/>
                  <a:gd name="connsiteY57" fmla="*/ 284138 h 3498714"/>
                  <a:gd name="connsiteX58" fmla="*/ 682782 w 2842751"/>
                  <a:gd name="connsiteY58" fmla="*/ 0 h 3498714"/>
                  <a:gd name="connsiteX59" fmla="*/ 2589325 w 2842751"/>
                  <a:gd name="connsiteY59" fmla="*/ 3124562 h 3498714"/>
                  <a:gd name="connsiteX60" fmla="*/ 2589325 w 2842751"/>
                  <a:gd name="connsiteY60" fmla="*/ 3361625 h 3498714"/>
                  <a:gd name="connsiteX61" fmla="*/ 2480313 w 2842751"/>
                  <a:gd name="connsiteY61" fmla="*/ 3470637 h 3498714"/>
                  <a:gd name="connsiteX62" fmla="*/ 2279239 w 2842751"/>
                  <a:gd name="connsiteY62" fmla="*/ 3470637 h 3498714"/>
                  <a:gd name="connsiteX63" fmla="*/ 2170227 w 2842751"/>
                  <a:gd name="connsiteY63" fmla="*/ 3361625 h 3498714"/>
                  <a:gd name="connsiteX64" fmla="*/ 2170227 w 2842751"/>
                  <a:gd name="connsiteY64" fmla="*/ 3124562 h 3498714"/>
                  <a:gd name="connsiteX65" fmla="*/ 2052754 w 2842751"/>
                  <a:gd name="connsiteY65" fmla="*/ 3124562 h 3498714"/>
                  <a:gd name="connsiteX66" fmla="*/ 1941629 w 2842751"/>
                  <a:gd name="connsiteY66" fmla="*/ 3013437 h 3498714"/>
                  <a:gd name="connsiteX67" fmla="*/ 2052754 w 2842751"/>
                  <a:gd name="connsiteY67" fmla="*/ 2902312 h 3498714"/>
                  <a:gd name="connsiteX68" fmla="*/ 682782 w 2842751"/>
                  <a:gd name="connsiteY68" fmla="*/ 0 h 3498714"/>
                  <a:gd name="connsiteX0" fmla="*/ 2251033 w 2842751"/>
                  <a:gd name="connsiteY0" fmla="*/ 2089512 h 3498714"/>
                  <a:gd name="connsiteX1" fmla="*/ 2070058 w 2842751"/>
                  <a:gd name="connsiteY1" fmla="*/ 2270487 h 3498714"/>
                  <a:gd name="connsiteX2" fmla="*/ 2251033 w 2842751"/>
                  <a:gd name="connsiteY2" fmla="*/ 2089512 h 3498714"/>
                  <a:gd name="connsiteX3" fmla="*/ 2842751 w 2842751"/>
                  <a:gd name="connsiteY3" fmla="*/ 1749356 h 3498714"/>
                  <a:gd name="connsiteX4" fmla="*/ 2392797 w 2842751"/>
                  <a:gd name="connsiteY4" fmla="*/ 1878907 h 3498714"/>
                  <a:gd name="connsiteX5" fmla="*/ 2478781 w 2842751"/>
                  <a:gd name="connsiteY5" fmla="*/ 1920808 h 3498714"/>
                  <a:gd name="connsiteX6" fmla="*/ 2842751 w 2842751"/>
                  <a:gd name="connsiteY6" fmla="*/ 1749356 h 3498714"/>
                  <a:gd name="connsiteX7" fmla="*/ 2534724 w 2842751"/>
                  <a:gd name="connsiteY7" fmla="*/ 982297 h 3498714"/>
                  <a:gd name="connsiteX8" fmla="*/ 1956769 w 2842751"/>
                  <a:gd name="connsiteY8" fmla="*/ 2587684 h 3498714"/>
                  <a:gd name="connsiteX9" fmla="*/ 1823360 w 2842751"/>
                  <a:gd name="connsiteY9" fmla="*/ 2279217 h 3498714"/>
                  <a:gd name="connsiteX10" fmla="*/ 2217440 w 2842751"/>
                  <a:gd name="connsiteY10" fmla="*/ 1856216 h 3498714"/>
                  <a:gd name="connsiteX11" fmla="*/ 2534724 w 2842751"/>
                  <a:gd name="connsiteY11" fmla="*/ 982297 h 3498714"/>
                  <a:gd name="connsiteX12" fmla="*/ 358791 w 2842751"/>
                  <a:gd name="connsiteY12" fmla="*/ 644545 h 3498714"/>
                  <a:gd name="connsiteX13" fmla="*/ 1006774 w 2842751"/>
                  <a:gd name="connsiteY13" fmla="*/ 644545 h 3498714"/>
                  <a:gd name="connsiteX14" fmla="*/ 1542636 w 2842751"/>
                  <a:gd name="connsiteY14" fmla="*/ 1193969 h 3498714"/>
                  <a:gd name="connsiteX15" fmla="*/ 1929878 w 2842751"/>
                  <a:gd name="connsiteY15" fmla="*/ 1193970 h 3498714"/>
                  <a:gd name="connsiteX16" fmla="*/ 2070059 w 2842751"/>
                  <a:gd name="connsiteY16" fmla="*/ 1334152 h 3498714"/>
                  <a:gd name="connsiteX17" fmla="*/ 1929878 w 2842751"/>
                  <a:gd name="connsiteY17" fmla="*/ 1474333 h 3498714"/>
                  <a:gd name="connsiteX18" fmla="*/ 1520943 w 2842751"/>
                  <a:gd name="connsiteY18" fmla="*/ 1470388 h 3498714"/>
                  <a:gd name="connsiteX19" fmla="*/ 1332825 w 2842751"/>
                  <a:gd name="connsiteY19" fmla="*/ 1367201 h 3498714"/>
                  <a:gd name="connsiteX20" fmla="*/ 1106501 w 2842751"/>
                  <a:gd name="connsiteY20" fmla="*/ 1098289 h 3498714"/>
                  <a:gd name="connsiteX21" fmla="*/ 1101049 w 2842751"/>
                  <a:gd name="connsiteY21" fmla="*/ 1092836 h 3498714"/>
                  <a:gd name="connsiteX22" fmla="*/ 1046523 w 2842751"/>
                  <a:gd name="connsiteY22" fmla="*/ 1092836 h 3498714"/>
                  <a:gd name="connsiteX23" fmla="*/ 1041071 w 2842751"/>
                  <a:gd name="connsiteY23" fmla="*/ 1098289 h 3498714"/>
                  <a:gd name="connsiteX24" fmla="*/ 1042136 w 2842751"/>
                  <a:gd name="connsiteY24" fmla="*/ 1419754 h 3498714"/>
                  <a:gd name="connsiteX25" fmla="*/ 1042136 w 2842751"/>
                  <a:gd name="connsiteY25" fmla="*/ 3337652 h 3498714"/>
                  <a:gd name="connsiteX26" fmla="*/ 881075 w 2842751"/>
                  <a:gd name="connsiteY26" fmla="*/ 3498714 h 3498714"/>
                  <a:gd name="connsiteX27" fmla="*/ 720012 w 2842751"/>
                  <a:gd name="connsiteY27" fmla="*/ 3337652 h 3498714"/>
                  <a:gd name="connsiteX28" fmla="*/ 720012 w 2842751"/>
                  <a:gd name="connsiteY28" fmla="*/ 2125717 h 3498714"/>
                  <a:gd name="connsiteX29" fmla="*/ 718947 w 2842751"/>
                  <a:gd name="connsiteY29" fmla="*/ 2033194 h 3498714"/>
                  <a:gd name="connsiteX30" fmla="*/ 714162 w 2842751"/>
                  <a:gd name="connsiteY30" fmla="*/ 2028410 h 3498714"/>
                  <a:gd name="connsiteX31" fmla="*/ 654759 w 2842751"/>
                  <a:gd name="connsiteY31" fmla="*/ 2028410 h 3498714"/>
                  <a:gd name="connsiteX32" fmla="*/ 649974 w 2842751"/>
                  <a:gd name="connsiteY32" fmla="*/ 2033194 h 3498714"/>
                  <a:gd name="connsiteX33" fmla="*/ 649974 w 2842751"/>
                  <a:gd name="connsiteY33" fmla="*/ 2125717 h 3498714"/>
                  <a:gd name="connsiteX34" fmla="*/ 649574 w 2842751"/>
                  <a:gd name="connsiteY34" fmla="*/ 3337652 h 3498714"/>
                  <a:gd name="connsiteX35" fmla="*/ 488511 w 2842751"/>
                  <a:gd name="connsiteY35" fmla="*/ 3498714 h 3498714"/>
                  <a:gd name="connsiteX36" fmla="*/ 327450 w 2842751"/>
                  <a:gd name="connsiteY36" fmla="*/ 3337652 h 3498714"/>
                  <a:gd name="connsiteX37" fmla="*/ 327450 w 2842751"/>
                  <a:gd name="connsiteY37" fmla="*/ 1458216 h 3498714"/>
                  <a:gd name="connsiteX38" fmla="*/ 322427 w 2842751"/>
                  <a:gd name="connsiteY38" fmla="*/ 1098205 h 3498714"/>
                  <a:gd name="connsiteX39" fmla="*/ 317058 w 2842751"/>
                  <a:gd name="connsiteY39" fmla="*/ 1092836 h 3498714"/>
                  <a:gd name="connsiteX40" fmla="*/ 263371 w 2842751"/>
                  <a:gd name="connsiteY40" fmla="*/ 1092836 h 3498714"/>
                  <a:gd name="connsiteX41" fmla="*/ 258001 w 2842751"/>
                  <a:gd name="connsiteY41" fmla="*/ 1098205 h 3498714"/>
                  <a:gd name="connsiteX42" fmla="*/ 258001 w 2842751"/>
                  <a:gd name="connsiteY42" fmla="*/ 1444446 h 3498714"/>
                  <a:gd name="connsiteX43" fmla="*/ 257700 w 2842751"/>
                  <a:gd name="connsiteY43" fmla="*/ 1444370 h 3498714"/>
                  <a:gd name="connsiteX44" fmla="*/ 257700 w 2842751"/>
                  <a:gd name="connsiteY44" fmla="*/ 1912573 h 3498714"/>
                  <a:gd name="connsiteX45" fmla="*/ 128850 w 2842751"/>
                  <a:gd name="connsiteY45" fmla="*/ 2041423 h 3498714"/>
                  <a:gd name="connsiteX46" fmla="*/ 0 w 2842751"/>
                  <a:gd name="connsiteY46" fmla="*/ 1912573 h 3498714"/>
                  <a:gd name="connsiteX47" fmla="*/ 0 w 2842751"/>
                  <a:gd name="connsiteY47" fmla="*/ 1101802 h 3498714"/>
                  <a:gd name="connsiteX48" fmla="*/ 0 w 2842751"/>
                  <a:gd name="connsiteY48" fmla="*/ 1003338 h 3498714"/>
                  <a:gd name="connsiteX49" fmla="*/ 0 w 2842751"/>
                  <a:gd name="connsiteY49" fmla="*/ 982486 h 3498714"/>
                  <a:gd name="connsiteX50" fmla="*/ 12733 w 2842751"/>
                  <a:gd name="connsiteY50" fmla="*/ 894663 h 3498714"/>
                  <a:gd name="connsiteX51" fmla="*/ 20539 w 2842751"/>
                  <a:gd name="connsiteY51" fmla="*/ 868773 h 3498714"/>
                  <a:gd name="connsiteX52" fmla="*/ 358791 w 2842751"/>
                  <a:gd name="connsiteY52" fmla="*/ 644545 h 3498714"/>
                  <a:gd name="connsiteX53" fmla="*/ 682782 w 2842751"/>
                  <a:gd name="connsiteY53" fmla="*/ 0 h 3498714"/>
                  <a:gd name="connsiteX54" fmla="*/ 966919 w 2842751"/>
                  <a:gd name="connsiteY54" fmla="*/ 284138 h 3498714"/>
                  <a:gd name="connsiteX55" fmla="*/ 682782 w 2842751"/>
                  <a:gd name="connsiteY55" fmla="*/ 568275 h 3498714"/>
                  <a:gd name="connsiteX56" fmla="*/ 398645 w 2842751"/>
                  <a:gd name="connsiteY56" fmla="*/ 284138 h 3498714"/>
                  <a:gd name="connsiteX57" fmla="*/ 682782 w 2842751"/>
                  <a:gd name="connsiteY57" fmla="*/ 0 h 3498714"/>
                  <a:gd name="connsiteX58" fmla="*/ 2589325 w 2842751"/>
                  <a:gd name="connsiteY58" fmla="*/ 3124562 h 3498714"/>
                  <a:gd name="connsiteX59" fmla="*/ 2589325 w 2842751"/>
                  <a:gd name="connsiteY59" fmla="*/ 3361625 h 3498714"/>
                  <a:gd name="connsiteX60" fmla="*/ 2480313 w 2842751"/>
                  <a:gd name="connsiteY60" fmla="*/ 3470637 h 3498714"/>
                  <a:gd name="connsiteX61" fmla="*/ 2279239 w 2842751"/>
                  <a:gd name="connsiteY61" fmla="*/ 3470637 h 3498714"/>
                  <a:gd name="connsiteX62" fmla="*/ 2170227 w 2842751"/>
                  <a:gd name="connsiteY62" fmla="*/ 3361625 h 3498714"/>
                  <a:gd name="connsiteX63" fmla="*/ 2170227 w 2842751"/>
                  <a:gd name="connsiteY63" fmla="*/ 3124562 h 3498714"/>
                  <a:gd name="connsiteX64" fmla="*/ 2052754 w 2842751"/>
                  <a:gd name="connsiteY64" fmla="*/ 3124562 h 3498714"/>
                  <a:gd name="connsiteX65" fmla="*/ 1941629 w 2842751"/>
                  <a:gd name="connsiteY65" fmla="*/ 3013437 h 3498714"/>
                  <a:gd name="connsiteX66" fmla="*/ 2052754 w 2842751"/>
                  <a:gd name="connsiteY66" fmla="*/ 2902312 h 3498714"/>
                  <a:gd name="connsiteX67" fmla="*/ 682782 w 2842751"/>
                  <a:gd name="connsiteY67" fmla="*/ 0 h 3498714"/>
                  <a:gd name="connsiteX0" fmla="*/ 2251033 w 2842751"/>
                  <a:gd name="connsiteY0" fmla="*/ 2089512 h 3498714"/>
                  <a:gd name="connsiteX1" fmla="*/ 2070058 w 2842751"/>
                  <a:gd name="connsiteY1" fmla="*/ 2270487 h 3498714"/>
                  <a:gd name="connsiteX2" fmla="*/ 2251033 w 2842751"/>
                  <a:gd name="connsiteY2" fmla="*/ 2089512 h 3498714"/>
                  <a:gd name="connsiteX3" fmla="*/ 2842751 w 2842751"/>
                  <a:gd name="connsiteY3" fmla="*/ 1749356 h 3498714"/>
                  <a:gd name="connsiteX4" fmla="*/ 2392797 w 2842751"/>
                  <a:gd name="connsiteY4" fmla="*/ 1878907 h 3498714"/>
                  <a:gd name="connsiteX5" fmla="*/ 2478781 w 2842751"/>
                  <a:gd name="connsiteY5" fmla="*/ 1920808 h 3498714"/>
                  <a:gd name="connsiteX6" fmla="*/ 2842751 w 2842751"/>
                  <a:gd name="connsiteY6" fmla="*/ 1749356 h 3498714"/>
                  <a:gd name="connsiteX7" fmla="*/ 2534724 w 2842751"/>
                  <a:gd name="connsiteY7" fmla="*/ 982297 h 3498714"/>
                  <a:gd name="connsiteX8" fmla="*/ 1823360 w 2842751"/>
                  <a:gd name="connsiteY8" fmla="*/ 2279217 h 3498714"/>
                  <a:gd name="connsiteX9" fmla="*/ 2217440 w 2842751"/>
                  <a:gd name="connsiteY9" fmla="*/ 1856216 h 3498714"/>
                  <a:gd name="connsiteX10" fmla="*/ 2534724 w 2842751"/>
                  <a:gd name="connsiteY10" fmla="*/ 982297 h 3498714"/>
                  <a:gd name="connsiteX11" fmla="*/ 358791 w 2842751"/>
                  <a:gd name="connsiteY11" fmla="*/ 644545 h 3498714"/>
                  <a:gd name="connsiteX12" fmla="*/ 1006774 w 2842751"/>
                  <a:gd name="connsiteY12" fmla="*/ 644545 h 3498714"/>
                  <a:gd name="connsiteX13" fmla="*/ 1542636 w 2842751"/>
                  <a:gd name="connsiteY13" fmla="*/ 1193969 h 3498714"/>
                  <a:gd name="connsiteX14" fmla="*/ 1929878 w 2842751"/>
                  <a:gd name="connsiteY14" fmla="*/ 1193970 h 3498714"/>
                  <a:gd name="connsiteX15" fmla="*/ 2070059 w 2842751"/>
                  <a:gd name="connsiteY15" fmla="*/ 1334152 h 3498714"/>
                  <a:gd name="connsiteX16" fmla="*/ 1929878 w 2842751"/>
                  <a:gd name="connsiteY16" fmla="*/ 1474333 h 3498714"/>
                  <a:gd name="connsiteX17" fmla="*/ 1520943 w 2842751"/>
                  <a:gd name="connsiteY17" fmla="*/ 1470388 h 3498714"/>
                  <a:gd name="connsiteX18" fmla="*/ 1332825 w 2842751"/>
                  <a:gd name="connsiteY18" fmla="*/ 1367201 h 3498714"/>
                  <a:gd name="connsiteX19" fmla="*/ 1106501 w 2842751"/>
                  <a:gd name="connsiteY19" fmla="*/ 1098289 h 3498714"/>
                  <a:gd name="connsiteX20" fmla="*/ 1101049 w 2842751"/>
                  <a:gd name="connsiteY20" fmla="*/ 1092836 h 3498714"/>
                  <a:gd name="connsiteX21" fmla="*/ 1046523 w 2842751"/>
                  <a:gd name="connsiteY21" fmla="*/ 1092836 h 3498714"/>
                  <a:gd name="connsiteX22" fmla="*/ 1041071 w 2842751"/>
                  <a:gd name="connsiteY22" fmla="*/ 1098289 h 3498714"/>
                  <a:gd name="connsiteX23" fmla="*/ 1042136 w 2842751"/>
                  <a:gd name="connsiteY23" fmla="*/ 1419754 h 3498714"/>
                  <a:gd name="connsiteX24" fmla="*/ 1042136 w 2842751"/>
                  <a:gd name="connsiteY24" fmla="*/ 3337652 h 3498714"/>
                  <a:gd name="connsiteX25" fmla="*/ 881075 w 2842751"/>
                  <a:gd name="connsiteY25" fmla="*/ 3498714 h 3498714"/>
                  <a:gd name="connsiteX26" fmla="*/ 720012 w 2842751"/>
                  <a:gd name="connsiteY26" fmla="*/ 3337652 h 3498714"/>
                  <a:gd name="connsiteX27" fmla="*/ 720012 w 2842751"/>
                  <a:gd name="connsiteY27" fmla="*/ 2125717 h 3498714"/>
                  <a:gd name="connsiteX28" fmla="*/ 718947 w 2842751"/>
                  <a:gd name="connsiteY28" fmla="*/ 2033194 h 3498714"/>
                  <a:gd name="connsiteX29" fmla="*/ 714162 w 2842751"/>
                  <a:gd name="connsiteY29" fmla="*/ 2028410 h 3498714"/>
                  <a:gd name="connsiteX30" fmla="*/ 654759 w 2842751"/>
                  <a:gd name="connsiteY30" fmla="*/ 2028410 h 3498714"/>
                  <a:gd name="connsiteX31" fmla="*/ 649974 w 2842751"/>
                  <a:gd name="connsiteY31" fmla="*/ 2033194 h 3498714"/>
                  <a:gd name="connsiteX32" fmla="*/ 649974 w 2842751"/>
                  <a:gd name="connsiteY32" fmla="*/ 2125717 h 3498714"/>
                  <a:gd name="connsiteX33" fmla="*/ 649574 w 2842751"/>
                  <a:gd name="connsiteY33" fmla="*/ 3337652 h 3498714"/>
                  <a:gd name="connsiteX34" fmla="*/ 488511 w 2842751"/>
                  <a:gd name="connsiteY34" fmla="*/ 3498714 h 3498714"/>
                  <a:gd name="connsiteX35" fmla="*/ 327450 w 2842751"/>
                  <a:gd name="connsiteY35" fmla="*/ 3337652 h 3498714"/>
                  <a:gd name="connsiteX36" fmla="*/ 327450 w 2842751"/>
                  <a:gd name="connsiteY36" fmla="*/ 1458216 h 3498714"/>
                  <a:gd name="connsiteX37" fmla="*/ 322427 w 2842751"/>
                  <a:gd name="connsiteY37" fmla="*/ 1098205 h 3498714"/>
                  <a:gd name="connsiteX38" fmla="*/ 317058 w 2842751"/>
                  <a:gd name="connsiteY38" fmla="*/ 1092836 h 3498714"/>
                  <a:gd name="connsiteX39" fmla="*/ 263371 w 2842751"/>
                  <a:gd name="connsiteY39" fmla="*/ 1092836 h 3498714"/>
                  <a:gd name="connsiteX40" fmla="*/ 258001 w 2842751"/>
                  <a:gd name="connsiteY40" fmla="*/ 1098205 h 3498714"/>
                  <a:gd name="connsiteX41" fmla="*/ 258001 w 2842751"/>
                  <a:gd name="connsiteY41" fmla="*/ 1444446 h 3498714"/>
                  <a:gd name="connsiteX42" fmla="*/ 257700 w 2842751"/>
                  <a:gd name="connsiteY42" fmla="*/ 1444370 h 3498714"/>
                  <a:gd name="connsiteX43" fmla="*/ 257700 w 2842751"/>
                  <a:gd name="connsiteY43" fmla="*/ 1912573 h 3498714"/>
                  <a:gd name="connsiteX44" fmla="*/ 128850 w 2842751"/>
                  <a:gd name="connsiteY44" fmla="*/ 2041423 h 3498714"/>
                  <a:gd name="connsiteX45" fmla="*/ 0 w 2842751"/>
                  <a:gd name="connsiteY45" fmla="*/ 1912573 h 3498714"/>
                  <a:gd name="connsiteX46" fmla="*/ 0 w 2842751"/>
                  <a:gd name="connsiteY46" fmla="*/ 1101802 h 3498714"/>
                  <a:gd name="connsiteX47" fmla="*/ 0 w 2842751"/>
                  <a:gd name="connsiteY47" fmla="*/ 1003338 h 3498714"/>
                  <a:gd name="connsiteX48" fmla="*/ 0 w 2842751"/>
                  <a:gd name="connsiteY48" fmla="*/ 982486 h 3498714"/>
                  <a:gd name="connsiteX49" fmla="*/ 12733 w 2842751"/>
                  <a:gd name="connsiteY49" fmla="*/ 894663 h 3498714"/>
                  <a:gd name="connsiteX50" fmla="*/ 20539 w 2842751"/>
                  <a:gd name="connsiteY50" fmla="*/ 868773 h 3498714"/>
                  <a:gd name="connsiteX51" fmla="*/ 358791 w 2842751"/>
                  <a:gd name="connsiteY51" fmla="*/ 644545 h 3498714"/>
                  <a:gd name="connsiteX52" fmla="*/ 682782 w 2842751"/>
                  <a:gd name="connsiteY52" fmla="*/ 0 h 3498714"/>
                  <a:gd name="connsiteX53" fmla="*/ 966919 w 2842751"/>
                  <a:gd name="connsiteY53" fmla="*/ 284138 h 3498714"/>
                  <a:gd name="connsiteX54" fmla="*/ 682782 w 2842751"/>
                  <a:gd name="connsiteY54" fmla="*/ 568275 h 3498714"/>
                  <a:gd name="connsiteX55" fmla="*/ 398645 w 2842751"/>
                  <a:gd name="connsiteY55" fmla="*/ 284138 h 3498714"/>
                  <a:gd name="connsiteX56" fmla="*/ 682782 w 2842751"/>
                  <a:gd name="connsiteY56" fmla="*/ 0 h 3498714"/>
                  <a:gd name="connsiteX57" fmla="*/ 2589325 w 2842751"/>
                  <a:gd name="connsiteY57" fmla="*/ 3124562 h 3498714"/>
                  <a:gd name="connsiteX58" fmla="*/ 2589325 w 2842751"/>
                  <a:gd name="connsiteY58" fmla="*/ 3361625 h 3498714"/>
                  <a:gd name="connsiteX59" fmla="*/ 2480313 w 2842751"/>
                  <a:gd name="connsiteY59" fmla="*/ 3470637 h 3498714"/>
                  <a:gd name="connsiteX60" fmla="*/ 2279239 w 2842751"/>
                  <a:gd name="connsiteY60" fmla="*/ 3470637 h 3498714"/>
                  <a:gd name="connsiteX61" fmla="*/ 2170227 w 2842751"/>
                  <a:gd name="connsiteY61" fmla="*/ 3361625 h 3498714"/>
                  <a:gd name="connsiteX62" fmla="*/ 2170227 w 2842751"/>
                  <a:gd name="connsiteY62" fmla="*/ 3124562 h 3498714"/>
                  <a:gd name="connsiteX63" fmla="*/ 2052754 w 2842751"/>
                  <a:gd name="connsiteY63" fmla="*/ 3124562 h 3498714"/>
                  <a:gd name="connsiteX64" fmla="*/ 1941629 w 2842751"/>
                  <a:gd name="connsiteY64" fmla="*/ 3013437 h 3498714"/>
                  <a:gd name="connsiteX65" fmla="*/ 2052754 w 2842751"/>
                  <a:gd name="connsiteY65" fmla="*/ 2902312 h 3498714"/>
                  <a:gd name="connsiteX66" fmla="*/ 682782 w 2842751"/>
                  <a:gd name="connsiteY66" fmla="*/ 0 h 3498714"/>
                  <a:gd name="connsiteX0" fmla="*/ 2251033 w 2842751"/>
                  <a:gd name="connsiteY0" fmla="*/ 2089512 h 3498714"/>
                  <a:gd name="connsiteX1" fmla="*/ 2070058 w 2842751"/>
                  <a:gd name="connsiteY1" fmla="*/ 2270487 h 3498714"/>
                  <a:gd name="connsiteX2" fmla="*/ 2251033 w 2842751"/>
                  <a:gd name="connsiteY2" fmla="*/ 2089512 h 3498714"/>
                  <a:gd name="connsiteX3" fmla="*/ 2842751 w 2842751"/>
                  <a:gd name="connsiteY3" fmla="*/ 1749356 h 3498714"/>
                  <a:gd name="connsiteX4" fmla="*/ 2392797 w 2842751"/>
                  <a:gd name="connsiteY4" fmla="*/ 1878907 h 3498714"/>
                  <a:gd name="connsiteX5" fmla="*/ 2478781 w 2842751"/>
                  <a:gd name="connsiteY5" fmla="*/ 1920808 h 3498714"/>
                  <a:gd name="connsiteX6" fmla="*/ 2842751 w 2842751"/>
                  <a:gd name="connsiteY6" fmla="*/ 1749356 h 3498714"/>
                  <a:gd name="connsiteX7" fmla="*/ 2534724 w 2842751"/>
                  <a:gd name="connsiteY7" fmla="*/ 982297 h 3498714"/>
                  <a:gd name="connsiteX8" fmla="*/ 2217440 w 2842751"/>
                  <a:gd name="connsiteY8" fmla="*/ 1856216 h 3498714"/>
                  <a:gd name="connsiteX9" fmla="*/ 2534724 w 2842751"/>
                  <a:gd name="connsiteY9" fmla="*/ 982297 h 3498714"/>
                  <a:gd name="connsiteX10" fmla="*/ 358791 w 2842751"/>
                  <a:gd name="connsiteY10" fmla="*/ 644545 h 3498714"/>
                  <a:gd name="connsiteX11" fmla="*/ 1006774 w 2842751"/>
                  <a:gd name="connsiteY11" fmla="*/ 644545 h 3498714"/>
                  <a:gd name="connsiteX12" fmla="*/ 1542636 w 2842751"/>
                  <a:gd name="connsiteY12" fmla="*/ 1193969 h 3498714"/>
                  <a:gd name="connsiteX13" fmla="*/ 1929878 w 2842751"/>
                  <a:gd name="connsiteY13" fmla="*/ 1193970 h 3498714"/>
                  <a:gd name="connsiteX14" fmla="*/ 2070059 w 2842751"/>
                  <a:gd name="connsiteY14" fmla="*/ 1334152 h 3498714"/>
                  <a:gd name="connsiteX15" fmla="*/ 1929878 w 2842751"/>
                  <a:gd name="connsiteY15" fmla="*/ 1474333 h 3498714"/>
                  <a:gd name="connsiteX16" fmla="*/ 1520943 w 2842751"/>
                  <a:gd name="connsiteY16" fmla="*/ 1470388 h 3498714"/>
                  <a:gd name="connsiteX17" fmla="*/ 1332825 w 2842751"/>
                  <a:gd name="connsiteY17" fmla="*/ 1367201 h 3498714"/>
                  <a:gd name="connsiteX18" fmla="*/ 1106501 w 2842751"/>
                  <a:gd name="connsiteY18" fmla="*/ 1098289 h 3498714"/>
                  <a:gd name="connsiteX19" fmla="*/ 1101049 w 2842751"/>
                  <a:gd name="connsiteY19" fmla="*/ 1092836 h 3498714"/>
                  <a:gd name="connsiteX20" fmla="*/ 1046523 w 2842751"/>
                  <a:gd name="connsiteY20" fmla="*/ 1092836 h 3498714"/>
                  <a:gd name="connsiteX21" fmla="*/ 1041071 w 2842751"/>
                  <a:gd name="connsiteY21" fmla="*/ 1098289 h 3498714"/>
                  <a:gd name="connsiteX22" fmla="*/ 1042136 w 2842751"/>
                  <a:gd name="connsiteY22" fmla="*/ 1419754 h 3498714"/>
                  <a:gd name="connsiteX23" fmla="*/ 1042136 w 2842751"/>
                  <a:gd name="connsiteY23" fmla="*/ 3337652 h 3498714"/>
                  <a:gd name="connsiteX24" fmla="*/ 881075 w 2842751"/>
                  <a:gd name="connsiteY24" fmla="*/ 3498714 h 3498714"/>
                  <a:gd name="connsiteX25" fmla="*/ 720012 w 2842751"/>
                  <a:gd name="connsiteY25" fmla="*/ 3337652 h 3498714"/>
                  <a:gd name="connsiteX26" fmla="*/ 720012 w 2842751"/>
                  <a:gd name="connsiteY26" fmla="*/ 2125717 h 3498714"/>
                  <a:gd name="connsiteX27" fmla="*/ 718947 w 2842751"/>
                  <a:gd name="connsiteY27" fmla="*/ 2033194 h 3498714"/>
                  <a:gd name="connsiteX28" fmla="*/ 714162 w 2842751"/>
                  <a:gd name="connsiteY28" fmla="*/ 2028410 h 3498714"/>
                  <a:gd name="connsiteX29" fmla="*/ 654759 w 2842751"/>
                  <a:gd name="connsiteY29" fmla="*/ 2028410 h 3498714"/>
                  <a:gd name="connsiteX30" fmla="*/ 649974 w 2842751"/>
                  <a:gd name="connsiteY30" fmla="*/ 2033194 h 3498714"/>
                  <a:gd name="connsiteX31" fmla="*/ 649974 w 2842751"/>
                  <a:gd name="connsiteY31" fmla="*/ 2125717 h 3498714"/>
                  <a:gd name="connsiteX32" fmla="*/ 649574 w 2842751"/>
                  <a:gd name="connsiteY32" fmla="*/ 3337652 h 3498714"/>
                  <a:gd name="connsiteX33" fmla="*/ 488511 w 2842751"/>
                  <a:gd name="connsiteY33" fmla="*/ 3498714 h 3498714"/>
                  <a:gd name="connsiteX34" fmla="*/ 327450 w 2842751"/>
                  <a:gd name="connsiteY34" fmla="*/ 3337652 h 3498714"/>
                  <a:gd name="connsiteX35" fmla="*/ 327450 w 2842751"/>
                  <a:gd name="connsiteY35" fmla="*/ 1458216 h 3498714"/>
                  <a:gd name="connsiteX36" fmla="*/ 322427 w 2842751"/>
                  <a:gd name="connsiteY36" fmla="*/ 1098205 h 3498714"/>
                  <a:gd name="connsiteX37" fmla="*/ 317058 w 2842751"/>
                  <a:gd name="connsiteY37" fmla="*/ 1092836 h 3498714"/>
                  <a:gd name="connsiteX38" fmla="*/ 263371 w 2842751"/>
                  <a:gd name="connsiteY38" fmla="*/ 1092836 h 3498714"/>
                  <a:gd name="connsiteX39" fmla="*/ 258001 w 2842751"/>
                  <a:gd name="connsiteY39" fmla="*/ 1098205 h 3498714"/>
                  <a:gd name="connsiteX40" fmla="*/ 258001 w 2842751"/>
                  <a:gd name="connsiteY40" fmla="*/ 1444446 h 3498714"/>
                  <a:gd name="connsiteX41" fmla="*/ 257700 w 2842751"/>
                  <a:gd name="connsiteY41" fmla="*/ 1444370 h 3498714"/>
                  <a:gd name="connsiteX42" fmla="*/ 257700 w 2842751"/>
                  <a:gd name="connsiteY42" fmla="*/ 1912573 h 3498714"/>
                  <a:gd name="connsiteX43" fmla="*/ 128850 w 2842751"/>
                  <a:gd name="connsiteY43" fmla="*/ 2041423 h 3498714"/>
                  <a:gd name="connsiteX44" fmla="*/ 0 w 2842751"/>
                  <a:gd name="connsiteY44" fmla="*/ 1912573 h 3498714"/>
                  <a:gd name="connsiteX45" fmla="*/ 0 w 2842751"/>
                  <a:gd name="connsiteY45" fmla="*/ 1101802 h 3498714"/>
                  <a:gd name="connsiteX46" fmla="*/ 0 w 2842751"/>
                  <a:gd name="connsiteY46" fmla="*/ 1003338 h 3498714"/>
                  <a:gd name="connsiteX47" fmla="*/ 0 w 2842751"/>
                  <a:gd name="connsiteY47" fmla="*/ 982486 h 3498714"/>
                  <a:gd name="connsiteX48" fmla="*/ 12733 w 2842751"/>
                  <a:gd name="connsiteY48" fmla="*/ 894663 h 3498714"/>
                  <a:gd name="connsiteX49" fmla="*/ 20539 w 2842751"/>
                  <a:gd name="connsiteY49" fmla="*/ 868773 h 3498714"/>
                  <a:gd name="connsiteX50" fmla="*/ 358791 w 2842751"/>
                  <a:gd name="connsiteY50" fmla="*/ 644545 h 3498714"/>
                  <a:gd name="connsiteX51" fmla="*/ 682782 w 2842751"/>
                  <a:gd name="connsiteY51" fmla="*/ 0 h 3498714"/>
                  <a:gd name="connsiteX52" fmla="*/ 966919 w 2842751"/>
                  <a:gd name="connsiteY52" fmla="*/ 284138 h 3498714"/>
                  <a:gd name="connsiteX53" fmla="*/ 682782 w 2842751"/>
                  <a:gd name="connsiteY53" fmla="*/ 568275 h 3498714"/>
                  <a:gd name="connsiteX54" fmla="*/ 398645 w 2842751"/>
                  <a:gd name="connsiteY54" fmla="*/ 284138 h 3498714"/>
                  <a:gd name="connsiteX55" fmla="*/ 682782 w 2842751"/>
                  <a:gd name="connsiteY55" fmla="*/ 0 h 3498714"/>
                  <a:gd name="connsiteX56" fmla="*/ 2589325 w 2842751"/>
                  <a:gd name="connsiteY56" fmla="*/ 3124562 h 3498714"/>
                  <a:gd name="connsiteX57" fmla="*/ 2589325 w 2842751"/>
                  <a:gd name="connsiteY57" fmla="*/ 3361625 h 3498714"/>
                  <a:gd name="connsiteX58" fmla="*/ 2480313 w 2842751"/>
                  <a:gd name="connsiteY58" fmla="*/ 3470637 h 3498714"/>
                  <a:gd name="connsiteX59" fmla="*/ 2279239 w 2842751"/>
                  <a:gd name="connsiteY59" fmla="*/ 3470637 h 3498714"/>
                  <a:gd name="connsiteX60" fmla="*/ 2170227 w 2842751"/>
                  <a:gd name="connsiteY60" fmla="*/ 3361625 h 3498714"/>
                  <a:gd name="connsiteX61" fmla="*/ 2170227 w 2842751"/>
                  <a:gd name="connsiteY61" fmla="*/ 3124562 h 3498714"/>
                  <a:gd name="connsiteX62" fmla="*/ 2052754 w 2842751"/>
                  <a:gd name="connsiteY62" fmla="*/ 3124562 h 3498714"/>
                  <a:gd name="connsiteX63" fmla="*/ 1941629 w 2842751"/>
                  <a:gd name="connsiteY63" fmla="*/ 3013437 h 3498714"/>
                  <a:gd name="connsiteX64" fmla="*/ 2052754 w 2842751"/>
                  <a:gd name="connsiteY64" fmla="*/ 2902312 h 3498714"/>
                  <a:gd name="connsiteX65" fmla="*/ 682782 w 2842751"/>
                  <a:gd name="connsiteY65" fmla="*/ 0 h 3498714"/>
                  <a:gd name="connsiteX0" fmla="*/ 2842751 w 2842751"/>
                  <a:gd name="connsiteY0" fmla="*/ 1749356 h 3498714"/>
                  <a:gd name="connsiteX1" fmla="*/ 2392797 w 2842751"/>
                  <a:gd name="connsiteY1" fmla="*/ 1878907 h 3498714"/>
                  <a:gd name="connsiteX2" fmla="*/ 2478781 w 2842751"/>
                  <a:gd name="connsiteY2" fmla="*/ 1920808 h 3498714"/>
                  <a:gd name="connsiteX3" fmla="*/ 2842751 w 2842751"/>
                  <a:gd name="connsiteY3" fmla="*/ 1749356 h 3498714"/>
                  <a:gd name="connsiteX4" fmla="*/ 2534724 w 2842751"/>
                  <a:gd name="connsiteY4" fmla="*/ 982297 h 3498714"/>
                  <a:gd name="connsiteX5" fmla="*/ 2217440 w 2842751"/>
                  <a:gd name="connsiteY5" fmla="*/ 1856216 h 3498714"/>
                  <a:gd name="connsiteX6" fmla="*/ 2534724 w 2842751"/>
                  <a:gd name="connsiteY6" fmla="*/ 982297 h 3498714"/>
                  <a:gd name="connsiteX7" fmla="*/ 358791 w 2842751"/>
                  <a:gd name="connsiteY7" fmla="*/ 644545 h 3498714"/>
                  <a:gd name="connsiteX8" fmla="*/ 1006774 w 2842751"/>
                  <a:gd name="connsiteY8" fmla="*/ 644545 h 3498714"/>
                  <a:gd name="connsiteX9" fmla="*/ 1542636 w 2842751"/>
                  <a:gd name="connsiteY9" fmla="*/ 1193969 h 3498714"/>
                  <a:gd name="connsiteX10" fmla="*/ 1929878 w 2842751"/>
                  <a:gd name="connsiteY10" fmla="*/ 1193970 h 3498714"/>
                  <a:gd name="connsiteX11" fmla="*/ 2070059 w 2842751"/>
                  <a:gd name="connsiteY11" fmla="*/ 1334152 h 3498714"/>
                  <a:gd name="connsiteX12" fmla="*/ 1929878 w 2842751"/>
                  <a:gd name="connsiteY12" fmla="*/ 1474333 h 3498714"/>
                  <a:gd name="connsiteX13" fmla="*/ 1520943 w 2842751"/>
                  <a:gd name="connsiteY13" fmla="*/ 1470388 h 3498714"/>
                  <a:gd name="connsiteX14" fmla="*/ 1332825 w 2842751"/>
                  <a:gd name="connsiteY14" fmla="*/ 1367201 h 3498714"/>
                  <a:gd name="connsiteX15" fmla="*/ 1106501 w 2842751"/>
                  <a:gd name="connsiteY15" fmla="*/ 1098289 h 3498714"/>
                  <a:gd name="connsiteX16" fmla="*/ 1101049 w 2842751"/>
                  <a:gd name="connsiteY16" fmla="*/ 1092836 h 3498714"/>
                  <a:gd name="connsiteX17" fmla="*/ 1046523 w 2842751"/>
                  <a:gd name="connsiteY17" fmla="*/ 1092836 h 3498714"/>
                  <a:gd name="connsiteX18" fmla="*/ 1041071 w 2842751"/>
                  <a:gd name="connsiteY18" fmla="*/ 1098289 h 3498714"/>
                  <a:gd name="connsiteX19" fmla="*/ 1042136 w 2842751"/>
                  <a:gd name="connsiteY19" fmla="*/ 1419754 h 3498714"/>
                  <a:gd name="connsiteX20" fmla="*/ 1042136 w 2842751"/>
                  <a:gd name="connsiteY20" fmla="*/ 3337652 h 3498714"/>
                  <a:gd name="connsiteX21" fmla="*/ 881075 w 2842751"/>
                  <a:gd name="connsiteY21" fmla="*/ 3498714 h 3498714"/>
                  <a:gd name="connsiteX22" fmla="*/ 720012 w 2842751"/>
                  <a:gd name="connsiteY22" fmla="*/ 3337652 h 3498714"/>
                  <a:gd name="connsiteX23" fmla="*/ 720012 w 2842751"/>
                  <a:gd name="connsiteY23" fmla="*/ 2125717 h 3498714"/>
                  <a:gd name="connsiteX24" fmla="*/ 718947 w 2842751"/>
                  <a:gd name="connsiteY24" fmla="*/ 2033194 h 3498714"/>
                  <a:gd name="connsiteX25" fmla="*/ 714162 w 2842751"/>
                  <a:gd name="connsiteY25" fmla="*/ 2028410 h 3498714"/>
                  <a:gd name="connsiteX26" fmla="*/ 654759 w 2842751"/>
                  <a:gd name="connsiteY26" fmla="*/ 2028410 h 3498714"/>
                  <a:gd name="connsiteX27" fmla="*/ 649974 w 2842751"/>
                  <a:gd name="connsiteY27" fmla="*/ 2033194 h 3498714"/>
                  <a:gd name="connsiteX28" fmla="*/ 649974 w 2842751"/>
                  <a:gd name="connsiteY28" fmla="*/ 2125717 h 3498714"/>
                  <a:gd name="connsiteX29" fmla="*/ 649574 w 2842751"/>
                  <a:gd name="connsiteY29" fmla="*/ 3337652 h 3498714"/>
                  <a:gd name="connsiteX30" fmla="*/ 488511 w 2842751"/>
                  <a:gd name="connsiteY30" fmla="*/ 3498714 h 3498714"/>
                  <a:gd name="connsiteX31" fmla="*/ 327450 w 2842751"/>
                  <a:gd name="connsiteY31" fmla="*/ 3337652 h 3498714"/>
                  <a:gd name="connsiteX32" fmla="*/ 327450 w 2842751"/>
                  <a:gd name="connsiteY32" fmla="*/ 1458216 h 3498714"/>
                  <a:gd name="connsiteX33" fmla="*/ 322427 w 2842751"/>
                  <a:gd name="connsiteY33" fmla="*/ 1098205 h 3498714"/>
                  <a:gd name="connsiteX34" fmla="*/ 317058 w 2842751"/>
                  <a:gd name="connsiteY34" fmla="*/ 1092836 h 3498714"/>
                  <a:gd name="connsiteX35" fmla="*/ 263371 w 2842751"/>
                  <a:gd name="connsiteY35" fmla="*/ 1092836 h 3498714"/>
                  <a:gd name="connsiteX36" fmla="*/ 258001 w 2842751"/>
                  <a:gd name="connsiteY36" fmla="*/ 1098205 h 3498714"/>
                  <a:gd name="connsiteX37" fmla="*/ 258001 w 2842751"/>
                  <a:gd name="connsiteY37" fmla="*/ 1444446 h 3498714"/>
                  <a:gd name="connsiteX38" fmla="*/ 257700 w 2842751"/>
                  <a:gd name="connsiteY38" fmla="*/ 1444370 h 3498714"/>
                  <a:gd name="connsiteX39" fmla="*/ 257700 w 2842751"/>
                  <a:gd name="connsiteY39" fmla="*/ 1912573 h 3498714"/>
                  <a:gd name="connsiteX40" fmla="*/ 128850 w 2842751"/>
                  <a:gd name="connsiteY40" fmla="*/ 2041423 h 3498714"/>
                  <a:gd name="connsiteX41" fmla="*/ 0 w 2842751"/>
                  <a:gd name="connsiteY41" fmla="*/ 1912573 h 3498714"/>
                  <a:gd name="connsiteX42" fmla="*/ 0 w 2842751"/>
                  <a:gd name="connsiteY42" fmla="*/ 1101802 h 3498714"/>
                  <a:gd name="connsiteX43" fmla="*/ 0 w 2842751"/>
                  <a:gd name="connsiteY43" fmla="*/ 1003338 h 3498714"/>
                  <a:gd name="connsiteX44" fmla="*/ 0 w 2842751"/>
                  <a:gd name="connsiteY44" fmla="*/ 982486 h 3498714"/>
                  <a:gd name="connsiteX45" fmla="*/ 12733 w 2842751"/>
                  <a:gd name="connsiteY45" fmla="*/ 894663 h 3498714"/>
                  <a:gd name="connsiteX46" fmla="*/ 20539 w 2842751"/>
                  <a:gd name="connsiteY46" fmla="*/ 868773 h 3498714"/>
                  <a:gd name="connsiteX47" fmla="*/ 358791 w 2842751"/>
                  <a:gd name="connsiteY47" fmla="*/ 644545 h 3498714"/>
                  <a:gd name="connsiteX48" fmla="*/ 682782 w 2842751"/>
                  <a:gd name="connsiteY48" fmla="*/ 0 h 3498714"/>
                  <a:gd name="connsiteX49" fmla="*/ 966919 w 2842751"/>
                  <a:gd name="connsiteY49" fmla="*/ 284138 h 3498714"/>
                  <a:gd name="connsiteX50" fmla="*/ 682782 w 2842751"/>
                  <a:gd name="connsiteY50" fmla="*/ 568275 h 3498714"/>
                  <a:gd name="connsiteX51" fmla="*/ 398645 w 2842751"/>
                  <a:gd name="connsiteY51" fmla="*/ 284138 h 3498714"/>
                  <a:gd name="connsiteX52" fmla="*/ 682782 w 2842751"/>
                  <a:gd name="connsiteY52" fmla="*/ 0 h 3498714"/>
                  <a:gd name="connsiteX53" fmla="*/ 2589325 w 2842751"/>
                  <a:gd name="connsiteY53" fmla="*/ 3124562 h 3498714"/>
                  <a:gd name="connsiteX54" fmla="*/ 2589325 w 2842751"/>
                  <a:gd name="connsiteY54" fmla="*/ 3361625 h 3498714"/>
                  <a:gd name="connsiteX55" fmla="*/ 2480313 w 2842751"/>
                  <a:gd name="connsiteY55" fmla="*/ 3470637 h 3498714"/>
                  <a:gd name="connsiteX56" fmla="*/ 2279239 w 2842751"/>
                  <a:gd name="connsiteY56" fmla="*/ 3470637 h 3498714"/>
                  <a:gd name="connsiteX57" fmla="*/ 2170227 w 2842751"/>
                  <a:gd name="connsiteY57" fmla="*/ 3361625 h 3498714"/>
                  <a:gd name="connsiteX58" fmla="*/ 2170227 w 2842751"/>
                  <a:gd name="connsiteY58" fmla="*/ 3124562 h 3498714"/>
                  <a:gd name="connsiteX59" fmla="*/ 2052754 w 2842751"/>
                  <a:gd name="connsiteY59" fmla="*/ 3124562 h 3498714"/>
                  <a:gd name="connsiteX60" fmla="*/ 1941629 w 2842751"/>
                  <a:gd name="connsiteY60" fmla="*/ 3013437 h 3498714"/>
                  <a:gd name="connsiteX61" fmla="*/ 2052754 w 2842751"/>
                  <a:gd name="connsiteY61" fmla="*/ 2902312 h 3498714"/>
                  <a:gd name="connsiteX62" fmla="*/ 682782 w 2842751"/>
                  <a:gd name="connsiteY62" fmla="*/ 0 h 3498714"/>
                  <a:gd name="connsiteX0" fmla="*/ 2842751 w 2842751"/>
                  <a:gd name="connsiteY0" fmla="*/ 1749356 h 3498714"/>
                  <a:gd name="connsiteX1" fmla="*/ 2392797 w 2842751"/>
                  <a:gd name="connsiteY1" fmla="*/ 1878907 h 3498714"/>
                  <a:gd name="connsiteX2" fmla="*/ 2478781 w 2842751"/>
                  <a:gd name="connsiteY2" fmla="*/ 1920808 h 3498714"/>
                  <a:gd name="connsiteX3" fmla="*/ 2842751 w 2842751"/>
                  <a:gd name="connsiteY3" fmla="*/ 1749356 h 3498714"/>
                  <a:gd name="connsiteX4" fmla="*/ 358791 w 2842751"/>
                  <a:gd name="connsiteY4" fmla="*/ 644545 h 3498714"/>
                  <a:gd name="connsiteX5" fmla="*/ 1006774 w 2842751"/>
                  <a:gd name="connsiteY5" fmla="*/ 644545 h 3498714"/>
                  <a:gd name="connsiteX6" fmla="*/ 1542636 w 2842751"/>
                  <a:gd name="connsiteY6" fmla="*/ 1193969 h 3498714"/>
                  <a:gd name="connsiteX7" fmla="*/ 1929878 w 2842751"/>
                  <a:gd name="connsiteY7" fmla="*/ 1193970 h 3498714"/>
                  <a:gd name="connsiteX8" fmla="*/ 2070059 w 2842751"/>
                  <a:gd name="connsiteY8" fmla="*/ 1334152 h 3498714"/>
                  <a:gd name="connsiteX9" fmla="*/ 1929878 w 2842751"/>
                  <a:gd name="connsiteY9" fmla="*/ 1474333 h 3498714"/>
                  <a:gd name="connsiteX10" fmla="*/ 1520943 w 2842751"/>
                  <a:gd name="connsiteY10" fmla="*/ 1470388 h 3498714"/>
                  <a:gd name="connsiteX11" fmla="*/ 1332825 w 2842751"/>
                  <a:gd name="connsiteY11" fmla="*/ 1367201 h 3498714"/>
                  <a:gd name="connsiteX12" fmla="*/ 1106501 w 2842751"/>
                  <a:gd name="connsiteY12" fmla="*/ 1098289 h 3498714"/>
                  <a:gd name="connsiteX13" fmla="*/ 1101049 w 2842751"/>
                  <a:gd name="connsiteY13" fmla="*/ 1092836 h 3498714"/>
                  <a:gd name="connsiteX14" fmla="*/ 1046523 w 2842751"/>
                  <a:gd name="connsiteY14" fmla="*/ 1092836 h 3498714"/>
                  <a:gd name="connsiteX15" fmla="*/ 1041071 w 2842751"/>
                  <a:gd name="connsiteY15" fmla="*/ 1098289 h 3498714"/>
                  <a:gd name="connsiteX16" fmla="*/ 1042136 w 2842751"/>
                  <a:gd name="connsiteY16" fmla="*/ 1419754 h 3498714"/>
                  <a:gd name="connsiteX17" fmla="*/ 1042136 w 2842751"/>
                  <a:gd name="connsiteY17" fmla="*/ 3337652 h 3498714"/>
                  <a:gd name="connsiteX18" fmla="*/ 881075 w 2842751"/>
                  <a:gd name="connsiteY18" fmla="*/ 3498714 h 3498714"/>
                  <a:gd name="connsiteX19" fmla="*/ 720012 w 2842751"/>
                  <a:gd name="connsiteY19" fmla="*/ 3337652 h 3498714"/>
                  <a:gd name="connsiteX20" fmla="*/ 720012 w 2842751"/>
                  <a:gd name="connsiteY20" fmla="*/ 2125717 h 3498714"/>
                  <a:gd name="connsiteX21" fmla="*/ 718947 w 2842751"/>
                  <a:gd name="connsiteY21" fmla="*/ 2033194 h 3498714"/>
                  <a:gd name="connsiteX22" fmla="*/ 714162 w 2842751"/>
                  <a:gd name="connsiteY22" fmla="*/ 2028410 h 3498714"/>
                  <a:gd name="connsiteX23" fmla="*/ 654759 w 2842751"/>
                  <a:gd name="connsiteY23" fmla="*/ 2028410 h 3498714"/>
                  <a:gd name="connsiteX24" fmla="*/ 649974 w 2842751"/>
                  <a:gd name="connsiteY24" fmla="*/ 2033194 h 3498714"/>
                  <a:gd name="connsiteX25" fmla="*/ 649974 w 2842751"/>
                  <a:gd name="connsiteY25" fmla="*/ 2125717 h 3498714"/>
                  <a:gd name="connsiteX26" fmla="*/ 649574 w 2842751"/>
                  <a:gd name="connsiteY26" fmla="*/ 3337652 h 3498714"/>
                  <a:gd name="connsiteX27" fmla="*/ 488511 w 2842751"/>
                  <a:gd name="connsiteY27" fmla="*/ 3498714 h 3498714"/>
                  <a:gd name="connsiteX28" fmla="*/ 327450 w 2842751"/>
                  <a:gd name="connsiteY28" fmla="*/ 3337652 h 3498714"/>
                  <a:gd name="connsiteX29" fmla="*/ 327450 w 2842751"/>
                  <a:gd name="connsiteY29" fmla="*/ 1458216 h 3498714"/>
                  <a:gd name="connsiteX30" fmla="*/ 322427 w 2842751"/>
                  <a:gd name="connsiteY30" fmla="*/ 1098205 h 3498714"/>
                  <a:gd name="connsiteX31" fmla="*/ 317058 w 2842751"/>
                  <a:gd name="connsiteY31" fmla="*/ 1092836 h 3498714"/>
                  <a:gd name="connsiteX32" fmla="*/ 263371 w 2842751"/>
                  <a:gd name="connsiteY32" fmla="*/ 1092836 h 3498714"/>
                  <a:gd name="connsiteX33" fmla="*/ 258001 w 2842751"/>
                  <a:gd name="connsiteY33" fmla="*/ 1098205 h 3498714"/>
                  <a:gd name="connsiteX34" fmla="*/ 258001 w 2842751"/>
                  <a:gd name="connsiteY34" fmla="*/ 1444446 h 3498714"/>
                  <a:gd name="connsiteX35" fmla="*/ 257700 w 2842751"/>
                  <a:gd name="connsiteY35" fmla="*/ 1444370 h 3498714"/>
                  <a:gd name="connsiteX36" fmla="*/ 257700 w 2842751"/>
                  <a:gd name="connsiteY36" fmla="*/ 1912573 h 3498714"/>
                  <a:gd name="connsiteX37" fmla="*/ 128850 w 2842751"/>
                  <a:gd name="connsiteY37" fmla="*/ 2041423 h 3498714"/>
                  <a:gd name="connsiteX38" fmla="*/ 0 w 2842751"/>
                  <a:gd name="connsiteY38" fmla="*/ 1912573 h 3498714"/>
                  <a:gd name="connsiteX39" fmla="*/ 0 w 2842751"/>
                  <a:gd name="connsiteY39" fmla="*/ 1101802 h 3498714"/>
                  <a:gd name="connsiteX40" fmla="*/ 0 w 2842751"/>
                  <a:gd name="connsiteY40" fmla="*/ 1003338 h 3498714"/>
                  <a:gd name="connsiteX41" fmla="*/ 0 w 2842751"/>
                  <a:gd name="connsiteY41" fmla="*/ 982486 h 3498714"/>
                  <a:gd name="connsiteX42" fmla="*/ 12733 w 2842751"/>
                  <a:gd name="connsiteY42" fmla="*/ 894663 h 3498714"/>
                  <a:gd name="connsiteX43" fmla="*/ 20539 w 2842751"/>
                  <a:gd name="connsiteY43" fmla="*/ 868773 h 3498714"/>
                  <a:gd name="connsiteX44" fmla="*/ 358791 w 2842751"/>
                  <a:gd name="connsiteY44" fmla="*/ 644545 h 3498714"/>
                  <a:gd name="connsiteX45" fmla="*/ 682782 w 2842751"/>
                  <a:gd name="connsiteY45" fmla="*/ 0 h 3498714"/>
                  <a:gd name="connsiteX46" fmla="*/ 966919 w 2842751"/>
                  <a:gd name="connsiteY46" fmla="*/ 284138 h 3498714"/>
                  <a:gd name="connsiteX47" fmla="*/ 682782 w 2842751"/>
                  <a:gd name="connsiteY47" fmla="*/ 568275 h 3498714"/>
                  <a:gd name="connsiteX48" fmla="*/ 398645 w 2842751"/>
                  <a:gd name="connsiteY48" fmla="*/ 284138 h 3498714"/>
                  <a:gd name="connsiteX49" fmla="*/ 682782 w 2842751"/>
                  <a:gd name="connsiteY49" fmla="*/ 0 h 3498714"/>
                  <a:gd name="connsiteX50" fmla="*/ 2589325 w 2842751"/>
                  <a:gd name="connsiteY50" fmla="*/ 3124562 h 3498714"/>
                  <a:gd name="connsiteX51" fmla="*/ 2589325 w 2842751"/>
                  <a:gd name="connsiteY51" fmla="*/ 3361625 h 3498714"/>
                  <a:gd name="connsiteX52" fmla="*/ 2480313 w 2842751"/>
                  <a:gd name="connsiteY52" fmla="*/ 3470637 h 3498714"/>
                  <a:gd name="connsiteX53" fmla="*/ 2279239 w 2842751"/>
                  <a:gd name="connsiteY53" fmla="*/ 3470637 h 3498714"/>
                  <a:gd name="connsiteX54" fmla="*/ 2170227 w 2842751"/>
                  <a:gd name="connsiteY54" fmla="*/ 3361625 h 3498714"/>
                  <a:gd name="connsiteX55" fmla="*/ 2170227 w 2842751"/>
                  <a:gd name="connsiteY55" fmla="*/ 3124562 h 3498714"/>
                  <a:gd name="connsiteX56" fmla="*/ 2052754 w 2842751"/>
                  <a:gd name="connsiteY56" fmla="*/ 3124562 h 3498714"/>
                  <a:gd name="connsiteX57" fmla="*/ 1941629 w 2842751"/>
                  <a:gd name="connsiteY57" fmla="*/ 3013437 h 3498714"/>
                  <a:gd name="connsiteX58" fmla="*/ 2052754 w 2842751"/>
                  <a:gd name="connsiteY58" fmla="*/ 2902312 h 3498714"/>
                  <a:gd name="connsiteX59" fmla="*/ 682782 w 2842751"/>
                  <a:gd name="connsiteY59" fmla="*/ 0 h 3498714"/>
                  <a:gd name="connsiteX0" fmla="*/ 2478781 w 2589325"/>
                  <a:gd name="connsiteY0" fmla="*/ 1920808 h 3498714"/>
                  <a:gd name="connsiteX1" fmla="*/ 2392797 w 2589325"/>
                  <a:gd name="connsiteY1" fmla="*/ 1878907 h 3498714"/>
                  <a:gd name="connsiteX2" fmla="*/ 2478781 w 2589325"/>
                  <a:gd name="connsiteY2" fmla="*/ 1920808 h 3498714"/>
                  <a:gd name="connsiteX3" fmla="*/ 358791 w 2589325"/>
                  <a:gd name="connsiteY3" fmla="*/ 644545 h 3498714"/>
                  <a:gd name="connsiteX4" fmla="*/ 1006774 w 2589325"/>
                  <a:gd name="connsiteY4" fmla="*/ 644545 h 3498714"/>
                  <a:gd name="connsiteX5" fmla="*/ 1542636 w 2589325"/>
                  <a:gd name="connsiteY5" fmla="*/ 1193969 h 3498714"/>
                  <a:gd name="connsiteX6" fmla="*/ 1929878 w 2589325"/>
                  <a:gd name="connsiteY6" fmla="*/ 1193970 h 3498714"/>
                  <a:gd name="connsiteX7" fmla="*/ 2070059 w 2589325"/>
                  <a:gd name="connsiteY7" fmla="*/ 1334152 h 3498714"/>
                  <a:gd name="connsiteX8" fmla="*/ 1929878 w 2589325"/>
                  <a:gd name="connsiteY8" fmla="*/ 1474333 h 3498714"/>
                  <a:gd name="connsiteX9" fmla="*/ 1520943 w 2589325"/>
                  <a:gd name="connsiteY9" fmla="*/ 1470388 h 3498714"/>
                  <a:gd name="connsiteX10" fmla="*/ 1332825 w 2589325"/>
                  <a:gd name="connsiteY10" fmla="*/ 1367201 h 3498714"/>
                  <a:gd name="connsiteX11" fmla="*/ 1106501 w 2589325"/>
                  <a:gd name="connsiteY11" fmla="*/ 1098289 h 3498714"/>
                  <a:gd name="connsiteX12" fmla="*/ 1101049 w 2589325"/>
                  <a:gd name="connsiteY12" fmla="*/ 1092836 h 3498714"/>
                  <a:gd name="connsiteX13" fmla="*/ 1046523 w 2589325"/>
                  <a:gd name="connsiteY13" fmla="*/ 1092836 h 3498714"/>
                  <a:gd name="connsiteX14" fmla="*/ 1041071 w 2589325"/>
                  <a:gd name="connsiteY14" fmla="*/ 1098289 h 3498714"/>
                  <a:gd name="connsiteX15" fmla="*/ 1042136 w 2589325"/>
                  <a:gd name="connsiteY15" fmla="*/ 1419754 h 3498714"/>
                  <a:gd name="connsiteX16" fmla="*/ 1042136 w 2589325"/>
                  <a:gd name="connsiteY16" fmla="*/ 3337652 h 3498714"/>
                  <a:gd name="connsiteX17" fmla="*/ 881075 w 2589325"/>
                  <a:gd name="connsiteY17" fmla="*/ 3498714 h 3498714"/>
                  <a:gd name="connsiteX18" fmla="*/ 720012 w 2589325"/>
                  <a:gd name="connsiteY18" fmla="*/ 3337652 h 3498714"/>
                  <a:gd name="connsiteX19" fmla="*/ 720012 w 2589325"/>
                  <a:gd name="connsiteY19" fmla="*/ 2125717 h 3498714"/>
                  <a:gd name="connsiteX20" fmla="*/ 718947 w 2589325"/>
                  <a:gd name="connsiteY20" fmla="*/ 2033194 h 3498714"/>
                  <a:gd name="connsiteX21" fmla="*/ 714162 w 2589325"/>
                  <a:gd name="connsiteY21" fmla="*/ 2028410 h 3498714"/>
                  <a:gd name="connsiteX22" fmla="*/ 654759 w 2589325"/>
                  <a:gd name="connsiteY22" fmla="*/ 2028410 h 3498714"/>
                  <a:gd name="connsiteX23" fmla="*/ 649974 w 2589325"/>
                  <a:gd name="connsiteY23" fmla="*/ 2033194 h 3498714"/>
                  <a:gd name="connsiteX24" fmla="*/ 649974 w 2589325"/>
                  <a:gd name="connsiteY24" fmla="*/ 2125717 h 3498714"/>
                  <a:gd name="connsiteX25" fmla="*/ 649574 w 2589325"/>
                  <a:gd name="connsiteY25" fmla="*/ 3337652 h 3498714"/>
                  <a:gd name="connsiteX26" fmla="*/ 488511 w 2589325"/>
                  <a:gd name="connsiteY26" fmla="*/ 3498714 h 3498714"/>
                  <a:gd name="connsiteX27" fmla="*/ 327450 w 2589325"/>
                  <a:gd name="connsiteY27" fmla="*/ 3337652 h 3498714"/>
                  <a:gd name="connsiteX28" fmla="*/ 327450 w 2589325"/>
                  <a:gd name="connsiteY28" fmla="*/ 1458216 h 3498714"/>
                  <a:gd name="connsiteX29" fmla="*/ 322427 w 2589325"/>
                  <a:gd name="connsiteY29" fmla="*/ 1098205 h 3498714"/>
                  <a:gd name="connsiteX30" fmla="*/ 317058 w 2589325"/>
                  <a:gd name="connsiteY30" fmla="*/ 1092836 h 3498714"/>
                  <a:gd name="connsiteX31" fmla="*/ 263371 w 2589325"/>
                  <a:gd name="connsiteY31" fmla="*/ 1092836 h 3498714"/>
                  <a:gd name="connsiteX32" fmla="*/ 258001 w 2589325"/>
                  <a:gd name="connsiteY32" fmla="*/ 1098205 h 3498714"/>
                  <a:gd name="connsiteX33" fmla="*/ 258001 w 2589325"/>
                  <a:gd name="connsiteY33" fmla="*/ 1444446 h 3498714"/>
                  <a:gd name="connsiteX34" fmla="*/ 257700 w 2589325"/>
                  <a:gd name="connsiteY34" fmla="*/ 1444370 h 3498714"/>
                  <a:gd name="connsiteX35" fmla="*/ 257700 w 2589325"/>
                  <a:gd name="connsiteY35" fmla="*/ 1912573 h 3498714"/>
                  <a:gd name="connsiteX36" fmla="*/ 128850 w 2589325"/>
                  <a:gd name="connsiteY36" fmla="*/ 2041423 h 3498714"/>
                  <a:gd name="connsiteX37" fmla="*/ 0 w 2589325"/>
                  <a:gd name="connsiteY37" fmla="*/ 1912573 h 3498714"/>
                  <a:gd name="connsiteX38" fmla="*/ 0 w 2589325"/>
                  <a:gd name="connsiteY38" fmla="*/ 1101802 h 3498714"/>
                  <a:gd name="connsiteX39" fmla="*/ 0 w 2589325"/>
                  <a:gd name="connsiteY39" fmla="*/ 1003338 h 3498714"/>
                  <a:gd name="connsiteX40" fmla="*/ 0 w 2589325"/>
                  <a:gd name="connsiteY40" fmla="*/ 982486 h 3498714"/>
                  <a:gd name="connsiteX41" fmla="*/ 12733 w 2589325"/>
                  <a:gd name="connsiteY41" fmla="*/ 894663 h 3498714"/>
                  <a:gd name="connsiteX42" fmla="*/ 20539 w 2589325"/>
                  <a:gd name="connsiteY42" fmla="*/ 868773 h 3498714"/>
                  <a:gd name="connsiteX43" fmla="*/ 358791 w 2589325"/>
                  <a:gd name="connsiteY43" fmla="*/ 644545 h 3498714"/>
                  <a:gd name="connsiteX44" fmla="*/ 682782 w 2589325"/>
                  <a:gd name="connsiteY44" fmla="*/ 0 h 3498714"/>
                  <a:gd name="connsiteX45" fmla="*/ 966919 w 2589325"/>
                  <a:gd name="connsiteY45" fmla="*/ 284138 h 3498714"/>
                  <a:gd name="connsiteX46" fmla="*/ 682782 w 2589325"/>
                  <a:gd name="connsiteY46" fmla="*/ 568275 h 3498714"/>
                  <a:gd name="connsiteX47" fmla="*/ 398645 w 2589325"/>
                  <a:gd name="connsiteY47" fmla="*/ 284138 h 3498714"/>
                  <a:gd name="connsiteX48" fmla="*/ 682782 w 2589325"/>
                  <a:gd name="connsiteY48" fmla="*/ 0 h 3498714"/>
                  <a:gd name="connsiteX49" fmla="*/ 2589325 w 2589325"/>
                  <a:gd name="connsiteY49" fmla="*/ 3124562 h 3498714"/>
                  <a:gd name="connsiteX50" fmla="*/ 2589325 w 2589325"/>
                  <a:gd name="connsiteY50" fmla="*/ 3361625 h 3498714"/>
                  <a:gd name="connsiteX51" fmla="*/ 2480313 w 2589325"/>
                  <a:gd name="connsiteY51" fmla="*/ 3470637 h 3498714"/>
                  <a:gd name="connsiteX52" fmla="*/ 2279239 w 2589325"/>
                  <a:gd name="connsiteY52" fmla="*/ 3470637 h 3498714"/>
                  <a:gd name="connsiteX53" fmla="*/ 2170227 w 2589325"/>
                  <a:gd name="connsiteY53" fmla="*/ 3361625 h 3498714"/>
                  <a:gd name="connsiteX54" fmla="*/ 2170227 w 2589325"/>
                  <a:gd name="connsiteY54" fmla="*/ 3124562 h 3498714"/>
                  <a:gd name="connsiteX55" fmla="*/ 2052754 w 2589325"/>
                  <a:gd name="connsiteY55" fmla="*/ 3124562 h 3498714"/>
                  <a:gd name="connsiteX56" fmla="*/ 1941629 w 2589325"/>
                  <a:gd name="connsiteY56" fmla="*/ 3013437 h 3498714"/>
                  <a:gd name="connsiteX57" fmla="*/ 2052754 w 2589325"/>
                  <a:gd name="connsiteY57" fmla="*/ 2902312 h 3498714"/>
                  <a:gd name="connsiteX58" fmla="*/ 682782 w 2589325"/>
                  <a:gd name="connsiteY58" fmla="*/ 0 h 3498714"/>
                  <a:gd name="connsiteX0" fmla="*/ 358791 w 2589325"/>
                  <a:gd name="connsiteY0" fmla="*/ 644545 h 3498714"/>
                  <a:gd name="connsiteX1" fmla="*/ 1006774 w 2589325"/>
                  <a:gd name="connsiteY1" fmla="*/ 644545 h 3498714"/>
                  <a:gd name="connsiteX2" fmla="*/ 1542636 w 2589325"/>
                  <a:gd name="connsiteY2" fmla="*/ 1193969 h 3498714"/>
                  <a:gd name="connsiteX3" fmla="*/ 1929878 w 2589325"/>
                  <a:gd name="connsiteY3" fmla="*/ 1193970 h 3498714"/>
                  <a:gd name="connsiteX4" fmla="*/ 2070059 w 2589325"/>
                  <a:gd name="connsiteY4" fmla="*/ 1334152 h 3498714"/>
                  <a:gd name="connsiteX5" fmla="*/ 1929878 w 2589325"/>
                  <a:gd name="connsiteY5" fmla="*/ 1474333 h 3498714"/>
                  <a:gd name="connsiteX6" fmla="*/ 1520943 w 2589325"/>
                  <a:gd name="connsiteY6" fmla="*/ 1470388 h 3498714"/>
                  <a:gd name="connsiteX7" fmla="*/ 1332825 w 2589325"/>
                  <a:gd name="connsiteY7" fmla="*/ 1367201 h 3498714"/>
                  <a:gd name="connsiteX8" fmla="*/ 1106501 w 2589325"/>
                  <a:gd name="connsiteY8" fmla="*/ 1098289 h 3498714"/>
                  <a:gd name="connsiteX9" fmla="*/ 1101049 w 2589325"/>
                  <a:gd name="connsiteY9" fmla="*/ 1092836 h 3498714"/>
                  <a:gd name="connsiteX10" fmla="*/ 1046523 w 2589325"/>
                  <a:gd name="connsiteY10" fmla="*/ 1092836 h 3498714"/>
                  <a:gd name="connsiteX11" fmla="*/ 1041071 w 2589325"/>
                  <a:gd name="connsiteY11" fmla="*/ 1098289 h 3498714"/>
                  <a:gd name="connsiteX12" fmla="*/ 1042136 w 2589325"/>
                  <a:gd name="connsiteY12" fmla="*/ 1419754 h 3498714"/>
                  <a:gd name="connsiteX13" fmla="*/ 1042136 w 2589325"/>
                  <a:gd name="connsiteY13" fmla="*/ 3337652 h 3498714"/>
                  <a:gd name="connsiteX14" fmla="*/ 881075 w 2589325"/>
                  <a:gd name="connsiteY14" fmla="*/ 3498714 h 3498714"/>
                  <a:gd name="connsiteX15" fmla="*/ 720012 w 2589325"/>
                  <a:gd name="connsiteY15" fmla="*/ 3337652 h 3498714"/>
                  <a:gd name="connsiteX16" fmla="*/ 720012 w 2589325"/>
                  <a:gd name="connsiteY16" fmla="*/ 2125717 h 3498714"/>
                  <a:gd name="connsiteX17" fmla="*/ 718947 w 2589325"/>
                  <a:gd name="connsiteY17" fmla="*/ 2033194 h 3498714"/>
                  <a:gd name="connsiteX18" fmla="*/ 714162 w 2589325"/>
                  <a:gd name="connsiteY18" fmla="*/ 2028410 h 3498714"/>
                  <a:gd name="connsiteX19" fmla="*/ 654759 w 2589325"/>
                  <a:gd name="connsiteY19" fmla="*/ 2028410 h 3498714"/>
                  <a:gd name="connsiteX20" fmla="*/ 649974 w 2589325"/>
                  <a:gd name="connsiteY20" fmla="*/ 2033194 h 3498714"/>
                  <a:gd name="connsiteX21" fmla="*/ 649974 w 2589325"/>
                  <a:gd name="connsiteY21" fmla="*/ 2125717 h 3498714"/>
                  <a:gd name="connsiteX22" fmla="*/ 649574 w 2589325"/>
                  <a:gd name="connsiteY22" fmla="*/ 3337652 h 3498714"/>
                  <a:gd name="connsiteX23" fmla="*/ 488511 w 2589325"/>
                  <a:gd name="connsiteY23" fmla="*/ 3498714 h 3498714"/>
                  <a:gd name="connsiteX24" fmla="*/ 327450 w 2589325"/>
                  <a:gd name="connsiteY24" fmla="*/ 3337652 h 3498714"/>
                  <a:gd name="connsiteX25" fmla="*/ 327450 w 2589325"/>
                  <a:gd name="connsiteY25" fmla="*/ 1458216 h 3498714"/>
                  <a:gd name="connsiteX26" fmla="*/ 322427 w 2589325"/>
                  <a:gd name="connsiteY26" fmla="*/ 1098205 h 3498714"/>
                  <a:gd name="connsiteX27" fmla="*/ 317058 w 2589325"/>
                  <a:gd name="connsiteY27" fmla="*/ 1092836 h 3498714"/>
                  <a:gd name="connsiteX28" fmla="*/ 263371 w 2589325"/>
                  <a:gd name="connsiteY28" fmla="*/ 1092836 h 3498714"/>
                  <a:gd name="connsiteX29" fmla="*/ 258001 w 2589325"/>
                  <a:gd name="connsiteY29" fmla="*/ 1098205 h 3498714"/>
                  <a:gd name="connsiteX30" fmla="*/ 258001 w 2589325"/>
                  <a:gd name="connsiteY30" fmla="*/ 1444446 h 3498714"/>
                  <a:gd name="connsiteX31" fmla="*/ 257700 w 2589325"/>
                  <a:gd name="connsiteY31" fmla="*/ 1444370 h 3498714"/>
                  <a:gd name="connsiteX32" fmla="*/ 257700 w 2589325"/>
                  <a:gd name="connsiteY32" fmla="*/ 1912573 h 3498714"/>
                  <a:gd name="connsiteX33" fmla="*/ 128850 w 2589325"/>
                  <a:gd name="connsiteY33" fmla="*/ 2041423 h 3498714"/>
                  <a:gd name="connsiteX34" fmla="*/ 0 w 2589325"/>
                  <a:gd name="connsiteY34" fmla="*/ 1912573 h 3498714"/>
                  <a:gd name="connsiteX35" fmla="*/ 0 w 2589325"/>
                  <a:gd name="connsiteY35" fmla="*/ 1101802 h 3498714"/>
                  <a:gd name="connsiteX36" fmla="*/ 0 w 2589325"/>
                  <a:gd name="connsiteY36" fmla="*/ 1003338 h 3498714"/>
                  <a:gd name="connsiteX37" fmla="*/ 0 w 2589325"/>
                  <a:gd name="connsiteY37" fmla="*/ 982486 h 3498714"/>
                  <a:gd name="connsiteX38" fmla="*/ 12733 w 2589325"/>
                  <a:gd name="connsiteY38" fmla="*/ 894663 h 3498714"/>
                  <a:gd name="connsiteX39" fmla="*/ 20539 w 2589325"/>
                  <a:gd name="connsiteY39" fmla="*/ 868773 h 3498714"/>
                  <a:gd name="connsiteX40" fmla="*/ 358791 w 2589325"/>
                  <a:gd name="connsiteY40" fmla="*/ 644545 h 3498714"/>
                  <a:gd name="connsiteX41" fmla="*/ 682782 w 2589325"/>
                  <a:gd name="connsiteY41" fmla="*/ 0 h 3498714"/>
                  <a:gd name="connsiteX42" fmla="*/ 966919 w 2589325"/>
                  <a:gd name="connsiteY42" fmla="*/ 284138 h 3498714"/>
                  <a:gd name="connsiteX43" fmla="*/ 682782 w 2589325"/>
                  <a:gd name="connsiteY43" fmla="*/ 568275 h 3498714"/>
                  <a:gd name="connsiteX44" fmla="*/ 398645 w 2589325"/>
                  <a:gd name="connsiteY44" fmla="*/ 284138 h 3498714"/>
                  <a:gd name="connsiteX45" fmla="*/ 682782 w 2589325"/>
                  <a:gd name="connsiteY45" fmla="*/ 0 h 3498714"/>
                  <a:gd name="connsiteX46" fmla="*/ 2589325 w 2589325"/>
                  <a:gd name="connsiteY46" fmla="*/ 3124562 h 3498714"/>
                  <a:gd name="connsiteX47" fmla="*/ 2589325 w 2589325"/>
                  <a:gd name="connsiteY47" fmla="*/ 3361625 h 3498714"/>
                  <a:gd name="connsiteX48" fmla="*/ 2480313 w 2589325"/>
                  <a:gd name="connsiteY48" fmla="*/ 3470637 h 3498714"/>
                  <a:gd name="connsiteX49" fmla="*/ 2279239 w 2589325"/>
                  <a:gd name="connsiteY49" fmla="*/ 3470637 h 3498714"/>
                  <a:gd name="connsiteX50" fmla="*/ 2170227 w 2589325"/>
                  <a:gd name="connsiteY50" fmla="*/ 3361625 h 3498714"/>
                  <a:gd name="connsiteX51" fmla="*/ 2170227 w 2589325"/>
                  <a:gd name="connsiteY51" fmla="*/ 3124562 h 3498714"/>
                  <a:gd name="connsiteX52" fmla="*/ 2052754 w 2589325"/>
                  <a:gd name="connsiteY52" fmla="*/ 3124562 h 3498714"/>
                  <a:gd name="connsiteX53" fmla="*/ 1941629 w 2589325"/>
                  <a:gd name="connsiteY53" fmla="*/ 3013437 h 3498714"/>
                  <a:gd name="connsiteX54" fmla="*/ 2052754 w 2589325"/>
                  <a:gd name="connsiteY54" fmla="*/ 2902312 h 3498714"/>
                  <a:gd name="connsiteX55" fmla="*/ 682782 w 2589325"/>
                  <a:gd name="connsiteY55" fmla="*/ 0 h 3498714"/>
                  <a:gd name="connsiteX0" fmla="*/ 358791 w 2589325"/>
                  <a:gd name="connsiteY0" fmla="*/ 644545 h 3498714"/>
                  <a:gd name="connsiteX1" fmla="*/ 1006774 w 2589325"/>
                  <a:gd name="connsiteY1" fmla="*/ 644545 h 3498714"/>
                  <a:gd name="connsiteX2" fmla="*/ 1542636 w 2589325"/>
                  <a:gd name="connsiteY2" fmla="*/ 1193969 h 3498714"/>
                  <a:gd name="connsiteX3" fmla="*/ 1929878 w 2589325"/>
                  <a:gd name="connsiteY3" fmla="*/ 1193970 h 3498714"/>
                  <a:gd name="connsiteX4" fmla="*/ 2070059 w 2589325"/>
                  <a:gd name="connsiteY4" fmla="*/ 1334152 h 3498714"/>
                  <a:gd name="connsiteX5" fmla="*/ 1929878 w 2589325"/>
                  <a:gd name="connsiteY5" fmla="*/ 1474333 h 3498714"/>
                  <a:gd name="connsiteX6" fmla="*/ 1520943 w 2589325"/>
                  <a:gd name="connsiteY6" fmla="*/ 1470388 h 3498714"/>
                  <a:gd name="connsiteX7" fmla="*/ 1332825 w 2589325"/>
                  <a:gd name="connsiteY7" fmla="*/ 1367201 h 3498714"/>
                  <a:gd name="connsiteX8" fmla="*/ 1106501 w 2589325"/>
                  <a:gd name="connsiteY8" fmla="*/ 1098289 h 3498714"/>
                  <a:gd name="connsiteX9" fmla="*/ 1101049 w 2589325"/>
                  <a:gd name="connsiteY9" fmla="*/ 1092836 h 3498714"/>
                  <a:gd name="connsiteX10" fmla="*/ 1046523 w 2589325"/>
                  <a:gd name="connsiteY10" fmla="*/ 1092836 h 3498714"/>
                  <a:gd name="connsiteX11" fmla="*/ 1041071 w 2589325"/>
                  <a:gd name="connsiteY11" fmla="*/ 1098289 h 3498714"/>
                  <a:gd name="connsiteX12" fmla="*/ 1042136 w 2589325"/>
                  <a:gd name="connsiteY12" fmla="*/ 1419754 h 3498714"/>
                  <a:gd name="connsiteX13" fmla="*/ 1042136 w 2589325"/>
                  <a:gd name="connsiteY13" fmla="*/ 3337652 h 3498714"/>
                  <a:gd name="connsiteX14" fmla="*/ 881075 w 2589325"/>
                  <a:gd name="connsiteY14" fmla="*/ 3498714 h 3498714"/>
                  <a:gd name="connsiteX15" fmla="*/ 720012 w 2589325"/>
                  <a:gd name="connsiteY15" fmla="*/ 3337652 h 3498714"/>
                  <a:gd name="connsiteX16" fmla="*/ 720012 w 2589325"/>
                  <a:gd name="connsiteY16" fmla="*/ 2125717 h 3498714"/>
                  <a:gd name="connsiteX17" fmla="*/ 718947 w 2589325"/>
                  <a:gd name="connsiteY17" fmla="*/ 2033194 h 3498714"/>
                  <a:gd name="connsiteX18" fmla="*/ 714162 w 2589325"/>
                  <a:gd name="connsiteY18" fmla="*/ 2028410 h 3498714"/>
                  <a:gd name="connsiteX19" fmla="*/ 654759 w 2589325"/>
                  <a:gd name="connsiteY19" fmla="*/ 2028410 h 3498714"/>
                  <a:gd name="connsiteX20" fmla="*/ 649974 w 2589325"/>
                  <a:gd name="connsiteY20" fmla="*/ 2033194 h 3498714"/>
                  <a:gd name="connsiteX21" fmla="*/ 649974 w 2589325"/>
                  <a:gd name="connsiteY21" fmla="*/ 2125717 h 3498714"/>
                  <a:gd name="connsiteX22" fmla="*/ 649574 w 2589325"/>
                  <a:gd name="connsiteY22" fmla="*/ 3337652 h 3498714"/>
                  <a:gd name="connsiteX23" fmla="*/ 488511 w 2589325"/>
                  <a:gd name="connsiteY23" fmla="*/ 3498714 h 3498714"/>
                  <a:gd name="connsiteX24" fmla="*/ 327450 w 2589325"/>
                  <a:gd name="connsiteY24" fmla="*/ 3337652 h 3498714"/>
                  <a:gd name="connsiteX25" fmla="*/ 327450 w 2589325"/>
                  <a:gd name="connsiteY25" fmla="*/ 1458216 h 3498714"/>
                  <a:gd name="connsiteX26" fmla="*/ 322427 w 2589325"/>
                  <a:gd name="connsiteY26" fmla="*/ 1098205 h 3498714"/>
                  <a:gd name="connsiteX27" fmla="*/ 317058 w 2589325"/>
                  <a:gd name="connsiteY27" fmla="*/ 1092836 h 3498714"/>
                  <a:gd name="connsiteX28" fmla="*/ 263371 w 2589325"/>
                  <a:gd name="connsiteY28" fmla="*/ 1092836 h 3498714"/>
                  <a:gd name="connsiteX29" fmla="*/ 258001 w 2589325"/>
                  <a:gd name="connsiteY29" fmla="*/ 1098205 h 3498714"/>
                  <a:gd name="connsiteX30" fmla="*/ 258001 w 2589325"/>
                  <a:gd name="connsiteY30" fmla="*/ 1444446 h 3498714"/>
                  <a:gd name="connsiteX31" fmla="*/ 257700 w 2589325"/>
                  <a:gd name="connsiteY31" fmla="*/ 1444370 h 3498714"/>
                  <a:gd name="connsiteX32" fmla="*/ 257700 w 2589325"/>
                  <a:gd name="connsiteY32" fmla="*/ 1912573 h 3498714"/>
                  <a:gd name="connsiteX33" fmla="*/ 128850 w 2589325"/>
                  <a:gd name="connsiteY33" fmla="*/ 2041423 h 3498714"/>
                  <a:gd name="connsiteX34" fmla="*/ 0 w 2589325"/>
                  <a:gd name="connsiteY34" fmla="*/ 1912573 h 3498714"/>
                  <a:gd name="connsiteX35" fmla="*/ 0 w 2589325"/>
                  <a:gd name="connsiteY35" fmla="*/ 1101802 h 3498714"/>
                  <a:gd name="connsiteX36" fmla="*/ 0 w 2589325"/>
                  <a:gd name="connsiteY36" fmla="*/ 1003338 h 3498714"/>
                  <a:gd name="connsiteX37" fmla="*/ 0 w 2589325"/>
                  <a:gd name="connsiteY37" fmla="*/ 982486 h 3498714"/>
                  <a:gd name="connsiteX38" fmla="*/ 12733 w 2589325"/>
                  <a:gd name="connsiteY38" fmla="*/ 894663 h 3498714"/>
                  <a:gd name="connsiteX39" fmla="*/ 20539 w 2589325"/>
                  <a:gd name="connsiteY39" fmla="*/ 868773 h 3498714"/>
                  <a:gd name="connsiteX40" fmla="*/ 358791 w 2589325"/>
                  <a:gd name="connsiteY40" fmla="*/ 644545 h 3498714"/>
                  <a:gd name="connsiteX41" fmla="*/ 682782 w 2589325"/>
                  <a:gd name="connsiteY41" fmla="*/ 0 h 3498714"/>
                  <a:gd name="connsiteX42" fmla="*/ 966919 w 2589325"/>
                  <a:gd name="connsiteY42" fmla="*/ 284138 h 3498714"/>
                  <a:gd name="connsiteX43" fmla="*/ 682782 w 2589325"/>
                  <a:gd name="connsiteY43" fmla="*/ 568275 h 3498714"/>
                  <a:gd name="connsiteX44" fmla="*/ 398645 w 2589325"/>
                  <a:gd name="connsiteY44" fmla="*/ 284138 h 3498714"/>
                  <a:gd name="connsiteX45" fmla="*/ 682782 w 2589325"/>
                  <a:gd name="connsiteY45" fmla="*/ 0 h 3498714"/>
                  <a:gd name="connsiteX46" fmla="*/ 2589325 w 2589325"/>
                  <a:gd name="connsiteY46" fmla="*/ 3361625 h 3498714"/>
                  <a:gd name="connsiteX47" fmla="*/ 2480313 w 2589325"/>
                  <a:gd name="connsiteY47" fmla="*/ 3470637 h 3498714"/>
                  <a:gd name="connsiteX48" fmla="*/ 2279239 w 2589325"/>
                  <a:gd name="connsiteY48" fmla="*/ 3470637 h 3498714"/>
                  <a:gd name="connsiteX49" fmla="*/ 2170227 w 2589325"/>
                  <a:gd name="connsiteY49" fmla="*/ 3361625 h 3498714"/>
                  <a:gd name="connsiteX50" fmla="*/ 2170227 w 2589325"/>
                  <a:gd name="connsiteY50" fmla="*/ 3124562 h 3498714"/>
                  <a:gd name="connsiteX51" fmla="*/ 2052754 w 2589325"/>
                  <a:gd name="connsiteY51" fmla="*/ 3124562 h 3498714"/>
                  <a:gd name="connsiteX52" fmla="*/ 1941629 w 2589325"/>
                  <a:gd name="connsiteY52" fmla="*/ 3013437 h 3498714"/>
                  <a:gd name="connsiteX53" fmla="*/ 2052754 w 2589325"/>
                  <a:gd name="connsiteY53" fmla="*/ 2902312 h 3498714"/>
                  <a:gd name="connsiteX54" fmla="*/ 682782 w 2589325"/>
                  <a:gd name="connsiteY54" fmla="*/ 0 h 3498714"/>
                  <a:gd name="connsiteX0" fmla="*/ 358791 w 2480313"/>
                  <a:gd name="connsiteY0" fmla="*/ 644545 h 3498714"/>
                  <a:gd name="connsiteX1" fmla="*/ 1006774 w 2480313"/>
                  <a:gd name="connsiteY1" fmla="*/ 644545 h 3498714"/>
                  <a:gd name="connsiteX2" fmla="*/ 1542636 w 2480313"/>
                  <a:gd name="connsiteY2" fmla="*/ 1193969 h 3498714"/>
                  <a:gd name="connsiteX3" fmla="*/ 1929878 w 2480313"/>
                  <a:gd name="connsiteY3" fmla="*/ 1193970 h 3498714"/>
                  <a:gd name="connsiteX4" fmla="*/ 2070059 w 2480313"/>
                  <a:gd name="connsiteY4" fmla="*/ 1334152 h 3498714"/>
                  <a:gd name="connsiteX5" fmla="*/ 1929878 w 2480313"/>
                  <a:gd name="connsiteY5" fmla="*/ 1474333 h 3498714"/>
                  <a:gd name="connsiteX6" fmla="*/ 1520943 w 2480313"/>
                  <a:gd name="connsiteY6" fmla="*/ 1470388 h 3498714"/>
                  <a:gd name="connsiteX7" fmla="*/ 1332825 w 2480313"/>
                  <a:gd name="connsiteY7" fmla="*/ 1367201 h 3498714"/>
                  <a:gd name="connsiteX8" fmla="*/ 1106501 w 2480313"/>
                  <a:gd name="connsiteY8" fmla="*/ 1098289 h 3498714"/>
                  <a:gd name="connsiteX9" fmla="*/ 1101049 w 2480313"/>
                  <a:gd name="connsiteY9" fmla="*/ 1092836 h 3498714"/>
                  <a:gd name="connsiteX10" fmla="*/ 1046523 w 2480313"/>
                  <a:gd name="connsiteY10" fmla="*/ 1092836 h 3498714"/>
                  <a:gd name="connsiteX11" fmla="*/ 1041071 w 2480313"/>
                  <a:gd name="connsiteY11" fmla="*/ 1098289 h 3498714"/>
                  <a:gd name="connsiteX12" fmla="*/ 1042136 w 2480313"/>
                  <a:gd name="connsiteY12" fmla="*/ 1419754 h 3498714"/>
                  <a:gd name="connsiteX13" fmla="*/ 1042136 w 2480313"/>
                  <a:gd name="connsiteY13" fmla="*/ 3337652 h 3498714"/>
                  <a:gd name="connsiteX14" fmla="*/ 881075 w 2480313"/>
                  <a:gd name="connsiteY14" fmla="*/ 3498714 h 3498714"/>
                  <a:gd name="connsiteX15" fmla="*/ 720012 w 2480313"/>
                  <a:gd name="connsiteY15" fmla="*/ 3337652 h 3498714"/>
                  <a:gd name="connsiteX16" fmla="*/ 720012 w 2480313"/>
                  <a:gd name="connsiteY16" fmla="*/ 2125717 h 3498714"/>
                  <a:gd name="connsiteX17" fmla="*/ 718947 w 2480313"/>
                  <a:gd name="connsiteY17" fmla="*/ 2033194 h 3498714"/>
                  <a:gd name="connsiteX18" fmla="*/ 714162 w 2480313"/>
                  <a:gd name="connsiteY18" fmla="*/ 2028410 h 3498714"/>
                  <a:gd name="connsiteX19" fmla="*/ 654759 w 2480313"/>
                  <a:gd name="connsiteY19" fmla="*/ 2028410 h 3498714"/>
                  <a:gd name="connsiteX20" fmla="*/ 649974 w 2480313"/>
                  <a:gd name="connsiteY20" fmla="*/ 2033194 h 3498714"/>
                  <a:gd name="connsiteX21" fmla="*/ 649974 w 2480313"/>
                  <a:gd name="connsiteY21" fmla="*/ 2125717 h 3498714"/>
                  <a:gd name="connsiteX22" fmla="*/ 649574 w 2480313"/>
                  <a:gd name="connsiteY22" fmla="*/ 3337652 h 3498714"/>
                  <a:gd name="connsiteX23" fmla="*/ 488511 w 2480313"/>
                  <a:gd name="connsiteY23" fmla="*/ 3498714 h 3498714"/>
                  <a:gd name="connsiteX24" fmla="*/ 327450 w 2480313"/>
                  <a:gd name="connsiteY24" fmla="*/ 3337652 h 3498714"/>
                  <a:gd name="connsiteX25" fmla="*/ 327450 w 2480313"/>
                  <a:gd name="connsiteY25" fmla="*/ 1458216 h 3498714"/>
                  <a:gd name="connsiteX26" fmla="*/ 322427 w 2480313"/>
                  <a:gd name="connsiteY26" fmla="*/ 1098205 h 3498714"/>
                  <a:gd name="connsiteX27" fmla="*/ 317058 w 2480313"/>
                  <a:gd name="connsiteY27" fmla="*/ 1092836 h 3498714"/>
                  <a:gd name="connsiteX28" fmla="*/ 263371 w 2480313"/>
                  <a:gd name="connsiteY28" fmla="*/ 1092836 h 3498714"/>
                  <a:gd name="connsiteX29" fmla="*/ 258001 w 2480313"/>
                  <a:gd name="connsiteY29" fmla="*/ 1098205 h 3498714"/>
                  <a:gd name="connsiteX30" fmla="*/ 258001 w 2480313"/>
                  <a:gd name="connsiteY30" fmla="*/ 1444446 h 3498714"/>
                  <a:gd name="connsiteX31" fmla="*/ 257700 w 2480313"/>
                  <a:gd name="connsiteY31" fmla="*/ 1444370 h 3498714"/>
                  <a:gd name="connsiteX32" fmla="*/ 257700 w 2480313"/>
                  <a:gd name="connsiteY32" fmla="*/ 1912573 h 3498714"/>
                  <a:gd name="connsiteX33" fmla="*/ 128850 w 2480313"/>
                  <a:gd name="connsiteY33" fmla="*/ 2041423 h 3498714"/>
                  <a:gd name="connsiteX34" fmla="*/ 0 w 2480313"/>
                  <a:gd name="connsiteY34" fmla="*/ 1912573 h 3498714"/>
                  <a:gd name="connsiteX35" fmla="*/ 0 w 2480313"/>
                  <a:gd name="connsiteY35" fmla="*/ 1101802 h 3498714"/>
                  <a:gd name="connsiteX36" fmla="*/ 0 w 2480313"/>
                  <a:gd name="connsiteY36" fmla="*/ 1003338 h 3498714"/>
                  <a:gd name="connsiteX37" fmla="*/ 0 w 2480313"/>
                  <a:gd name="connsiteY37" fmla="*/ 982486 h 3498714"/>
                  <a:gd name="connsiteX38" fmla="*/ 12733 w 2480313"/>
                  <a:gd name="connsiteY38" fmla="*/ 894663 h 3498714"/>
                  <a:gd name="connsiteX39" fmla="*/ 20539 w 2480313"/>
                  <a:gd name="connsiteY39" fmla="*/ 868773 h 3498714"/>
                  <a:gd name="connsiteX40" fmla="*/ 358791 w 2480313"/>
                  <a:gd name="connsiteY40" fmla="*/ 644545 h 3498714"/>
                  <a:gd name="connsiteX41" fmla="*/ 682782 w 2480313"/>
                  <a:gd name="connsiteY41" fmla="*/ 0 h 3498714"/>
                  <a:gd name="connsiteX42" fmla="*/ 966919 w 2480313"/>
                  <a:gd name="connsiteY42" fmla="*/ 284138 h 3498714"/>
                  <a:gd name="connsiteX43" fmla="*/ 682782 w 2480313"/>
                  <a:gd name="connsiteY43" fmla="*/ 568275 h 3498714"/>
                  <a:gd name="connsiteX44" fmla="*/ 398645 w 2480313"/>
                  <a:gd name="connsiteY44" fmla="*/ 284138 h 3498714"/>
                  <a:gd name="connsiteX45" fmla="*/ 682782 w 2480313"/>
                  <a:gd name="connsiteY45" fmla="*/ 0 h 3498714"/>
                  <a:gd name="connsiteX46" fmla="*/ 2480313 w 2480313"/>
                  <a:gd name="connsiteY46" fmla="*/ 3470637 h 3498714"/>
                  <a:gd name="connsiteX47" fmla="*/ 2279239 w 2480313"/>
                  <a:gd name="connsiteY47" fmla="*/ 3470637 h 3498714"/>
                  <a:gd name="connsiteX48" fmla="*/ 2170227 w 2480313"/>
                  <a:gd name="connsiteY48" fmla="*/ 3361625 h 3498714"/>
                  <a:gd name="connsiteX49" fmla="*/ 2170227 w 2480313"/>
                  <a:gd name="connsiteY49" fmla="*/ 3124562 h 3498714"/>
                  <a:gd name="connsiteX50" fmla="*/ 2052754 w 2480313"/>
                  <a:gd name="connsiteY50" fmla="*/ 3124562 h 3498714"/>
                  <a:gd name="connsiteX51" fmla="*/ 1941629 w 2480313"/>
                  <a:gd name="connsiteY51" fmla="*/ 3013437 h 3498714"/>
                  <a:gd name="connsiteX52" fmla="*/ 2052754 w 2480313"/>
                  <a:gd name="connsiteY52" fmla="*/ 2902312 h 3498714"/>
                  <a:gd name="connsiteX53" fmla="*/ 682782 w 2480313"/>
                  <a:gd name="connsiteY53" fmla="*/ 0 h 3498714"/>
                  <a:gd name="connsiteX0" fmla="*/ 358791 w 2279239"/>
                  <a:gd name="connsiteY0" fmla="*/ 644545 h 3498714"/>
                  <a:gd name="connsiteX1" fmla="*/ 1006774 w 2279239"/>
                  <a:gd name="connsiteY1" fmla="*/ 644545 h 3498714"/>
                  <a:gd name="connsiteX2" fmla="*/ 1542636 w 2279239"/>
                  <a:gd name="connsiteY2" fmla="*/ 1193969 h 3498714"/>
                  <a:gd name="connsiteX3" fmla="*/ 1929878 w 2279239"/>
                  <a:gd name="connsiteY3" fmla="*/ 1193970 h 3498714"/>
                  <a:gd name="connsiteX4" fmla="*/ 2070059 w 2279239"/>
                  <a:gd name="connsiteY4" fmla="*/ 1334152 h 3498714"/>
                  <a:gd name="connsiteX5" fmla="*/ 1929878 w 2279239"/>
                  <a:gd name="connsiteY5" fmla="*/ 1474333 h 3498714"/>
                  <a:gd name="connsiteX6" fmla="*/ 1520943 w 2279239"/>
                  <a:gd name="connsiteY6" fmla="*/ 1470388 h 3498714"/>
                  <a:gd name="connsiteX7" fmla="*/ 1332825 w 2279239"/>
                  <a:gd name="connsiteY7" fmla="*/ 1367201 h 3498714"/>
                  <a:gd name="connsiteX8" fmla="*/ 1106501 w 2279239"/>
                  <a:gd name="connsiteY8" fmla="*/ 1098289 h 3498714"/>
                  <a:gd name="connsiteX9" fmla="*/ 1101049 w 2279239"/>
                  <a:gd name="connsiteY9" fmla="*/ 1092836 h 3498714"/>
                  <a:gd name="connsiteX10" fmla="*/ 1046523 w 2279239"/>
                  <a:gd name="connsiteY10" fmla="*/ 1092836 h 3498714"/>
                  <a:gd name="connsiteX11" fmla="*/ 1041071 w 2279239"/>
                  <a:gd name="connsiteY11" fmla="*/ 1098289 h 3498714"/>
                  <a:gd name="connsiteX12" fmla="*/ 1042136 w 2279239"/>
                  <a:gd name="connsiteY12" fmla="*/ 1419754 h 3498714"/>
                  <a:gd name="connsiteX13" fmla="*/ 1042136 w 2279239"/>
                  <a:gd name="connsiteY13" fmla="*/ 3337652 h 3498714"/>
                  <a:gd name="connsiteX14" fmla="*/ 881075 w 2279239"/>
                  <a:gd name="connsiteY14" fmla="*/ 3498714 h 3498714"/>
                  <a:gd name="connsiteX15" fmla="*/ 720012 w 2279239"/>
                  <a:gd name="connsiteY15" fmla="*/ 3337652 h 3498714"/>
                  <a:gd name="connsiteX16" fmla="*/ 720012 w 2279239"/>
                  <a:gd name="connsiteY16" fmla="*/ 2125717 h 3498714"/>
                  <a:gd name="connsiteX17" fmla="*/ 718947 w 2279239"/>
                  <a:gd name="connsiteY17" fmla="*/ 2033194 h 3498714"/>
                  <a:gd name="connsiteX18" fmla="*/ 714162 w 2279239"/>
                  <a:gd name="connsiteY18" fmla="*/ 2028410 h 3498714"/>
                  <a:gd name="connsiteX19" fmla="*/ 654759 w 2279239"/>
                  <a:gd name="connsiteY19" fmla="*/ 2028410 h 3498714"/>
                  <a:gd name="connsiteX20" fmla="*/ 649974 w 2279239"/>
                  <a:gd name="connsiteY20" fmla="*/ 2033194 h 3498714"/>
                  <a:gd name="connsiteX21" fmla="*/ 649974 w 2279239"/>
                  <a:gd name="connsiteY21" fmla="*/ 2125717 h 3498714"/>
                  <a:gd name="connsiteX22" fmla="*/ 649574 w 2279239"/>
                  <a:gd name="connsiteY22" fmla="*/ 3337652 h 3498714"/>
                  <a:gd name="connsiteX23" fmla="*/ 488511 w 2279239"/>
                  <a:gd name="connsiteY23" fmla="*/ 3498714 h 3498714"/>
                  <a:gd name="connsiteX24" fmla="*/ 327450 w 2279239"/>
                  <a:gd name="connsiteY24" fmla="*/ 3337652 h 3498714"/>
                  <a:gd name="connsiteX25" fmla="*/ 327450 w 2279239"/>
                  <a:gd name="connsiteY25" fmla="*/ 1458216 h 3498714"/>
                  <a:gd name="connsiteX26" fmla="*/ 322427 w 2279239"/>
                  <a:gd name="connsiteY26" fmla="*/ 1098205 h 3498714"/>
                  <a:gd name="connsiteX27" fmla="*/ 317058 w 2279239"/>
                  <a:gd name="connsiteY27" fmla="*/ 1092836 h 3498714"/>
                  <a:gd name="connsiteX28" fmla="*/ 263371 w 2279239"/>
                  <a:gd name="connsiteY28" fmla="*/ 1092836 h 3498714"/>
                  <a:gd name="connsiteX29" fmla="*/ 258001 w 2279239"/>
                  <a:gd name="connsiteY29" fmla="*/ 1098205 h 3498714"/>
                  <a:gd name="connsiteX30" fmla="*/ 258001 w 2279239"/>
                  <a:gd name="connsiteY30" fmla="*/ 1444446 h 3498714"/>
                  <a:gd name="connsiteX31" fmla="*/ 257700 w 2279239"/>
                  <a:gd name="connsiteY31" fmla="*/ 1444370 h 3498714"/>
                  <a:gd name="connsiteX32" fmla="*/ 257700 w 2279239"/>
                  <a:gd name="connsiteY32" fmla="*/ 1912573 h 3498714"/>
                  <a:gd name="connsiteX33" fmla="*/ 128850 w 2279239"/>
                  <a:gd name="connsiteY33" fmla="*/ 2041423 h 3498714"/>
                  <a:gd name="connsiteX34" fmla="*/ 0 w 2279239"/>
                  <a:gd name="connsiteY34" fmla="*/ 1912573 h 3498714"/>
                  <a:gd name="connsiteX35" fmla="*/ 0 w 2279239"/>
                  <a:gd name="connsiteY35" fmla="*/ 1101802 h 3498714"/>
                  <a:gd name="connsiteX36" fmla="*/ 0 w 2279239"/>
                  <a:gd name="connsiteY36" fmla="*/ 1003338 h 3498714"/>
                  <a:gd name="connsiteX37" fmla="*/ 0 w 2279239"/>
                  <a:gd name="connsiteY37" fmla="*/ 982486 h 3498714"/>
                  <a:gd name="connsiteX38" fmla="*/ 12733 w 2279239"/>
                  <a:gd name="connsiteY38" fmla="*/ 894663 h 3498714"/>
                  <a:gd name="connsiteX39" fmla="*/ 20539 w 2279239"/>
                  <a:gd name="connsiteY39" fmla="*/ 868773 h 3498714"/>
                  <a:gd name="connsiteX40" fmla="*/ 358791 w 2279239"/>
                  <a:gd name="connsiteY40" fmla="*/ 644545 h 3498714"/>
                  <a:gd name="connsiteX41" fmla="*/ 682782 w 2279239"/>
                  <a:gd name="connsiteY41" fmla="*/ 0 h 3498714"/>
                  <a:gd name="connsiteX42" fmla="*/ 966919 w 2279239"/>
                  <a:gd name="connsiteY42" fmla="*/ 284138 h 3498714"/>
                  <a:gd name="connsiteX43" fmla="*/ 682782 w 2279239"/>
                  <a:gd name="connsiteY43" fmla="*/ 568275 h 3498714"/>
                  <a:gd name="connsiteX44" fmla="*/ 398645 w 2279239"/>
                  <a:gd name="connsiteY44" fmla="*/ 284138 h 3498714"/>
                  <a:gd name="connsiteX45" fmla="*/ 682782 w 2279239"/>
                  <a:gd name="connsiteY45" fmla="*/ 0 h 3498714"/>
                  <a:gd name="connsiteX46" fmla="*/ 2279239 w 2279239"/>
                  <a:gd name="connsiteY46" fmla="*/ 3470637 h 3498714"/>
                  <a:gd name="connsiteX47" fmla="*/ 2170227 w 2279239"/>
                  <a:gd name="connsiteY47" fmla="*/ 3361625 h 3498714"/>
                  <a:gd name="connsiteX48" fmla="*/ 2170227 w 2279239"/>
                  <a:gd name="connsiteY48" fmla="*/ 3124562 h 3498714"/>
                  <a:gd name="connsiteX49" fmla="*/ 2052754 w 2279239"/>
                  <a:gd name="connsiteY49" fmla="*/ 3124562 h 3498714"/>
                  <a:gd name="connsiteX50" fmla="*/ 1941629 w 2279239"/>
                  <a:gd name="connsiteY50" fmla="*/ 3013437 h 3498714"/>
                  <a:gd name="connsiteX51" fmla="*/ 2052754 w 2279239"/>
                  <a:gd name="connsiteY51" fmla="*/ 2902312 h 3498714"/>
                  <a:gd name="connsiteX52" fmla="*/ 682782 w 2279239"/>
                  <a:gd name="connsiteY52" fmla="*/ 0 h 3498714"/>
                  <a:gd name="connsiteX0" fmla="*/ 358791 w 2170227"/>
                  <a:gd name="connsiteY0" fmla="*/ 644545 h 3498714"/>
                  <a:gd name="connsiteX1" fmla="*/ 1006774 w 2170227"/>
                  <a:gd name="connsiteY1" fmla="*/ 644545 h 3498714"/>
                  <a:gd name="connsiteX2" fmla="*/ 1542636 w 2170227"/>
                  <a:gd name="connsiteY2" fmla="*/ 1193969 h 3498714"/>
                  <a:gd name="connsiteX3" fmla="*/ 1929878 w 2170227"/>
                  <a:gd name="connsiteY3" fmla="*/ 1193970 h 3498714"/>
                  <a:gd name="connsiteX4" fmla="*/ 2070059 w 2170227"/>
                  <a:gd name="connsiteY4" fmla="*/ 1334152 h 3498714"/>
                  <a:gd name="connsiteX5" fmla="*/ 1929878 w 2170227"/>
                  <a:gd name="connsiteY5" fmla="*/ 1474333 h 3498714"/>
                  <a:gd name="connsiteX6" fmla="*/ 1520943 w 2170227"/>
                  <a:gd name="connsiteY6" fmla="*/ 1470388 h 3498714"/>
                  <a:gd name="connsiteX7" fmla="*/ 1332825 w 2170227"/>
                  <a:gd name="connsiteY7" fmla="*/ 1367201 h 3498714"/>
                  <a:gd name="connsiteX8" fmla="*/ 1106501 w 2170227"/>
                  <a:gd name="connsiteY8" fmla="*/ 1098289 h 3498714"/>
                  <a:gd name="connsiteX9" fmla="*/ 1101049 w 2170227"/>
                  <a:gd name="connsiteY9" fmla="*/ 1092836 h 3498714"/>
                  <a:gd name="connsiteX10" fmla="*/ 1046523 w 2170227"/>
                  <a:gd name="connsiteY10" fmla="*/ 1092836 h 3498714"/>
                  <a:gd name="connsiteX11" fmla="*/ 1041071 w 2170227"/>
                  <a:gd name="connsiteY11" fmla="*/ 1098289 h 3498714"/>
                  <a:gd name="connsiteX12" fmla="*/ 1042136 w 2170227"/>
                  <a:gd name="connsiteY12" fmla="*/ 1419754 h 3498714"/>
                  <a:gd name="connsiteX13" fmla="*/ 1042136 w 2170227"/>
                  <a:gd name="connsiteY13" fmla="*/ 3337652 h 3498714"/>
                  <a:gd name="connsiteX14" fmla="*/ 881075 w 2170227"/>
                  <a:gd name="connsiteY14" fmla="*/ 3498714 h 3498714"/>
                  <a:gd name="connsiteX15" fmla="*/ 720012 w 2170227"/>
                  <a:gd name="connsiteY15" fmla="*/ 3337652 h 3498714"/>
                  <a:gd name="connsiteX16" fmla="*/ 720012 w 2170227"/>
                  <a:gd name="connsiteY16" fmla="*/ 2125717 h 3498714"/>
                  <a:gd name="connsiteX17" fmla="*/ 718947 w 2170227"/>
                  <a:gd name="connsiteY17" fmla="*/ 2033194 h 3498714"/>
                  <a:gd name="connsiteX18" fmla="*/ 714162 w 2170227"/>
                  <a:gd name="connsiteY18" fmla="*/ 2028410 h 3498714"/>
                  <a:gd name="connsiteX19" fmla="*/ 654759 w 2170227"/>
                  <a:gd name="connsiteY19" fmla="*/ 2028410 h 3498714"/>
                  <a:gd name="connsiteX20" fmla="*/ 649974 w 2170227"/>
                  <a:gd name="connsiteY20" fmla="*/ 2033194 h 3498714"/>
                  <a:gd name="connsiteX21" fmla="*/ 649974 w 2170227"/>
                  <a:gd name="connsiteY21" fmla="*/ 2125717 h 3498714"/>
                  <a:gd name="connsiteX22" fmla="*/ 649574 w 2170227"/>
                  <a:gd name="connsiteY22" fmla="*/ 3337652 h 3498714"/>
                  <a:gd name="connsiteX23" fmla="*/ 488511 w 2170227"/>
                  <a:gd name="connsiteY23" fmla="*/ 3498714 h 3498714"/>
                  <a:gd name="connsiteX24" fmla="*/ 327450 w 2170227"/>
                  <a:gd name="connsiteY24" fmla="*/ 3337652 h 3498714"/>
                  <a:gd name="connsiteX25" fmla="*/ 327450 w 2170227"/>
                  <a:gd name="connsiteY25" fmla="*/ 1458216 h 3498714"/>
                  <a:gd name="connsiteX26" fmla="*/ 322427 w 2170227"/>
                  <a:gd name="connsiteY26" fmla="*/ 1098205 h 3498714"/>
                  <a:gd name="connsiteX27" fmla="*/ 317058 w 2170227"/>
                  <a:gd name="connsiteY27" fmla="*/ 1092836 h 3498714"/>
                  <a:gd name="connsiteX28" fmla="*/ 263371 w 2170227"/>
                  <a:gd name="connsiteY28" fmla="*/ 1092836 h 3498714"/>
                  <a:gd name="connsiteX29" fmla="*/ 258001 w 2170227"/>
                  <a:gd name="connsiteY29" fmla="*/ 1098205 h 3498714"/>
                  <a:gd name="connsiteX30" fmla="*/ 258001 w 2170227"/>
                  <a:gd name="connsiteY30" fmla="*/ 1444446 h 3498714"/>
                  <a:gd name="connsiteX31" fmla="*/ 257700 w 2170227"/>
                  <a:gd name="connsiteY31" fmla="*/ 1444370 h 3498714"/>
                  <a:gd name="connsiteX32" fmla="*/ 257700 w 2170227"/>
                  <a:gd name="connsiteY32" fmla="*/ 1912573 h 3498714"/>
                  <a:gd name="connsiteX33" fmla="*/ 128850 w 2170227"/>
                  <a:gd name="connsiteY33" fmla="*/ 2041423 h 3498714"/>
                  <a:gd name="connsiteX34" fmla="*/ 0 w 2170227"/>
                  <a:gd name="connsiteY34" fmla="*/ 1912573 h 3498714"/>
                  <a:gd name="connsiteX35" fmla="*/ 0 w 2170227"/>
                  <a:gd name="connsiteY35" fmla="*/ 1101802 h 3498714"/>
                  <a:gd name="connsiteX36" fmla="*/ 0 w 2170227"/>
                  <a:gd name="connsiteY36" fmla="*/ 1003338 h 3498714"/>
                  <a:gd name="connsiteX37" fmla="*/ 0 w 2170227"/>
                  <a:gd name="connsiteY37" fmla="*/ 982486 h 3498714"/>
                  <a:gd name="connsiteX38" fmla="*/ 12733 w 2170227"/>
                  <a:gd name="connsiteY38" fmla="*/ 894663 h 3498714"/>
                  <a:gd name="connsiteX39" fmla="*/ 20539 w 2170227"/>
                  <a:gd name="connsiteY39" fmla="*/ 868773 h 3498714"/>
                  <a:gd name="connsiteX40" fmla="*/ 358791 w 2170227"/>
                  <a:gd name="connsiteY40" fmla="*/ 644545 h 3498714"/>
                  <a:gd name="connsiteX41" fmla="*/ 682782 w 2170227"/>
                  <a:gd name="connsiteY41" fmla="*/ 0 h 3498714"/>
                  <a:gd name="connsiteX42" fmla="*/ 966919 w 2170227"/>
                  <a:gd name="connsiteY42" fmla="*/ 284138 h 3498714"/>
                  <a:gd name="connsiteX43" fmla="*/ 682782 w 2170227"/>
                  <a:gd name="connsiteY43" fmla="*/ 568275 h 3498714"/>
                  <a:gd name="connsiteX44" fmla="*/ 398645 w 2170227"/>
                  <a:gd name="connsiteY44" fmla="*/ 284138 h 3498714"/>
                  <a:gd name="connsiteX45" fmla="*/ 682782 w 2170227"/>
                  <a:gd name="connsiteY45" fmla="*/ 0 h 3498714"/>
                  <a:gd name="connsiteX46" fmla="*/ 2170227 w 2170227"/>
                  <a:gd name="connsiteY46" fmla="*/ 3361625 h 3498714"/>
                  <a:gd name="connsiteX47" fmla="*/ 2170227 w 2170227"/>
                  <a:gd name="connsiteY47" fmla="*/ 3124562 h 3498714"/>
                  <a:gd name="connsiteX48" fmla="*/ 2052754 w 2170227"/>
                  <a:gd name="connsiteY48" fmla="*/ 3124562 h 3498714"/>
                  <a:gd name="connsiteX49" fmla="*/ 1941629 w 2170227"/>
                  <a:gd name="connsiteY49" fmla="*/ 3013437 h 3498714"/>
                  <a:gd name="connsiteX50" fmla="*/ 2052754 w 2170227"/>
                  <a:gd name="connsiteY50" fmla="*/ 2902312 h 3498714"/>
                  <a:gd name="connsiteX51" fmla="*/ 682782 w 2170227"/>
                  <a:gd name="connsiteY51" fmla="*/ 0 h 3498714"/>
                  <a:gd name="connsiteX0" fmla="*/ 358791 w 2170227"/>
                  <a:gd name="connsiteY0" fmla="*/ 644545 h 3498714"/>
                  <a:gd name="connsiteX1" fmla="*/ 1006774 w 2170227"/>
                  <a:gd name="connsiteY1" fmla="*/ 644545 h 3498714"/>
                  <a:gd name="connsiteX2" fmla="*/ 1542636 w 2170227"/>
                  <a:gd name="connsiteY2" fmla="*/ 1193969 h 3498714"/>
                  <a:gd name="connsiteX3" fmla="*/ 1929878 w 2170227"/>
                  <a:gd name="connsiteY3" fmla="*/ 1193970 h 3498714"/>
                  <a:gd name="connsiteX4" fmla="*/ 2070059 w 2170227"/>
                  <a:gd name="connsiteY4" fmla="*/ 1334152 h 3498714"/>
                  <a:gd name="connsiteX5" fmla="*/ 1929878 w 2170227"/>
                  <a:gd name="connsiteY5" fmla="*/ 1474333 h 3498714"/>
                  <a:gd name="connsiteX6" fmla="*/ 1520943 w 2170227"/>
                  <a:gd name="connsiteY6" fmla="*/ 1470388 h 3498714"/>
                  <a:gd name="connsiteX7" fmla="*/ 1332825 w 2170227"/>
                  <a:gd name="connsiteY7" fmla="*/ 1367201 h 3498714"/>
                  <a:gd name="connsiteX8" fmla="*/ 1106501 w 2170227"/>
                  <a:gd name="connsiteY8" fmla="*/ 1098289 h 3498714"/>
                  <a:gd name="connsiteX9" fmla="*/ 1101049 w 2170227"/>
                  <a:gd name="connsiteY9" fmla="*/ 1092836 h 3498714"/>
                  <a:gd name="connsiteX10" fmla="*/ 1046523 w 2170227"/>
                  <a:gd name="connsiteY10" fmla="*/ 1092836 h 3498714"/>
                  <a:gd name="connsiteX11" fmla="*/ 1041071 w 2170227"/>
                  <a:gd name="connsiteY11" fmla="*/ 1098289 h 3498714"/>
                  <a:gd name="connsiteX12" fmla="*/ 1042136 w 2170227"/>
                  <a:gd name="connsiteY12" fmla="*/ 1419754 h 3498714"/>
                  <a:gd name="connsiteX13" fmla="*/ 1042136 w 2170227"/>
                  <a:gd name="connsiteY13" fmla="*/ 3337652 h 3498714"/>
                  <a:gd name="connsiteX14" fmla="*/ 881075 w 2170227"/>
                  <a:gd name="connsiteY14" fmla="*/ 3498714 h 3498714"/>
                  <a:gd name="connsiteX15" fmla="*/ 720012 w 2170227"/>
                  <a:gd name="connsiteY15" fmla="*/ 3337652 h 3498714"/>
                  <a:gd name="connsiteX16" fmla="*/ 720012 w 2170227"/>
                  <a:gd name="connsiteY16" fmla="*/ 2125717 h 3498714"/>
                  <a:gd name="connsiteX17" fmla="*/ 718947 w 2170227"/>
                  <a:gd name="connsiteY17" fmla="*/ 2033194 h 3498714"/>
                  <a:gd name="connsiteX18" fmla="*/ 714162 w 2170227"/>
                  <a:gd name="connsiteY18" fmla="*/ 2028410 h 3498714"/>
                  <a:gd name="connsiteX19" fmla="*/ 654759 w 2170227"/>
                  <a:gd name="connsiteY19" fmla="*/ 2028410 h 3498714"/>
                  <a:gd name="connsiteX20" fmla="*/ 649974 w 2170227"/>
                  <a:gd name="connsiteY20" fmla="*/ 2033194 h 3498714"/>
                  <a:gd name="connsiteX21" fmla="*/ 649974 w 2170227"/>
                  <a:gd name="connsiteY21" fmla="*/ 2125717 h 3498714"/>
                  <a:gd name="connsiteX22" fmla="*/ 649574 w 2170227"/>
                  <a:gd name="connsiteY22" fmla="*/ 3337652 h 3498714"/>
                  <a:gd name="connsiteX23" fmla="*/ 488511 w 2170227"/>
                  <a:gd name="connsiteY23" fmla="*/ 3498714 h 3498714"/>
                  <a:gd name="connsiteX24" fmla="*/ 327450 w 2170227"/>
                  <a:gd name="connsiteY24" fmla="*/ 3337652 h 3498714"/>
                  <a:gd name="connsiteX25" fmla="*/ 327450 w 2170227"/>
                  <a:gd name="connsiteY25" fmla="*/ 1458216 h 3498714"/>
                  <a:gd name="connsiteX26" fmla="*/ 322427 w 2170227"/>
                  <a:gd name="connsiteY26" fmla="*/ 1098205 h 3498714"/>
                  <a:gd name="connsiteX27" fmla="*/ 317058 w 2170227"/>
                  <a:gd name="connsiteY27" fmla="*/ 1092836 h 3498714"/>
                  <a:gd name="connsiteX28" fmla="*/ 263371 w 2170227"/>
                  <a:gd name="connsiteY28" fmla="*/ 1092836 h 3498714"/>
                  <a:gd name="connsiteX29" fmla="*/ 258001 w 2170227"/>
                  <a:gd name="connsiteY29" fmla="*/ 1098205 h 3498714"/>
                  <a:gd name="connsiteX30" fmla="*/ 258001 w 2170227"/>
                  <a:gd name="connsiteY30" fmla="*/ 1444446 h 3498714"/>
                  <a:gd name="connsiteX31" fmla="*/ 257700 w 2170227"/>
                  <a:gd name="connsiteY31" fmla="*/ 1444370 h 3498714"/>
                  <a:gd name="connsiteX32" fmla="*/ 257700 w 2170227"/>
                  <a:gd name="connsiteY32" fmla="*/ 1912573 h 3498714"/>
                  <a:gd name="connsiteX33" fmla="*/ 128850 w 2170227"/>
                  <a:gd name="connsiteY33" fmla="*/ 2041423 h 3498714"/>
                  <a:gd name="connsiteX34" fmla="*/ 0 w 2170227"/>
                  <a:gd name="connsiteY34" fmla="*/ 1912573 h 3498714"/>
                  <a:gd name="connsiteX35" fmla="*/ 0 w 2170227"/>
                  <a:gd name="connsiteY35" fmla="*/ 1101802 h 3498714"/>
                  <a:gd name="connsiteX36" fmla="*/ 0 w 2170227"/>
                  <a:gd name="connsiteY36" fmla="*/ 1003338 h 3498714"/>
                  <a:gd name="connsiteX37" fmla="*/ 0 w 2170227"/>
                  <a:gd name="connsiteY37" fmla="*/ 982486 h 3498714"/>
                  <a:gd name="connsiteX38" fmla="*/ 12733 w 2170227"/>
                  <a:gd name="connsiteY38" fmla="*/ 894663 h 3498714"/>
                  <a:gd name="connsiteX39" fmla="*/ 20539 w 2170227"/>
                  <a:gd name="connsiteY39" fmla="*/ 868773 h 3498714"/>
                  <a:gd name="connsiteX40" fmla="*/ 358791 w 2170227"/>
                  <a:gd name="connsiteY40" fmla="*/ 644545 h 3498714"/>
                  <a:gd name="connsiteX41" fmla="*/ 682782 w 2170227"/>
                  <a:gd name="connsiteY41" fmla="*/ 0 h 3498714"/>
                  <a:gd name="connsiteX42" fmla="*/ 966919 w 2170227"/>
                  <a:gd name="connsiteY42" fmla="*/ 284138 h 3498714"/>
                  <a:gd name="connsiteX43" fmla="*/ 682782 w 2170227"/>
                  <a:gd name="connsiteY43" fmla="*/ 568275 h 3498714"/>
                  <a:gd name="connsiteX44" fmla="*/ 398645 w 2170227"/>
                  <a:gd name="connsiteY44" fmla="*/ 284138 h 3498714"/>
                  <a:gd name="connsiteX45" fmla="*/ 682782 w 2170227"/>
                  <a:gd name="connsiteY45" fmla="*/ 0 h 3498714"/>
                  <a:gd name="connsiteX46" fmla="*/ 2170227 w 2170227"/>
                  <a:gd name="connsiteY46" fmla="*/ 3124562 h 3498714"/>
                  <a:gd name="connsiteX47" fmla="*/ 2052754 w 2170227"/>
                  <a:gd name="connsiteY47" fmla="*/ 3124562 h 3498714"/>
                  <a:gd name="connsiteX48" fmla="*/ 1941629 w 2170227"/>
                  <a:gd name="connsiteY48" fmla="*/ 3013437 h 3498714"/>
                  <a:gd name="connsiteX49" fmla="*/ 2052754 w 2170227"/>
                  <a:gd name="connsiteY49" fmla="*/ 2902312 h 3498714"/>
                  <a:gd name="connsiteX50" fmla="*/ 682782 w 2170227"/>
                  <a:gd name="connsiteY50" fmla="*/ 0 h 3498714"/>
                  <a:gd name="connsiteX0" fmla="*/ 358791 w 2170227"/>
                  <a:gd name="connsiteY0" fmla="*/ 644545 h 3498714"/>
                  <a:gd name="connsiteX1" fmla="*/ 1006774 w 2170227"/>
                  <a:gd name="connsiteY1" fmla="*/ 644545 h 3498714"/>
                  <a:gd name="connsiteX2" fmla="*/ 1542636 w 2170227"/>
                  <a:gd name="connsiteY2" fmla="*/ 1193969 h 3498714"/>
                  <a:gd name="connsiteX3" fmla="*/ 1929878 w 2170227"/>
                  <a:gd name="connsiteY3" fmla="*/ 1193970 h 3498714"/>
                  <a:gd name="connsiteX4" fmla="*/ 2070059 w 2170227"/>
                  <a:gd name="connsiteY4" fmla="*/ 1334152 h 3498714"/>
                  <a:gd name="connsiteX5" fmla="*/ 1929878 w 2170227"/>
                  <a:gd name="connsiteY5" fmla="*/ 1474333 h 3498714"/>
                  <a:gd name="connsiteX6" fmla="*/ 1520943 w 2170227"/>
                  <a:gd name="connsiteY6" fmla="*/ 1470388 h 3498714"/>
                  <a:gd name="connsiteX7" fmla="*/ 1332825 w 2170227"/>
                  <a:gd name="connsiteY7" fmla="*/ 1367201 h 3498714"/>
                  <a:gd name="connsiteX8" fmla="*/ 1106501 w 2170227"/>
                  <a:gd name="connsiteY8" fmla="*/ 1098289 h 3498714"/>
                  <a:gd name="connsiteX9" fmla="*/ 1101049 w 2170227"/>
                  <a:gd name="connsiteY9" fmla="*/ 1092836 h 3498714"/>
                  <a:gd name="connsiteX10" fmla="*/ 1046523 w 2170227"/>
                  <a:gd name="connsiteY10" fmla="*/ 1092836 h 3498714"/>
                  <a:gd name="connsiteX11" fmla="*/ 1041071 w 2170227"/>
                  <a:gd name="connsiteY11" fmla="*/ 1098289 h 3498714"/>
                  <a:gd name="connsiteX12" fmla="*/ 1042136 w 2170227"/>
                  <a:gd name="connsiteY12" fmla="*/ 1419754 h 3498714"/>
                  <a:gd name="connsiteX13" fmla="*/ 1042136 w 2170227"/>
                  <a:gd name="connsiteY13" fmla="*/ 3337652 h 3498714"/>
                  <a:gd name="connsiteX14" fmla="*/ 881075 w 2170227"/>
                  <a:gd name="connsiteY14" fmla="*/ 3498714 h 3498714"/>
                  <a:gd name="connsiteX15" fmla="*/ 720012 w 2170227"/>
                  <a:gd name="connsiteY15" fmla="*/ 3337652 h 3498714"/>
                  <a:gd name="connsiteX16" fmla="*/ 720012 w 2170227"/>
                  <a:gd name="connsiteY16" fmla="*/ 2125717 h 3498714"/>
                  <a:gd name="connsiteX17" fmla="*/ 718947 w 2170227"/>
                  <a:gd name="connsiteY17" fmla="*/ 2033194 h 3498714"/>
                  <a:gd name="connsiteX18" fmla="*/ 714162 w 2170227"/>
                  <a:gd name="connsiteY18" fmla="*/ 2028410 h 3498714"/>
                  <a:gd name="connsiteX19" fmla="*/ 654759 w 2170227"/>
                  <a:gd name="connsiteY19" fmla="*/ 2028410 h 3498714"/>
                  <a:gd name="connsiteX20" fmla="*/ 649974 w 2170227"/>
                  <a:gd name="connsiteY20" fmla="*/ 2033194 h 3498714"/>
                  <a:gd name="connsiteX21" fmla="*/ 649974 w 2170227"/>
                  <a:gd name="connsiteY21" fmla="*/ 2125717 h 3498714"/>
                  <a:gd name="connsiteX22" fmla="*/ 649574 w 2170227"/>
                  <a:gd name="connsiteY22" fmla="*/ 3337652 h 3498714"/>
                  <a:gd name="connsiteX23" fmla="*/ 488511 w 2170227"/>
                  <a:gd name="connsiteY23" fmla="*/ 3498714 h 3498714"/>
                  <a:gd name="connsiteX24" fmla="*/ 327450 w 2170227"/>
                  <a:gd name="connsiteY24" fmla="*/ 3337652 h 3498714"/>
                  <a:gd name="connsiteX25" fmla="*/ 327450 w 2170227"/>
                  <a:gd name="connsiteY25" fmla="*/ 1458216 h 3498714"/>
                  <a:gd name="connsiteX26" fmla="*/ 322427 w 2170227"/>
                  <a:gd name="connsiteY26" fmla="*/ 1098205 h 3498714"/>
                  <a:gd name="connsiteX27" fmla="*/ 317058 w 2170227"/>
                  <a:gd name="connsiteY27" fmla="*/ 1092836 h 3498714"/>
                  <a:gd name="connsiteX28" fmla="*/ 263371 w 2170227"/>
                  <a:gd name="connsiteY28" fmla="*/ 1092836 h 3498714"/>
                  <a:gd name="connsiteX29" fmla="*/ 258001 w 2170227"/>
                  <a:gd name="connsiteY29" fmla="*/ 1098205 h 3498714"/>
                  <a:gd name="connsiteX30" fmla="*/ 258001 w 2170227"/>
                  <a:gd name="connsiteY30" fmla="*/ 1444446 h 3498714"/>
                  <a:gd name="connsiteX31" fmla="*/ 257700 w 2170227"/>
                  <a:gd name="connsiteY31" fmla="*/ 1444370 h 3498714"/>
                  <a:gd name="connsiteX32" fmla="*/ 257700 w 2170227"/>
                  <a:gd name="connsiteY32" fmla="*/ 1912573 h 3498714"/>
                  <a:gd name="connsiteX33" fmla="*/ 128850 w 2170227"/>
                  <a:gd name="connsiteY33" fmla="*/ 2041423 h 3498714"/>
                  <a:gd name="connsiteX34" fmla="*/ 0 w 2170227"/>
                  <a:gd name="connsiteY34" fmla="*/ 1912573 h 3498714"/>
                  <a:gd name="connsiteX35" fmla="*/ 0 w 2170227"/>
                  <a:gd name="connsiteY35" fmla="*/ 1101802 h 3498714"/>
                  <a:gd name="connsiteX36" fmla="*/ 0 w 2170227"/>
                  <a:gd name="connsiteY36" fmla="*/ 1003338 h 3498714"/>
                  <a:gd name="connsiteX37" fmla="*/ 0 w 2170227"/>
                  <a:gd name="connsiteY37" fmla="*/ 982486 h 3498714"/>
                  <a:gd name="connsiteX38" fmla="*/ 12733 w 2170227"/>
                  <a:gd name="connsiteY38" fmla="*/ 894663 h 3498714"/>
                  <a:gd name="connsiteX39" fmla="*/ 20539 w 2170227"/>
                  <a:gd name="connsiteY39" fmla="*/ 868773 h 3498714"/>
                  <a:gd name="connsiteX40" fmla="*/ 358791 w 2170227"/>
                  <a:gd name="connsiteY40" fmla="*/ 644545 h 3498714"/>
                  <a:gd name="connsiteX41" fmla="*/ 682782 w 2170227"/>
                  <a:gd name="connsiteY41" fmla="*/ 0 h 3498714"/>
                  <a:gd name="connsiteX42" fmla="*/ 966919 w 2170227"/>
                  <a:gd name="connsiteY42" fmla="*/ 284138 h 3498714"/>
                  <a:gd name="connsiteX43" fmla="*/ 682782 w 2170227"/>
                  <a:gd name="connsiteY43" fmla="*/ 568275 h 3498714"/>
                  <a:gd name="connsiteX44" fmla="*/ 398645 w 2170227"/>
                  <a:gd name="connsiteY44" fmla="*/ 284138 h 3498714"/>
                  <a:gd name="connsiteX45" fmla="*/ 682782 w 2170227"/>
                  <a:gd name="connsiteY45" fmla="*/ 0 h 3498714"/>
                  <a:gd name="connsiteX46" fmla="*/ 2170227 w 2170227"/>
                  <a:gd name="connsiteY46" fmla="*/ 3124562 h 3498714"/>
                  <a:gd name="connsiteX47" fmla="*/ 1941629 w 2170227"/>
                  <a:gd name="connsiteY47" fmla="*/ 3013437 h 3498714"/>
                  <a:gd name="connsiteX48" fmla="*/ 2052754 w 2170227"/>
                  <a:gd name="connsiteY48" fmla="*/ 2902312 h 3498714"/>
                  <a:gd name="connsiteX49" fmla="*/ 682782 w 2170227"/>
                  <a:gd name="connsiteY49" fmla="*/ 0 h 3498714"/>
                  <a:gd name="connsiteX0" fmla="*/ 358791 w 2170227"/>
                  <a:gd name="connsiteY0" fmla="*/ 644545 h 3498714"/>
                  <a:gd name="connsiteX1" fmla="*/ 1006774 w 2170227"/>
                  <a:gd name="connsiteY1" fmla="*/ 644545 h 3498714"/>
                  <a:gd name="connsiteX2" fmla="*/ 1542636 w 2170227"/>
                  <a:gd name="connsiteY2" fmla="*/ 1193969 h 3498714"/>
                  <a:gd name="connsiteX3" fmla="*/ 1929878 w 2170227"/>
                  <a:gd name="connsiteY3" fmla="*/ 1193970 h 3498714"/>
                  <a:gd name="connsiteX4" fmla="*/ 2070059 w 2170227"/>
                  <a:gd name="connsiteY4" fmla="*/ 1334152 h 3498714"/>
                  <a:gd name="connsiteX5" fmla="*/ 1929878 w 2170227"/>
                  <a:gd name="connsiteY5" fmla="*/ 1474333 h 3498714"/>
                  <a:gd name="connsiteX6" fmla="*/ 1520943 w 2170227"/>
                  <a:gd name="connsiteY6" fmla="*/ 1470388 h 3498714"/>
                  <a:gd name="connsiteX7" fmla="*/ 1332825 w 2170227"/>
                  <a:gd name="connsiteY7" fmla="*/ 1367201 h 3498714"/>
                  <a:gd name="connsiteX8" fmla="*/ 1106501 w 2170227"/>
                  <a:gd name="connsiteY8" fmla="*/ 1098289 h 3498714"/>
                  <a:gd name="connsiteX9" fmla="*/ 1101049 w 2170227"/>
                  <a:gd name="connsiteY9" fmla="*/ 1092836 h 3498714"/>
                  <a:gd name="connsiteX10" fmla="*/ 1046523 w 2170227"/>
                  <a:gd name="connsiteY10" fmla="*/ 1092836 h 3498714"/>
                  <a:gd name="connsiteX11" fmla="*/ 1041071 w 2170227"/>
                  <a:gd name="connsiteY11" fmla="*/ 1098289 h 3498714"/>
                  <a:gd name="connsiteX12" fmla="*/ 1042136 w 2170227"/>
                  <a:gd name="connsiteY12" fmla="*/ 1419754 h 3498714"/>
                  <a:gd name="connsiteX13" fmla="*/ 1042136 w 2170227"/>
                  <a:gd name="connsiteY13" fmla="*/ 3337652 h 3498714"/>
                  <a:gd name="connsiteX14" fmla="*/ 881075 w 2170227"/>
                  <a:gd name="connsiteY14" fmla="*/ 3498714 h 3498714"/>
                  <a:gd name="connsiteX15" fmla="*/ 720012 w 2170227"/>
                  <a:gd name="connsiteY15" fmla="*/ 3337652 h 3498714"/>
                  <a:gd name="connsiteX16" fmla="*/ 720012 w 2170227"/>
                  <a:gd name="connsiteY16" fmla="*/ 2125717 h 3498714"/>
                  <a:gd name="connsiteX17" fmla="*/ 718947 w 2170227"/>
                  <a:gd name="connsiteY17" fmla="*/ 2033194 h 3498714"/>
                  <a:gd name="connsiteX18" fmla="*/ 714162 w 2170227"/>
                  <a:gd name="connsiteY18" fmla="*/ 2028410 h 3498714"/>
                  <a:gd name="connsiteX19" fmla="*/ 654759 w 2170227"/>
                  <a:gd name="connsiteY19" fmla="*/ 2028410 h 3498714"/>
                  <a:gd name="connsiteX20" fmla="*/ 649974 w 2170227"/>
                  <a:gd name="connsiteY20" fmla="*/ 2033194 h 3498714"/>
                  <a:gd name="connsiteX21" fmla="*/ 649974 w 2170227"/>
                  <a:gd name="connsiteY21" fmla="*/ 2125717 h 3498714"/>
                  <a:gd name="connsiteX22" fmla="*/ 649574 w 2170227"/>
                  <a:gd name="connsiteY22" fmla="*/ 3337652 h 3498714"/>
                  <a:gd name="connsiteX23" fmla="*/ 488511 w 2170227"/>
                  <a:gd name="connsiteY23" fmla="*/ 3498714 h 3498714"/>
                  <a:gd name="connsiteX24" fmla="*/ 327450 w 2170227"/>
                  <a:gd name="connsiteY24" fmla="*/ 3337652 h 3498714"/>
                  <a:gd name="connsiteX25" fmla="*/ 327450 w 2170227"/>
                  <a:gd name="connsiteY25" fmla="*/ 1458216 h 3498714"/>
                  <a:gd name="connsiteX26" fmla="*/ 322427 w 2170227"/>
                  <a:gd name="connsiteY26" fmla="*/ 1098205 h 3498714"/>
                  <a:gd name="connsiteX27" fmla="*/ 317058 w 2170227"/>
                  <a:gd name="connsiteY27" fmla="*/ 1092836 h 3498714"/>
                  <a:gd name="connsiteX28" fmla="*/ 263371 w 2170227"/>
                  <a:gd name="connsiteY28" fmla="*/ 1092836 h 3498714"/>
                  <a:gd name="connsiteX29" fmla="*/ 258001 w 2170227"/>
                  <a:gd name="connsiteY29" fmla="*/ 1098205 h 3498714"/>
                  <a:gd name="connsiteX30" fmla="*/ 258001 w 2170227"/>
                  <a:gd name="connsiteY30" fmla="*/ 1444446 h 3498714"/>
                  <a:gd name="connsiteX31" fmla="*/ 257700 w 2170227"/>
                  <a:gd name="connsiteY31" fmla="*/ 1444370 h 3498714"/>
                  <a:gd name="connsiteX32" fmla="*/ 257700 w 2170227"/>
                  <a:gd name="connsiteY32" fmla="*/ 1912573 h 3498714"/>
                  <a:gd name="connsiteX33" fmla="*/ 128850 w 2170227"/>
                  <a:gd name="connsiteY33" fmla="*/ 2041423 h 3498714"/>
                  <a:gd name="connsiteX34" fmla="*/ 0 w 2170227"/>
                  <a:gd name="connsiteY34" fmla="*/ 1912573 h 3498714"/>
                  <a:gd name="connsiteX35" fmla="*/ 0 w 2170227"/>
                  <a:gd name="connsiteY35" fmla="*/ 1101802 h 3498714"/>
                  <a:gd name="connsiteX36" fmla="*/ 0 w 2170227"/>
                  <a:gd name="connsiteY36" fmla="*/ 1003338 h 3498714"/>
                  <a:gd name="connsiteX37" fmla="*/ 0 w 2170227"/>
                  <a:gd name="connsiteY37" fmla="*/ 982486 h 3498714"/>
                  <a:gd name="connsiteX38" fmla="*/ 12733 w 2170227"/>
                  <a:gd name="connsiteY38" fmla="*/ 894663 h 3498714"/>
                  <a:gd name="connsiteX39" fmla="*/ 20539 w 2170227"/>
                  <a:gd name="connsiteY39" fmla="*/ 868773 h 3498714"/>
                  <a:gd name="connsiteX40" fmla="*/ 358791 w 2170227"/>
                  <a:gd name="connsiteY40" fmla="*/ 644545 h 3498714"/>
                  <a:gd name="connsiteX41" fmla="*/ 682782 w 2170227"/>
                  <a:gd name="connsiteY41" fmla="*/ 0 h 3498714"/>
                  <a:gd name="connsiteX42" fmla="*/ 966919 w 2170227"/>
                  <a:gd name="connsiteY42" fmla="*/ 284138 h 3498714"/>
                  <a:gd name="connsiteX43" fmla="*/ 682782 w 2170227"/>
                  <a:gd name="connsiteY43" fmla="*/ 568275 h 3498714"/>
                  <a:gd name="connsiteX44" fmla="*/ 398645 w 2170227"/>
                  <a:gd name="connsiteY44" fmla="*/ 284138 h 3498714"/>
                  <a:gd name="connsiteX45" fmla="*/ 682782 w 2170227"/>
                  <a:gd name="connsiteY45" fmla="*/ 0 h 3498714"/>
                  <a:gd name="connsiteX46" fmla="*/ 2170227 w 2170227"/>
                  <a:gd name="connsiteY46" fmla="*/ 3124562 h 3498714"/>
                  <a:gd name="connsiteX47" fmla="*/ 2052754 w 2170227"/>
                  <a:gd name="connsiteY47" fmla="*/ 2902312 h 3498714"/>
                  <a:gd name="connsiteX48" fmla="*/ 682782 w 2170227"/>
                  <a:gd name="connsiteY48" fmla="*/ 0 h 3498714"/>
                  <a:gd name="connsiteX0" fmla="*/ 358791 w 2170227"/>
                  <a:gd name="connsiteY0" fmla="*/ 644545 h 3498714"/>
                  <a:gd name="connsiteX1" fmla="*/ 1006774 w 2170227"/>
                  <a:gd name="connsiteY1" fmla="*/ 644545 h 3498714"/>
                  <a:gd name="connsiteX2" fmla="*/ 1542636 w 2170227"/>
                  <a:gd name="connsiteY2" fmla="*/ 1193969 h 3498714"/>
                  <a:gd name="connsiteX3" fmla="*/ 1929878 w 2170227"/>
                  <a:gd name="connsiteY3" fmla="*/ 1193970 h 3498714"/>
                  <a:gd name="connsiteX4" fmla="*/ 2070059 w 2170227"/>
                  <a:gd name="connsiteY4" fmla="*/ 1334152 h 3498714"/>
                  <a:gd name="connsiteX5" fmla="*/ 1929878 w 2170227"/>
                  <a:gd name="connsiteY5" fmla="*/ 1474333 h 3498714"/>
                  <a:gd name="connsiteX6" fmla="*/ 1520943 w 2170227"/>
                  <a:gd name="connsiteY6" fmla="*/ 1470388 h 3498714"/>
                  <a:gd name="connsiteX7" fmla="*/ 1332825 w 2170227"/>
                  <a:gd name="connsiteY7" fmla="*/ 1367201 h 3498714"/>
                  <a:gd name="connsiteX8" fmla="*/ 1106501 w 2170227"/>
                  <a:gd name="connsiteY8" fmla="*/ 1098289 h 3498714"/>
                  <a:gd name="connsiteX9" fmla="*/ 1101049 w 2170227"/>
                  <a:gd name="connsiteY9" fmla="*/ 1092836 h 3498714"/>
                  <a:gd name="connsiteX10" fmla="*/ 1046523 w 2170227"/>
                  <a:gd name="connsiteY10" fmla="*/ 1092836 h 3498714"/>
                  <a:gd name="connsiteX11" fmla="*/ 1041071 w 2170227"/>
                  <a:gd name="connsiteY11" fmla="*/ 1098289 h 3498714"/>
                  <a:gd name="connsiteX12" fmla="*/ 1042136 w 2170227"/>
                  <a:gd name="connsiteY12" fmla="*/ 1419754 h 3498714"/>
                  <a:gd name="connsiteX13" fmla="*/ 1042136 w 2170227"/>
                  <a:gd name="connsiteY13" fmla="*/ 3337652 h 3498714"/>
                  <a:gd name="connsiteX14" fmla="*/ 881075 w 2170227"/>
                  <a:gd name="connsiteY14" fmla="*/ 3498714 h 3498714"/>
                  <a:gd name="connsiteX15" fmla="*/ 720012 w 2170227"/>
                  <a:gd name="connsiteY15" fmla="*/ 3337652 h 3498714"/>
                  <a:gd name="connsiteX16" fmla="*/ 720012 w 2170227"/>
                  <a:gd name="connsiteY16" fmla="*/ 2125717 h 3498714"/>
                  <a:gd name="connsiteX17" fmla="*/ 718947 w 2170227"/>
                  <a:gd name="connsiteY17" fmla="*/ 2033194 h 3498714"/>
                  <a:gd name="connsiteX18" fmla="*/ 714162 w 2170227"/>
                  <a:gd name="connsiteY18" fmla="*/ 2028410 h 3498714"/>
                  <a:gd name="connsiteX19" fmla="*/ 654759 w 2170227"/>
                  <a:gd name="connsiteY19" fmla="*/ 2028410 h 3498714"/>
                  <a:gd name="connsiteX20" fmla="*/ 649974 w 2170227"/>
                  <a:gd name="connsiteY20" fmla="*/ 2033194 h 3498714"/>
                  <a:gd name="connsiteX21" fmla="*/ 649974 w 2170227"/>
                  <a:gd name="connsiteY21" fmla="*/ 2125717 h 3498714"/>
                  <a:gd name="connsiteX22" fmla="*/ 649574 w 2170227"/>
                  <a:gd name="connsiteY22" fmla="*/ 3337652 h 3498714"/>
                  <a:gd name="connsiteX23" fmla="*/ 488511 w 2170227"/>
                  <a:gd name="connsiteY23" fmla="*/ 3498714 h 3498714"/>
                  <a:gd name="connsiteX24" fmla="*/ 327450 w 2170227"/>
                  <a:gd name="connsiteY24" fmla="*/ 3337652 h 3498714"/>
                  <a:gd name="connsiteX25" fmla="*/ 327450 w 2170227"/>
                  <a:gd name="connsiteY25" fmla="*/ 1458216 h 3498714"/>
                  <a:gd name="connsiteX26" fmla="*/ 322427 w 2170227"/>
                  <a:gd name="connsiteY26" fmla="*/ 1098205 h 3498714"/>
                  <a:gd name="connsiteX27" fmla="*/ 317058 w 2170227"/>
                  <a:gd name="connsiteY27" fmla="*/ 1092836 h 3498714"/>
                  <a:gd name="connsiteX28" fmla="*/ 263371 w 2170227"/>
                  <a:gd name="connsiteY28" fmla="*/ 1092836 h 3498714"/>
                  <a:gd name="connsiteX29" fmla="*/ 258001 w 2170227"/>
                  <a:gd name="connsiteY29" fmla="*/ 1098205 h 3498714"/>
                  <a:gd name="connsiteX30" fmla="*/ 258001 w 2170227"/>
                  <a:gd name="connsiteY30" fmla="*/ 1444446 h 3498714"/>
                  <a:gd name="connsiteX31" fmla="*/ 257700 w 2170227"/>
                  <a:gd name="connsiteY31" fmla="*/ 1444370 h 3498714"/>
                  <a:gd name="connsiteX32" fmla="*/ 257700 w 2170227"/>
                  <a:gd name="connsiteY32" fmla="*/ 1912573 h 3498714"/>
                  <a:gd name="connsiteX33" fmla="*/ 128850 w 2170227"/>
                  <a:gd name="connsiteY33" fmla="*/ 2041423 h 3498714"/>
                  <a:gd name="connsiteX34" fmla="*/ 0 w 2170227"/>
                  <a:gd name="connsiteY34" fmla="*/ 1912573 h 3498714"/>
                  <a:gd name="connsiteX35" fmla="*/ 0 w 2170227"/>
                  <a:gd name="connsiteY35" fmla="*/ 1101802 h 3498714"/>
                  <a:gd name="connsiteX36" fmla="*/ 0 w 2170227"/>
                  <a:gd name="connsiteY36" fmla="*/ 1003338 h 3498714"/>
                  <a:gd name="connsiteX37" fmla="*/ 0 w 2170227"/>
                  <a:gd name="connsiteY37" fmla="*/ 982486 h 3498714"/>
                  <a:gd name="connsiteX38" fmla="*/ 12733 w 2170227"/>
                  <a:gd name="connsiteY38" fmla="*/ 894663 h 3498714"/>
                  <a:gd name="connsiteX39" fmla="*/ 20539 w 2170227"/>
                  <a:gd name="connsiteY39" fmla="*/ 868773 h 3498714"/>
                  <a:gd name="connsiteX40" fmla="*/ 358791 w 2170227"/>
                  <a:gd name="connsiteY40" fmla="*/ 644545 h 3498714"/>
                  <a:gd name="connsiteX41" fmla="*/ 682782 w 2170227"/>
                  <a:gd name="connsiteY41" fmla="*/ 0 h 3498714"/>
                  <a:gd name="connsiteX42" fmla="*/ 966919 w 2170227"/>
                  <a:gd name="connsiteY42" fmla="*/ 284138 h 3498714"/>
                  <a:gd name="connsiteX43" fmla="*/ 682782 w 2170227"/>
                  <a:gd name="connsiteY43" fmla="*/ 568275 h 3498714"/>
                  <a:gd name="connsiteX44" fmla="*/ 398645 w 2170227"/>
                  <a:gd name="connsiteY44" fmla="*/ 284138 h 3498714"/>
                  <a:gd name="connsiteX45" fmla="*/ 682782 w 2170227"/>
                  <a:gd name="connsiteY45" fmla="*/ 0 h 3498714"/>
                  <a:gd name="connsiteX46" fmla="*/ 2170227 w 2170227"/>
                  <a:gd name="connsiteY46" fmla="*/ 3124562 h 3498714"/>
                  <a:gd name="connsiteX47" fmla="*/ 682782 w 2170227"/>
                  <a:gd name="connsiteY47" fmla="*/ 0 h 3498714"/>
                  <a:gd name="connsiteX0" fmla="*/ 358791 w 2070059"/>
                  <a:gd name="connsiteY0" fmla="*/ 644545 h 3498714"/>
                  <a:gd name="connsiteX1" fmla="*/ 1006774 w 2070059"/>
                  <a:gd name="connsiteY1" fmla="*/ 644545 h 3498714"/>
                  <a:gd name="connsiteX2" fmla="*/ 1542636 w 2070059"/>
                  <a:gd name="connsiteY2" fmla="*/ 1193969 h 3498714"/>
                  <a:gd name="connsiteX3" fmla="*/ 1929878 w 2070059"/>
                  <a:gd name="connsiteY3" fmla="*/ 1193970 h 3498714"/>
                  <a:gd name="connsiteX4" fmla="*/ 2070059 w 2070059"/>
                  <a:gd name="connsiteY4" fmla="*/ 1334152 h 3498714"/>
                  <a:gd name="connsiteX5" fmla="*/ 1929878 w 2070059"/>
                  <a:gd name="connsiteY5" fmla="*/ 1474333 h 3498714"/>
                  <a:gd name="connsiteX6" fmla="*/ 1520943 w 2070059"/>
                  <a:gd name="connsiteY6" fmla="*/ 1470388 h 3498714"/>
                  <a:gd name="connsiteX7" fmla="*/ 1332825 w 2070059"/>
                  <a:gd name="connsiteY7" fmla="*/ 1367201 h 3498714"/>
                  <a:gd name="connsiteX8" fmla="*/ 1106501 w 2070059"/>
                  <a:gd name="connsiteY8" fmla="*/ 1098289 h 3498714"/>
                  <a:gd name="connsiteX9" fmla="*/ 1101049 w 2070059"/>
                  <a:gd name="connsiteY9" fmla="*/ 1092836 h 3498714"/>
                  <a:gd name="connsiteX10" fmla="*/ 1046523 w 2070059"/>
                  <a:gd name="connsiteY10" fmla="*/ 1092836 h 3498714"/>
                  <a:gd name="connsiteX11" fmla="*/ 1041071 w 2070059"/>
                  <a:gd name="connsiteY11" fmla="*/ 1098289 h 3498714"/>
                  <a:gd name="connsiteX12" fmla="*/ 1042136 w 2070059"/>
                  <a:gd name="connsiteY12" fmla="*/ 1419754 h 3498714"/>
                  <a:gd name="connsiteX13" fmla="*/ 1042136 w 2070059"/>
                  <a:gd name="connsiteY13" fmla="*/ 3337652 h 3498714"/>
                  <a:gd name="connsiteX14" fmla="*/ 881075 w 2070059"/>
                  <a:gd name="connsiteY14" fmla="*/ 3498714 h 3498714"/>
                  <a:gd name="connsiteX15" fmla="*/ 720012 w 2070059"/>
                  <a:gd name="connsiteY15" fmla="*/ 3337652 h 3498714"/>
                  <a:gd name="connsiteX16" fmla="*/ 720012 w 2070059"/>
                  <a:gd name="connsiteY16" fmla="*/ 2125717 h 3498714"/>
                  <a:gd name="connsiteX17" fmla="*/ 718947 w 2070059"/>
                  <a:gd name="connsiteY17" fmla="*/ 2033194 h 3498714"/>
                  <a:gd name="connsiteX18" fmla="*/ 714162 w 2070059"/>
                  <a:gd name="connsiteY18" fmla="*/ 2028410 h 3498714"/>
                  <a:gd name="connsiteX19" fmla="*/ 654759 w 2070059"/>
                  <a:gd name="connsiteY19" fmla="*/ 2028410 h 3498714"/>
                  <a:gd name="connsiteX20" fmla="*/ 649974 w 2070059"/>
                  <a:gd name="connsiteY20" fmla="*/ 2033194 h 3498714"/>
                  <a:gd name="connsiteX21" fmla="*/ 649974 w 2070059"/>
                  <a:gd name="connsiteY21" fmla="*/ 2125717 h 3498714"/>
                  <a:gd name="connsiteX22" fmla="*/ 649574 w 2070059"/>
                  <a:gd name="connsiteY22" fmla="*/ 3337652 h 3498714"/>
                  <a:gd name="connsiteX23" fmla="*/ 488511 w 2070059"/>
                  <a:gd name="connsiteY23" fmla="*/ 3498714 h 3498714"/>
                  <a:gd name="connsiteX24" fmla="*/ 327450 w 2070059"/>
                  <a:gd name="connsiteY24" fmla="*/ 3337652 h 3498714"/>
                  <a:gd name="connsiteX25" fmla="*/ 327450 w 2070059"/>
                  <a:gd name="connsiteY25" fmla="*/ 1458216 h 3498714"/>
                  <a:gd name="connsiteX26" fmla="*/ 322427 w 2070059"/>
                  <a:gd name="connsiteY26" fmla="*/ 1098205 h 3498714"/>
                  <a:gd name="connsiteX27" fmla="*/ 317058 w 2070059"/>
                  <a:gd name="connsiteY27" fmla="*/ 1092836 h 3498714"/>
                  <a:gd name="connsiteX28" fmla="*/ 263371 w 2070059"/>
                  <a:gd name="connsiteY28" fmla="*/ 1092836 h 3498714"/>
                  <a:gd name="connsiteX29" fmla="*/ 258001 w 2070059"/>
                  <a:gd name="connsiteY29" fmla="*/ 1098205 h 3498714"/>
                  <a:gd name="connsiteX30" fmla="*/ 258001 w 2070059"/>
                  <a:gd name="connsiteY30" fmla="*/ 1444446 h 3498714"/>
                  <a:gd name="connsiteX31" fmla="*/ 257700 w 2070059"/>
                  <a:gd name="connsiteY31" fmla="*/ 1444370 h 3498714"/>
                  <a:gd name="connsiteX32" fmla="*/ 257700 w 2070059"/>
                  <a:gd name="connsiteY32" fmla="*/ 1912573 h 3498714"/>
                  <a:gd name="connsiteX33" fmla="*/ 128850 w 2070059"/>
                  <a:gd name="connsiteY33" fmla="*/ 2041423 h 3498714"/>
                  <a:gd name="connsiteX34" fmla="*/ 0 w 2070059"/>
                  <a:gd name="connsiteY34" fmla="*/ 1912573 h 3498714"/>
                  <a:gd name="connsiteX35" fmla="*/ 0 w 2070059"/>
                  <a:gd name="connsiteY35" fmla="*/ 1101802 h 3498714"/>
                  <a:gd name="connsiteX36" fmla="*/ 0 w 2070059"/>
                  <a:gd name="connsiteY36" fmla="*/ 1003338 h 3498714"/>
                  <a:gd name="connsiteX37" fmla="*/ 0 w 2070059"/>
                  <a:gd name="connsiteY37" fmla="*/ 982486 h 3498714"/>
                  <a:gd name="connsiteX38" fmla="*/ 12733 w 2070059"/>
                  <a:gd name="connsiteY38" fmla="*/ 894663 h 3498714"/>
                  <a:gd name="connsiteX39" fmla="*/ 20539 w 2070059"/>
                  <a:gd name="connsiteY39" fmla="*/ 868773 h 3498714"/>
                  <a:gd name="connsiteX40" fmla="*/ 358791 w 2070059"/>
                  <a:gd name="connsiteY40" fmla="*/ 644545 h 3498714"/>
                  <a:gd name="connsiteX41" fmla="*/ 682782 w 2070059"/>
                  <a:gd name="connsiteY41" fmla="*/ 0 h 3498714"/>
                  <a:gd name="connsiteX42" fmla="*/ 966919 w 2070059"/>
                  <a:gd name="connsiteY42" fmla="*/ 284138 h 3498714"/>
                  <a:gd name="connsiteX43" fmla="*/ 682782 w 2070059"/>
                  <a:gd name="connsiteY43" fmla="*/ 568275 h 3498714"/>
                  <a:gd name="connsiteX44" fmla="*/ 398645 w 2070059"/>
                  <a:gd name="connsiteY44" fmla="*/ 284138 h 3498714"/>
                  <a:gd name="connsiteX45" fmla="*/ 682782 w 2070059"/>
                  <a:gd name="connsiteY45" fmla="*/ 0 h 3498714"/>
                  <a:gd name="connsiteX46" fmla="*/ 682782 w 2070059"/>
                  <a:gd name="connsiteY46" fmla="*/ 0 h 3498714"/>
                  <a:gd name="connsiteX0" fmla="*/ 358791 w 2070059"/>
                  <a:gd name="connsiteY0" fmla="*/ 644545 h 3498714"/>
                  <a:gd name="connsiteX1" fmla="*/ 1006774 w 2070059"/>
                  <a:gd name="connsiteY1" fmla="*/ 644545 h 3498714"/>
                  <a:gd name="connsiteX2" fmla="*/ 1542636 w 2070059"/>
                  <a:gd name="connsiteY2" fmla="*/ 1193969 h 3498714"/>
                  <a:gd name="connsiteX3" fmla="*/ 1929878 w 2070059"/>
                  <a:gd name="connsiteY3" fmla="*/ 1193970 h 3498714"/>
                  <a:gd name="connsiteX4" fmla="*/ 2070059 w 2070059"/>
                  <a:gd name="connsiteY4" fmla="*/ 1334152 h 3498714"/>
                  <a:gd name="connsiteX5" fmla="*/ 1929878 w 2070059"/>
                  <a:gd name="connsiteY5" fmla="*/ 1474333 h 3498714"/>
                  <a:gd name="connsiteX6" fmla="*/ 1520943 w 2070059"/>
                  <a:gd name="connsiteY6" fmla="*/ 1470388 h 3498714"/>
                  <a:gd name="connsiteX7" fmla="*/ 1332825 w 2070059"/>
                  <a:gd name="connsiteY7" fmla="*/ 1367201 h 3498714"/>
                  <a:gd name="connsiteX8" fmla="*/ 1106501 w 2070059"/>
                  <a:gd name="connsiteY8" fmla="*/ 1098289 h 3498714"/>
                  <a:gd name="connsiteX9" fmla="*/ 1101049 w 2070059"/>
                  <a:gd name="connsiteY9" fmla="*/ 1092836 h 3498714"/>
                  <a:gd name="connsiteX10" fmla="*/ 1046523 w 2070059"/>
                  <a:gd name="connsiteY10" fmla="*/ 1092836 h 3498714"/>
                  <a:gd name="connsiteX11" fmla="*/ 1041071 w 2070059"/>
                  <a:gd name="connsiteY11" fmla="*/ 1098289 h 3498714"/>
                  <a:gd name="connsiteX12" fmla="*/ 1042136 w 2070059"/>
                  <a:gd name="connsiteY12" fmla="*/ 1419754 h 3498714"/>
                  <a:gd name="connsiteX13" fmla="*/ 1042136 w 2070059"/>
                  <a:gd name="connsiteY13" fmla="*/ 3337652 h 3498714"/>
                  <a:gd name="connsiteX14" fmla="*/ 881075 w 2070059"/>
                  <a:gd name="connsiteY14" fmla="*/ 3498714 h 3498714"/>
                  <a:gd name="connsiteX15" fmla="*/ 720012 w 2070059"/>
                  <a:gd name="connsiteY15" fmla="*/ 3337652 h 3498714"/>
                  <a:gd name="connsiteX16" fmla="*/ 720012 w 2070059"/>
                  <a:gd name="connsiteY16" fmla="*/ 2125717 h 3498714"/>
                  <a:gd name="connsiteX17" fmla="*/ 718947 w 2070059"/>
                  <a:gd name="connsiteY17" fmla="*/ 2033194 h 3498714"/>
                  <a:gd name="connsiteX18" fmla="*/ 714162 w 2070059"/>
                  <a:gd name="connsiteY18" fmla="*/ 2028410 h 3498714"/>
                  <a:gd name="connsiteX19" fmla="*/ 654759 w 2070059"/>
                  <a:gd name="connsiteY19" fmla="*/ 2028410 h 3498714"/>
                  <a:gd name="connsiteX20" fmla="*/ 649974 w 2070059"/>
                  <a:gd name="connsiteY20" fmla="*/ 2033194 h 3498714"/>
                  <a:gd name="connsiteX21" fmla="*/ 649974 w 2070059"/>
                  <a:gd name="connsiteY21" fmla="*/ 2125717 h 3498714"/>
                  <a:gd name="connsiteX22" fmla="*/ 649574 w 2070059"/>
                  <a:gd name="connsiteY22" fmla="*/ 3337652 h 3498714"/>
                  <a:gd name="connsiteX23" fmla="*/ 488511 w 2070059"/>
                  <a:gd name="connsiteY23" fmla="*/ 3498714 h 3498714"/>
                  <a:gd name="connsiteX24" fmla="*/ 327450 w 2070059"/>
                  <a:gd name="connsiteY24" fmla="*/ 3337652 h 3498714"/>
                  <a:gd name="connsiteX25" fmla="*/ 327450 w 2070059"/>
                  <a:gd name="connsiteY25" fmla="*/ 1458216 h 3498714"/>
                  <a:gd name="connsiteX26" fmla="*/ 322427 w 2070059"/>
                  <a:gd name="connsiteY26" fmla="*/ 1098205 h 3498714"/>
                  <a:gd name="connsiteX27" fmla="*/ 317058 w 2070059"/>
                  <a:gd name="connsiteY27" fmla="*/ 1092836 h 3498714"/>
                  <a:gd name="connsiteX28" fmla="*/ 263371 w 2070059"/>
                  <a:gd name="connsiteY28" fmla="*/ 1092836 h 3498714"/>
                  <a:gd name="connsiteX29" fmla="*/ 258001 w 2070059"/>
                  <a:gd name="connsiteY29" fmla="*/ 1098205 h 3498714"/>
                  <a:gd name="connsiteX30" fmla="*/ 258001 w 2070059"/>
                  <a:gd name="connsiteY30" fmla="*/ 1444446 h 3498714"/>
                  <a:gd name="connsiteX31" fmla="*/ 257700 w 2070059"/>
                  <a:gd name="connsiteY31" fmla="*/ 1444370 h 3498714"/>
                  <a:gd name="connsiteX32" fmla="*/ 257700 w 2070059"/>
                  <a:gd name="connsiteY32" fmla="*/ 1912573 h 3498714"/>
                  <a:gd name="connsiteX33" fmla="*/ 128850 w 2070059"/>
                  <a:gd name="connsiteY33" fmla="*/ 2041423 h 3498714"/>
                  <a:gd name="connsiteX34" fmla="*/ 0 w 2070059"/>
                  <a:gd name="connsiteY34" fmla="*/ 1912573 h 3498714"/>
                  <a:gd name="connsiteX35" fmla="*/ 0 w 2070059"/>
                  <a:gd name="connsiteY35" fmla="*/ 1101802 h 3498714"/>
                  <a:gd name="connsiteX36" fmla="*/ 0 w 2070059"/>
                  <a:gd name="connsiteY36" fmla="*/ 1003338 h 3498714"/>
                  <a:gd name="connsiteX37" fmla="*/ 0 w 2070059"/>
                  <a:gd name="connsiteY37" fmla="*/ 982486 h 3498714"/>
                  <a:gd name="connsiteX38" fmla="*/ 12733 w 2070059"/>
                  <a:gd name="connsiteY38" fmla="*/ 894663 h 3498714"/>
                  <a:gd name="connsiteX39" fmla="*/ 20539 w 2070059"/>
                  <a:gd name="connsiteY39" fmla="*/ 868773 h 3498714"/>
                  <a:gd name="connsiteX40" fmla="*/ 358791 w 2070059"/>
                  <a:gd name="connsiteY40" fmla="*/ 644545 h 3498714"/>
                  <a:gd name="connsiteX41" fmla="*/ 682782 w 2070059"/>
                  <a:gd name="connsiteY41" fmla="*/ 0 h 3498714"/>
                  <a:gd name="connsiteX42" fmla="*/ 966919 w 2070059"/>
                  <a:gd name="connsiteY42" fmla="*/ 284138 h 3498714"/>
                  <a:gd name="connsiteX43" fmla="*/ 682782 w 2070059"/>
                  <a:gd name="connsiteY43" fmla="*/ 568275 h 3498714"/>
                  <a:gd name="connsiteX44" fmla="*/ 398645 w 2070059"/>
                  <a:gd name="connsiteY44" fmla="*/ 284138 h 3498714"/>
                  <a:gd name="connsiteX45" fmla="*/ 682782 w 2070059"/>
                  <a:gd name="connsiteY45" fmla="*/ 0 h 3498714"/>
                  <a:gd name="connsiteX46" fmla="*/ 682782 w 2070059"/>
                  <a:gd name="connsiteY46" fmla="*/ 0 h 3498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2070059" h="3498714">
                    <a:close/>
                    <a:moveTo>
                      <a:pt x="358791" y="644545"/>
                    </a:moveTo>
                    <a:lnTo>
                      <a:pt x="1006774" y="644545"/>
                    </a:lnTo>
                    <a:cubicBezTo>
                      <a:pt x="1218838" y="701686"/>
                      <a:pt x="1428136" y="1033850"/>
                      <a:pt x="1542636" y="1193969"/>
                    </a:cubicBezTo>
                    <a:lnTo>
                      <a:pt x="1929878" y="1193970"/>
                    </a:lnTo>
                    <a:cubicBezTo>
                      <a:pt x="2007298" y="1193970"/>
                      <a:pt x="2070059" y="1256732"/>
                      <a:pt x="2070059" y="1334152"/>
                    </a:cubicBezTo>
                    <a:cubicBezTo>
                      <a:pt x="2070059" y="1411572"/>
                      <a:pt x="2021397" y="1451628"/>
                      <a:pt x="1929878" y="1474333"/>
                    </a:cubicBezTo>
                    <a:lnTo>
                      <a:pt x="1520943" y="1470388"/>
                    </a:lnTo>
                    <a:cubicBezTo>
                      <a:pt x="1397118" y="1474356"/>
                      <a:pt x="1368544" y="1410856"/>
                      <a:pt x="1332825" y="1367201"/>
                    </a:cubicBezTo>
                    <a:lnTo>
                      <a:pt x="1106501" y="1098289"/>
                    </a:lnTo>
                    <a:cubicBezTo>
                      <a:pt x="1106501" y="1095278"/>
                      <a:pt x="1104059" y="1092836"/>
                      <a:pt x="1101049" y="1092836"/>
                    </a:cubicBezTo>
                    <a:lnTo>
                      <a:pt x="1046523" y="1092836"/>
                    </a:lnTo>
                    <a:cubicBezTo>
                      <a:pt x="1043511" y="1092836"/>
                      <a:pt x="1041071" y="1095278"/>
                      <a:pt x="1041071" y="1098289"/>
                    </a:cubicBezTo>
                    <a:lnTo>
                      <a:pt x="1042136" y="1419754"/>
                    </a:lnTo>
                    <a:lnTo>
                      <a:pt x="1042136" y="3337652"/>
                    </a:lnTo>
                    <a:cubicBezTo>
                      <a:pt x="1042136" y="3426604"/>
                      <a:pt x="970027" y="3498714"/>
                      <a:pt x="881075" y="3498714"/>
                    </a:cubicBezTo>
                    <a:cubicBezTo>
                      <a:pt x="792123" y="3498714"/>
                      <a:pt x="720012" y="3426604"/>
                      <a:pt x="720012" y="3337652"/>
                    </a:cubicBezTo>
                    <a:lnTo>
                      <a:pt x="720012" y="2125717"/>
                    </a:lnTo>
                    <a:lnTo>
                      <a:pt x="718947" y="2033194"/>
                    </a:lnTo>
                    <a:cubicBezTo>
                      <a:pt x="718947" y="2030552"/>
                      <a:pt x="716805" y="2028410"/>
                      <a:pt x="714162" y="2028410"/>
                    </a:cubicBezTo>
                    <a:lnTo>
                      <a:pt x="654759" y="2028410"/>
                    </a:lnTo>
                    <a:cubicBezTo>
                      <a:pt x="652116" y="2028410"/>
                      <a:pt x="649974" y="2030552"/>
                      <a:pt x="649974" y="2033194"/>
                    </a:cubicBezTo>
                    <a:lnTo>
                      <a:pt x="649974" y="2125717"/>
                    </a:lnTo>
                    <a:cubicBezTo>
                      <a:pt x="649841" y="2529695"/>
                      <a:pt x="649707" y="2933674"/>
                      <a:pt x="649574" y="3337652"/>
                    </a:cubicBezTo>
                    <a:cubicBezTo>
                      <a:pt x="649574" y="3426604"/>
                      <a:pt x="577464" y="3498714"/>
                      <a:pt x="488511" y="3498714"/>
                    </a:cubicBezTo>
                    <a:cubicBezTo>
                      <a:pt x="399560" y="3498714"/>
                      <a:pt x="327450" y="3426604"/>
                      <a:pt x="327450" y="3337652"/>
                    </a:cubicBezTo>
                    <a:lnTo>
                      <a:pt x="327450" y="1458216"/>
                    </a:lnTo>
                    <a:cubicBezTo>
                      <a:pt x="325775" y="1338213"/>
                      <a:pt x="324101" y="1218209"/>
                      <a:pt x="322427" y="1098205"/>
                    </a:cubicBezTo>
                    <a:cubicBezTo>
                      <a:pt x="322427" y="1095240"/>
                      <a:pt x="320022" y="1092836"/>
                      <a:pt x="317058" y="1092836"/>
                    </a:cubicBezTo>
                    <a:lnTo>
                      <a:pt x="263371" y="1092836"/>
                    </a:lnTo>
                    <a:cubicBezTo>
                      <a:pt x="260405" y="1092836"/>
                      <a:pt x="258001" y="1095240"/>
                      <a:pt x="258001" y="1098205"/>
                    </a:cubicBezTo>
                    <a:lnTo>
                      <a:pt x="258001" y="1444446"/>
                    </a:lnTo>
                    <a:cubicBezTo>
                      <a:pt x="257895" y="1444438"/>
                      <a:pt x="257798" y="1444405"/>
                      <a:pt x="257700" y="1444370"/>
                    </a:cubicBezTo>
                    <a:lnTo>
                      <a:pt x="257700" y="1912573"/>
                    </a:lnTo>
                    <a:cubicBezTo>
                      <a:pt x="257700" y="1983734"/>
                      <a:pt x="200011" y="2041423"/>
                      <a:pt x="128850" y="2041423"/>
                    </a:cubicBezTo>
                    <a:cubicBezTo>
                      <a:pt x="57687" y="2041423"/>
                      <a:pt x="0" y="1983734"/>
                      <a:pt x="0" y="1912573"/>
                    </a:cubicBezTo>
                    <a:lnTo>
                      <a:pt x="0" y="1101802"/>
                    </a:lnTo>
                    <a:lnTo>
                      <a:pt x="0" y="1003338"/>
                    </a:lnTo>
                    <a:lnTo>
                      <a:pt x="0" y="982486"/>
                    </a:lnTo>
                    <a:cubicBezTo>
                      <a:pt x="0" y="952006"/>
                      <a:pt x="3965" y="922453"/>
                      <a:pt x="12733" y="894663"/>
                    </a:cubicBezTo>
                    <a:cubicBezTo>
                      <a:pt x="15126" y="886107"/>
                      <a:pt x="14856" y="875418"/>
                      <a:pt x="20539" y="868773"/>
                    </a:cubicBezTo>
                    <a:cubicBezTo>
                      <a:pt x="72281" y="735385"/>
                      <a:pt x="207053" y="644545"/>
                      <a:pt x="358791" y="644545"/>
                    </a:cubicBezTo>
                    <a:close/>
                    <a:moveTo>
                      <a:pt x="682782" y="0"/>
                    </a:moveTo>
                    <a:cubicBezTo>
                      <a:pt x="730138" y="47356"/>
                      <a:pt x="917322" y="-43301"/>
                      <a:pt x="966919" y="284138"/>
                    </a:cubicBezTo>
                    <a:cubicBezTo>
                      <a:pt x="1016516" y="611577"/>
                      <a:pt x="839708" y="568275"/>
                      <a:pt x="682782" y="568275"/>
                    </a:cubicBezTo>
                    <a:cubicBezTo>
                      <a:pt x="525858" y="568275"/>
                      <a:pt x="398645" y="441063"/>
                      <a:pt x="398645" y="284138"/>
                    </a:cubicBezTo>
                    <a:cubicBezTo>
                      <a:pt x="398645" y="127213"/>
                      <a:pt x="525858" y="0"/>
                      <a:pt x="682782" y="0"/>
                    </a:cubicBezTo>
                    <a:lnTo>
                      <a:pt x="682782" y="0"/>
                    </a:lnTo>
                    <a:close/>
                  </a:path>
                </a:pathLst>
              </a:custGeom>
              <a:solidFill>
                <a:srgbClr val="577AA9"/>
              </a:solidFill>
              <a:ln w="19050">
                <a:noFill/>
                <a:tailEnd type="triangl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68552" tIns="68552" rIns="68552" bIns="68552"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r" defTabSz="672263">
                  <a:defRPr/>
                </a:pPr>
                <a:endParaRPr lang="en-US" sz="900" err="1">
                  <a:solidFill>
                    <a:prstClr val="white"/>
                  </a:solidFill>
                  <a:latin typeface="Segoe UI Semilight"/>
                </a:endParaRPr>
              </a:p>
            </p:txBody>
          </p:sp>
        </p:grpSp>
        <p:pic>
          <p:nvPicPr>
            <p:cNvPr id="191" name="Picture 33" descr="C:\Users\sakuu\Documents\Ballmer WPC\AI\Home.png">
              <a:extLst>
                <a:ext uri="{FF2B5EF4-FFF2-40B4-BE49-F238E27FC236}">
                  <a16:creationId xmlns:a16="http://schemas.microsoft.com/office/drawing/2014/main" id="{0676EB74-C469-418A-9A28-360C3D60CE4E}"/>
                </a:ext>
              </a:extLst>
            </p:cNvPr>
            <p:cNvPicPr>
              <a:picLocks noChangeAspect="1" noChangeArrowheads="1"/>
            </p:cNvPicPr>
            <p:nvPr/>
          </p:nvPicPr>
          <p:blipFill>
            <a:blip r:embed="rId17" cstate="print">
              <a:extLst>
                <a:ext uri="{BEBA8EAE-BF5A-486C-A8C5-ECC9F3942E4B}">
                  <a14:imgProps xmlns:a14="http://schemas.microsoft.com/office/drawing/2010/main">
                    <a14:imgLayer r:embed="rId18">
                      <a14:imgEffect>
                        <a14:brightnessContrast bright="-40000" contrast="40000"/>
                      </a14:imgEffect>
                    </a14:imgLayer>
                  </a14:imgProps>
                </a:ext>
                <a:ext uri="{28A0092B-C50C-407E-A947-70E740481C1C}">
                  <a14:useLocalDpi xmlns:a14="http://schemas.microsoft.com/office/drawing/2010/main"/>
                </a:ext>
              </a:extLst>
            </a:blip>
            <a:srcRect/>
            <a:stretch>
              <a:fillRect/>
            </a:stretch>
          </p:blipFill>
          <p:spPr bwMode="black">
            <a:xfrm>
              <a:off x="6665784" y="2034523"/>
              <a:ext cx="344298" cy="294263"/>
            </a:xfrm>
            <a:prstGeom prst="rect">
              <a:avLst/>
            </a:prstGeom>
            <a:noFill/>
          </p:spPr>
        </p:pic>
        <p:sp>
          <p:nvSpPr>
            <p:cNvPr id="192" name="Freeform 5">
              <a:extLst>
                <a:ext uri="{FF2B5EF4-FFF2-40B4-BE49-F238E27FC236}">
                  <a16:creationId xmlns:a16="http://schemas.microsoft.com/office/drawing/2014/main" id="{D89BADD3-D864-4D02-8EE3-4D85F59891F9}"/>
                </a:ext>
              </a:extLst>
            </p:cNvPr>
            <p:cNvSpPr>
              <a:spLocks noChangeAspect="1"/>
            </p:cNvSpPr>
            <p:nvPr/>
          </p:nvSpPr>
          <p:spPr bwMode="auto">
            <a:xfrm flipH="1">
              <a:off x="5052739" y="2474755"/>
              <a:ext cx="411480" cy="267727"/>
            </a:xfrm>
            <a:custGeom>
              <a:avLst/>
              <a:gdLst/>
              <a:ahLst/>
              <a:cxnLst/>
              <a:rect l="l" t="t" r="r" b="b"/>
              <a:pathLst>
                <a:path w="6776429" h="4409039">
                  <a:moveTo>
                    <a:pt x="5567597" y="4312767"/>
                  </a:moveTo>
                  <a:lnTo>
                    <a:pt x="3745936" y="4312767"/>
                  </a:lnTo>
                  <a:lnTo>
                    <a:pt x="3745936" y="4409039"/>
                  </a:lnTo>
                  <a:lnTo>
                    <a:pt x="5567597" y="4409039"/>
                  </a:lnTo>
                  <a:close/>
                  <a:moveTo>
                    <a:pt x="2248864" y="4188766"/>
                  </a:moveTo>
                  <a:lnTo>
                    <a:pt x="7064" y="4250296"/>
                  </a:lnTo>
                  <a:lnTo>
                    <a:pt x="7064" y="4323099"/>
                  </a:lnTo>
                  <a:lnTo>
                    <a:pt x="7064" y="4409039"/>
                  </a:lnTo>
                  <a:lnTo>
                    <a:pt x="2248864" y="4409039"/>
                  </a:lnTo>
                  <a:close/>
                  <a:moveTo>
                    <a:pt x="5567597" y="4005612"/>
                  </a:moveTo>
                  <a:lnTo>
                    <a:pt x="3745936" y="4005612"/>
                  </a:lnTo>
                  <a:lnTo>
                    <a:pt x="3745936" y="4234831"/>
                  </a:lnTo>
                  <a:lnTo>
                    <a:pt x="5567597" y="4234831"/>
                  </a:lnTo>
                  <a:close/>
                  <a:moveTo>
                    <a:pt x="5567597" y="3826820"/>
                  </a:moveTo>
                  <a:lnTo>
                    <a:pt x="3745936" y="3826820"/>
                  </a:lnTo>
                  <a:lnTo>
                    <a:pt x="3745936" y="3927677"/>
                  </a:lnTo>
                  <a:lnTo>
                    <a:pt x="5567597" y="3927677"/>
                  </a:lnTo>
                  <a:close/>
                  <a:moveTo>
                    <a:pt x="2248864" y="3467092"/>
                  </a:moveTo>
                  <a:lnTo>
                    <a:pt x="7064" y="3496562"/>
                  </a:lnTo>
                  <a:lnTo>
                    <a:pt x="7064" y="3648517"/>
                  </a:lnTo>
                  <a:lnTo>
                    <a:pt x="7064" y="4072338"/>
                  </a:lnTo>
                  <a:lnTo>
                    <a:pt x="7064" y="4171229"/>
                  </a:lnTo>
                  <a:lnTo>
                    <a:pt x="7064" y="4198354"/>
                  </a:lnTo>
                  <a:lnTo>
                    <a:pt x="7064" y="4204261"/>
                  </a:lnTo>
                  <a:lnTo>
                    <a:pt x="2248864" y="4175922"/>
                  </a:lnTo>
                  <a:lnTo>
                    <a:pt x="2248864" y="4005612"/>
                  </a:lnTo>
                  <a:lnTo>
                    <a:pt x="1363292" y="4005612"/>
                  </a:lnTo>
                  <a:lnTo>
                    <a:pt x="1363292" y="3927677"/>
                  </a:lnTo>
                  <a:lnTo>
                    <a:pt x="2248864" y="3927677"/>
                  </a:lnTo>
                  <a:lnTo>
                    <a:pt x="2248864" y="3826820"/>
                  </a:lnTo>
                  <a:lnTo>
                    <a:pt x="395566" y="3826820"/>
                  </a:lnTo>
                  <a:lnTo>
                    <a:pt x="395566" y="3746593"/>
                  </a:lnTo>
                  <a:lnTo>
                    <a:pt x="2248864" y="3746593"/>
                  </a:lnTo>
                  <a:close/>
                  <a:moveTo>
                    <a:pt x="2248864" y="3327119"/>
                  </a:moveTo>
                  <a:lnTo>
                    <a:pt x="7064" y="3327119"/>
                  </a:lnTo>
                  <a:lnTo>
                    <a:pt x="7064" y="3397756"/>
                  </a:lnTo>
                  <a:lnTo>
                    <a:pt x="7064" y="3455443"/>
                  </a:lnTo>
                  <a:lnTo>
                    <a:pt x="7064" y="3464505"/>
                  </a:lnTo>
                  <a:lnTo>
                    <a:pt x="2248864" y="3450933"/>
                  </a:lnTo>
                  <a:close/>
                  <a:moveTo>
                    <a:pt x="3678126" y="3327119"/>
                  </a:moveTo>
                  <a:lnTo>
                    <a:pt x="3676646" y="3327119"/>
                  </a:lnTo>
                  <a:lnTo>
                    <a:pt x="2316674" y="3327119"/>
                  </a:lnTo>
                  <a:lnTo>
                    <a:pt x="2316674" y="3450522"/>
                  </a:lnTo>
                  <a:lnTo>
                    <a:pt x="2316674" y="3466201"/>
                  </a:lnTo>
                  <a:lnTo>
                    <a:pt x="2316674" y="3746593"/>
                  </a:lnTo>
                  <a:lnTo>
                    <a:pt x="2316674" y="3826820"/>
                  </a:lnTo>
                  <a:lnTo>
                    <a:pt x="2316674" y="3927677"/>
                  </a:lnTo>
                  <a:lnTo>
                    <a:pt x="2316674" y="4005612"/>
                  </a:lnTo>
                  <a:lnTo>
                    <a:pt x="2316674" y="4175065"/>
                  </a:lnTo>
                  <a:lnTo>
                    <a:pt x="2316674" y="4186905"/>
                  </a:lnTo>
                  <a:lnTo>
                    <a:pt x="2316674" y="4409039"/>
                  </a:lnTo>
                  <a:lnTo>
                    <a:pt x="3676646" y="4409039"/>
                  </a:lnTo>
                  <a:lnTo>
                    <a:pt x="3678126" y="4409039"/>
                  </a:lnTo>
                  <a:lnTo>
                    <a:pt x="3678126" y="4312767"/>
                  </a:lnTo>
                  <a:lnTo>
                    <a:pt x="3676646" y="4312767"/>
                  </a:lnTo>
                  <a:lnTo>
                    <a:pt x="3676646" y="4234831"/>
                  </a:lnTo>
                  <a:lnTo>
                    <a:pt x="3678126" y="4234831"/>
                  </a:lnTo>
                  <a:lnTo>
                    <a:pt x="3678126" y="4005612"/>
                  </a:lnTo>
                  <a:lnTo>
                    <a:pt x="3676646" y="4005612"/>
                  </a:lnTo>
                  <a:lnTo>
                    <a:pt x="3676646" y="3927677"/>
                  </a:lnTo>
                  <a:lnTo>
                    <a:pt x="3678126" y="3927677"/>
                  </a:lnTo>
                  <a:lnTo>
                    <a:pt x="3678126" y="3826820"/>
                  </a:lnTo>
                  <a:lnTo>
                    <a:pt x="3676646" y="3826820"/>
                  </a:lnTo>
                  <a:lnTo>
                    <a:pt x="3676646" y="3746593"/>
                  </a:lnTo>
                  <a:lnTo>
                    <a:pt x="3678126" y="3746593"/>
                  </a:lnTo>
                  <a:lnTo>
                    <a:pt x="3678126" y="3448305"/>
                  </a:lnTo>
                  <a:lnTo>
                    <a:pt x="3676646" y="3448324"/>
                  </a:lnTo>
                  <a:lnTo>
                    <a:pt x="3676646" y="3442289"/>
                  </a:lnTo>
                  <a:lnTo>
                    <a:pt x="3678126" y="3442280"/>
                  </a:lnTo>
                  <a:close/>
                  <a:moveTo>
                    <a:pt x="5567597" y="3327119"/>
                  </a:moveTo>
                  <a:lnTo>
                    <a:pt x="3745936" y="3327119"/>
                  </a:lnTo>
                  <a:lnTo>
                    <a:pt x="3745936" y="3441869"/>
                  </a:lnTo>
                  <a:lnTo>
                    <a:pt x="4527642" y="3437136"/>
                  </a:lnTo>
                  <a:lnTo>
                    <a:pt x="4567848" y="3436607"/>
                  </a:lnTo>
                  <a:lnTo>
                    <a:pt x="4614939" y="3436607"/>
                  </a:lnTo>
                  <a:lnTo>
                    <a:pt x="4527642" y="3437136"/>
                  </a:lnTo>
                  <a:lnTo>
                    <a:pt x="3745936" y="3447413"/>
                  </a:lnTo>
                  <a:lnTo>
                    <a:pt x="3745936" y="3746593"/>
                  </a:lnTo>
                  <a:lnTo>
                    <a:pt x="5567597" y="3746593"/>
                  </a:lnTo>
                  <a:close/>
                  <a:moveTo>
                    <a:pt x="233976" y="3083410"/>
                  </a:moveTo>
                  <a:lnTo>
                    <a:pt x="0" y="3296552"/>
                  </a:lnTo>
                  <a:lnTo>
                    <a:pt x="1040822" y="3288261"/>
                  </a:lnTo>
                  <a:cubicBezTo>
                    <a:pt x="651034" y="3226258"/>
                    <a:pt x="628344" y="3243118"/>
                    <a:pt x="233976" y="3083410"/>
                  </a:cubicBezTo>
                  <a:close/>
                  <a:moveTo>
                    <a:pt x="6776429" y="2826778"/>
                  </a:moveTo>
                  <a:lnTo>
                    <a:pt x="5635408" y="3963226"/>
                  </a:lnTo>
                  <a:lnTo>
                    <a:pt x="5635408" y="4196285"/>
                  </a:lnTo>
                  <a:lnTo>
                    <a:pt x="6482110" y="3349488"/>
                  </a:lnTo>
                  <a:lnTo>
                    <a:pt x="6482110" y="3434149"/>
                  </a:lnTo>
                  <a:lnTo>
                    <a:pt x="5635408" y="4276423"/>
                  </a:lnTo>
                  <a:lnTo>
                    <a:pt x="5635408" y="4373588"/>
                  </a:lnTo>
                  <a:lnTo>
                    <a:pt x="6776429" y="3234056"/>
                  </a:lnTo>
                  <a:close/>
                  <a:moveTo>
                    <a:pt x="1738028" y="2499490"/>
                  </a:moveTo>
                  <a:lnTo>
                    <a:pt x="1755660" y="2501846"/>
                  </a:lnTo>
                  <a:lnTo>
                    <a:pt x="1770940" y="2501846"/>
                  </a:lnTo>
                  <a:lnTo>
                    <a:pt x="1789746" y="2501846"/>
                  </a:lnTo>
                  <a:lnTo>
                    <a:pt x="1805028" y="2504200"/>
                  </a:lnTo>
                  <a:lnTo>
                    <a:pt x="1822658" y="2507731"/>
                  </a:lnTo>
                  <a:lnTo>
                    <a:pt x="1836764" y="2507731"/>
                  </a:lnTo>
                  <a:lnTo>
                    <a:pt x="1849694" y="2510086"/>
                  </a:lnTo>
                  <a:lnTo>
                    <a:pt x="1862622" y="2512440"/>
                  </a:lnTo>
                  <a:lnTo>
                    <a:pt x="1876728" y="2519505"/>
                  </a:lnTo>
                  <a:lnTo>
                    <a:pt x="1896710" y="2526568"/>
                  </a:lnTo>
                  <a:lnTo>
                    <a:pt x="1919042" y="2537163"/>
                  </a:lnTo>
                  <a:lnTo>
                    <a:pt x="1931974" y="2546582"/>
                  </a:lnTo>
                  <a:lnTo>
                    <a:pt x="1946078" y="2559531"/>
                  </a:lnTo>
                  <a:lnTo>
                    <a:pt x="1954306" y="2573659"/>
                  </a:lnTo>
                  <a:lnTo>
                    <a:pt x="1963710" y="2588964"/>
                  </a:lnTo>
                  <a:lnTo>
                    <a:pt x="1966060" y="2601913"/>
                  </a:lnTo>
                  <a:lnTo>
                    <a:pt x="1966060" y="2619574"/>
                  </a:lnTo>
                  <a:lnTo>
                    <a:pt x="1961358" y="2636055"/>
                  </a:lnTo>
                  <a:lnTo>
                    <a:pt x="1954306" y="2653714"/>
                  </a:lnTo>
                  <a:lnTo>
                    <a:pt x="1943728" y="2671374"/>
                  </a:lnTo>
                  <a:lnTo>
                    <a:pt x="1929622" y="2689033"/>
                  </a:lnTo>
                  <a:lnTo>
                    <a:pt x="1921394" y="2698451"/>
                  </a:lnTo>
                  <a:lnTo>
                    <a:pt x="1911990" y="2707869"/>
                  </a:lnTo>
                  <a:lnTo>
                    <a:pt x="1901412" y="2716110"/>
                  </a:lnTo>
                  <a:lnTo>
                    <a:pt x="1892008" y="2727882"/>
                  </a:lnTo>
                  <a:lnTo>
                    <a:pt x="1879078" y="2733769"/>
                  </a:lnTo>
                  <a:lnTo>
                    <a:pt x="1864974" y="2743187"/>
                  </a:lnTo>
                  <a:lnTo>
                    <a:pt x="1852044" y="2752605"/>
                  </a:lnTo>
                  <a:lnTo>
                    <a:pt x="1837940" y="2760846"/>
                  </a:lnTo>
                  <a:lnTo>
                    <a:pt x="1822658" y="2767910"/>
                  </a:lnTo>
                  <a:lnTo>
                    <a:pt x="1807378" y="2776151"/>
                  </a:lnTo>
                  <a:lnTo>
                    <a:pt x="1792096" y="2783215"/>
                  </a:lnTo>
                  <a:lnTo>
                    <a:pt x="1777992" y="2792634"/>
                  </a:lnTo>
                  <a:lnTo>
                    <a:pt x="1760360" y="2797343"/>
                  </a:lnTo>
                  <a:lnTo>
                    <a:pt x="1745080" y="2803228"/>
                  </a:lnTo>
                  <a:lnTo>
                    <a:pt x="1726272" y="2810292"/>
                  </a:lnTo>
                  <a:lnTo>
                    <a:pt x="1710992" y="2817355"/>
                  </a:lnTo>
                  <a:lnTo>
                    <a:pt x="1693360" y="2820888"/>
                  </a:lnTo>
                  <a:lnTo>
                    <a:pt x="1678082" y="2827951"/>
                  </a:lnTo>
                  <a:lnTo>
                    <a:pt x="1659274" y="2832660"/>
                  </a:lnTo>
                  <a:lnTo>
                    <a:pt x="1643992" y="2839725"/>
                  </a:lnTo>
                  <a:lnTo>
                    <a:pt x="1624012" y="2842079"/>
                  </a:lnTo>
                  <a:lnTo>
                    <a:pt x="1606380" y="2845610"/>
                  </a:lnTo>
                  <a:lnTo>
                    <a:pt x="1588748" y="2847965"/>
                  </a:lnTo>
                  <a:lnTo>
                    <a:pt x="1572292" y="2852675"/>
                  </a:lnTo>
                  <a:lnTo>
                    <a:pt x="1552310" y="2855028"/>
                  </a:lnTo>
                  <a:lnTo>
                    <a:pt x="1534678" y="2857384"/>
                  </a:lnTo>
                  <a:lnTo>
                    <a:pt x="1517046" y="2859738"/>
                  </a:lnTo>
                  <a:lnTo>
                    <a:pt x="1500590" y="2864447"/>
                  </a:lnTo>
                  <a:lnTo>
                    <a:pt x="1480608" y="2864447"/>
                  </a:lnTo>
                  <a:lnTo>
                    <a:pt x="1465328" y="2864447"/>
                  </a:lnTo>
                  <a:lnTo>
                    <a:pt x="1447696" y="2864447"/>
                  </a:lnTo>
                  <a:lnTo>
                    <a:pt x="1432416" y="2864447"/>
                  </a:lnTo>
                  <a:lnTo>
                    <a:pt x="1413610" y="2862093"/>
                  </a:lnTo>
                  <a:lnTo>
                    <a:pt x="1398328" y="2862093"/>
                  </a:lnTo>
                  <a:lnTo>
                    <a:pt x="1383048" y="2862093"/>
                  </a:lnTo>
                  <a:lnTo>
                    <a:pt x="1368944" y="2862093"/>
                  </a:lnTo>
                  <a:lnTo>
                    <a:pt x="1351312" y="2857384"/>
                  </a:lnTo>
                  <a:lnTo>
                    <a:pt x="1338382" y="2855028"/>
                  </a:lnTo>
                  <a:lnTo>
                    <a:pt x="1324276" y="2850319"/>
                  </a:lnTo>
                  <a:lnTo>
                    <a:pt x="1311346" y="2847965"/>
                  </a:lnTo>
                  <a:lnTo>
                    <a:pt x="1286664" y="2837370"/>
                  </a:lnTo>
                  <a:lnTo>
                    <a:pt x="1269032" y="2827951"/>
                  </a:lnTo>
                  <a:lnTo>
                    <a:pt x="1251400" y="2815002"/>
                  </a:lnTo>
                  <a:lnTo>
                    <a:pt x="1239646" y="2803228"/>
                  </a:lnTo>
                  <a:lnTo>
                    <a:pt x="1229066" y="2790278"/>
                  </a:lnTo>
                  <a:lnTo>
                    <a:pt x="1224364" y="2776151"/>
                  </a:lnTo>
                  <a:lnTo>
                    <a:pt x="1219664" y="2758492"/>
                  </a:lnTo>
                  <a:lnTo>
                    <a:pt x="1219664" y="2743187"/>
                  </a:lnTo>
                  <a:lnTo>
                    <a:pt x="1222014" y="2727882"/>
                  </a:lnTo>
                  <a:lnTo>
                    <a:pt x="1230242" y="2711401"/>
                  </a:lnTo>
                  <a:lnTo>
                    <a:pt x="1241996" y="2693742"/>
                  </a:lnTo>
                  <a:lnTo>
                    <a:pt x="1257276" y="2676083"/>
                  </a:lnTo>
                  <a:lnTo>
                    <a:pt x="1264330" y="2664310"/>
                  </a:lnTo>
                  <a:lnTo>
                    <a:pt x="1274908" y="2658423"/>
                  </a:lnTo>
                  <a:lnTo>
                    <a:pt x="1284312" y="2646651"/>
                  </a:lnTo>
                  <a:lnTo>
                    <a:pt x="1297242" y="2640764"/>
                  </a:lnTo>
                  <a:lnTo>
                    <a:pt x="1308996" y="2628992"/>
                  </a:lnTo>
                  <a:lnTo>
                    <a:pt x="1319576" y="2619574"/>
                  </a:lnTo>
                  <a:lnTo>
                    <a:pt x="1333680" y="2611332"/>
                  </a:lnTo>
                  <a:lnTo>
                    <a:pt x="1348960" y="2604269"/>
                  </a:lnTo>
                  <a:lnTo>
                    <a:pt x="1363066" y="2596028"/>
                  </a:lnTo>
                  <a:lnTo>
                    <a:pt x="1375996" y="2586610"/>
                  </a:lnTo>
                  <a:lnTo>
                    <a:pt x="1391276" y="2579546"/>
                  </a:lnTo>
                  <a:lnTo>
                    <a:pt x="1407732" y="2573659"/>
                  </a:lnTo>
                  <a:lnTo>
                    <a:pt x="1420662" y="2566596"/>
                  </a:lnTo>
                  <a:lnTo>
                    <a:pt x="1438292" y="2559531"/>
                  </a:lnTo>
                  <a:lnTo>
                    <a:pt x="1454748" y="2552468"/>
                  </a:lnTo>
                  <a:lnTo>
                    <a:pt x="1472380" y="2546582"/>
                  </a:lnTo>
                  <a:lnTo>
                    <a:pt x="1487660" y="2539519"/>
                  </a:lnTo>
                  <a:lnTo>
                    <a:pt x="1507644" y="2534810"/>
                  </a:lnTo>
                  <a:lnTo>
                    <a:pt x="1522924" y="2530101"/>
                  </a:lnTo>
                  <a:lnTo>
                    <a:pt x="1544080" y="2528923"/>
                  </a:lnTo>
                  <a:lnTo>
                    <a:pt x="1559362" y="2521858"/>
                  </a:lnTo>
                  <a:lnTo>
                    <a:pt x="1576992" y="2517149"/>
                  </a:lnTo>
                  <a:lnTo>
                    <a:pt x="1594624" y="2512440"/>
                  </a:lnTo>
                  <a:lnTo>
                    <a:pt x="1614608" y="2510086"/>
                  </a:lnTo>
                  <a:lnTo>
                    <a:pt x="1631064" y="2506555"/>
                  </a:lnTo>
                  <a:lnTo>
                    <a:pt x="1648694" y="2504200"/>
                  </a:lnTo>
                  <a:lnTo>
                    <a:pt x="1666326" y="2504200"/>
                  </a:lnTo>
                  <a:lnTo>
                    <a:pt x="1686308" y="2504200"/>
                  </a:lnTo>
                  <a:lnTo>
                    <a:pt x="1702764" y="2501846"/>
                  </a:lnTo>
                  <a:lnTo>
                    <a:pt x="1720396" y="2499490"/>
                  </a:lnTo>
                  <a:close/>
                  <a:moveTo>
                    <a:pt x="5716446" y="2435917"/>
                  </a:moveTo>
                  <a:lnTo>
                    <a:pt x="4527382" y="2435917"/>
                  </a:lnTo>
                  <a:lnTo>
                    <a:pt x="3977045" y="3057829"/>
                  </a:lnTo>
                  <a:lnTo>
                    <a:pt x="3979018" y="3056988"/>
                  </a:lnTo>
                  <a:lnTo>
                    <a:pt x="3996666" y="3049964"/>
                  </a:lnTo>
                  <a:lnTo>
                    <a:pt x="4011962" y="3041768"/>
                  </a:lnTo>
                  <a:lnTo>
                    <a:pt x="4030787" y="3034743"/>
                  </a:lnTo>
                  <a:lnTo>
                    <a:pt x="4046083" y="3027719"/>
                  </a:lnTo>
                  <a:lnTo>
                    <a:pt x="4063732" y="3021865"/>
                  </a:lnTo>
                  <a:lnTo>
                    <a:pt x="4079028" y="3012498"/>
                  </a:lnTo>
                  <a:lnTo>
                    <a:pt x="4095500" y="3005474"/>
                  </a:lnTo>
                  <a:lnTo>
                    <a:pt x="4110796" y="2997279"/>
                  </a:lnTo>
                  <a:lnTo>
                    <a:pt x="4128445" y="2990254"/>
                  </a:lnTo>
                  <a:lnTo>
                    <a:pt x="4142565" y="2980887"/>
                  </a:lnTo>
                  <a:lnTo>
                    <a:pt x="4160213" y="2975035"/>
                  </a:lnTo>
                  <a:lnTo>
                    <a:pt x="4173156" y="2968009"/>
                  </a:lnTo>
                  <a:lnTo>
                    <a:pt x="4190806" y="2960984"/>
                  </a:lnTo>
                  <a:lnTo>
                    <a:pt x="5628712" y="2960984"/>
                  </a:lnTo>
                  <a:lnTo>
                    <a:pt x="6084380" y="2508115"/>
                  </a:lnTo>
                  <a:lnTo>
                    <a:pt x="6071820" y="2508858"/>
                  </a:lnTo>
                  <a:lnTo>
                    <a:pt x="6056540" y="2511221"/>
                  </a:lnTo>
                  <a:lnTo>
                    <a:pt x="6036559" y="2513584"/>
                  </a:lnTo>
                  <a:lnTo>
                    <a:pt x="6020104" y="2518309"/>
                  </a:lnTo>
                  <a:lnTo>
                    <a:pt x="6002474" y="2518309"/>
                  </a:lnTo>
                  <a:lnTo>
                    <a:pt x="5987194" y="2520672"/>
                  </a:lnTo>
                  <a:lnTo>
                    <a:pt x="5969565" y="2520672"/>
                  </a:lnTo>
                  <a:lnTo>
                    <a:pt x="5953109" y="2523035"/>
                  </a:lnTo>
                  <a:lnTo>
                    <a:pt x="5933129" y="2520672"/>
                  </a:lnTo>
                  <a:lnTo>
                    <a:pt x="5917850" y="2520672"/>
                  </a:lnTo>
                  <a:lnTo>
                    <a:pt x="5900218" y="2518309"/>
                  </a:lnTo>
                  <a:lnTo>
                    <a:pt x="5886115" y="2518309"/>
                  </a:lnTo>
                  <a:lnTo>
                    <a:pt x="5870835" y="2513584"/>
                  </a:lnTo>
                  <a:lnTo>
                    <a:pt x="5855556" y="2511221"/>
                  </a:lnTo>
                  <a:lnTo>
                    <a:pt x="5841452" y="2508858"/>
                  </a:lnTo>
                  <a:lnTo>
                    <a:pt x="5830874" y="2507676"/>
                  </a:lnTo>
                  <a:lnTo>
                    <a:pt x="5816770" y="2502951"/>
                  </a:lnTo>
                  <a:lnTo>
                    <a:pt x="5803841" y="2498225"/>
                  </a:lnTo>
                  <a:lnTo>
                    <a:pt x="5793263" y="2493500"/>
                  </a:lnTo>
                  <a:lnTo>
                    <a:pt x="5781508" y="2491137"/>
                  </a:lnTo>
                  <a:lnTo>
                    <a:pt x="5761528" y="2482867"/>
                  </a:lnTo>
                  <a:lnTo>
                    <a:pt x="5748600" y="2473416"/>
                  </a:lnTo>
                  <a:lnTo>
                    <a:pt x="5732144" y="2460420"/>
                  </a:lnTo>
                  <a:lnTo>
                    <a:pt x="5723916" y="2446244"/>
                  </a:lnTo>
                  <a:close/>
                  <a:moveTo>
                    <a:pt x="3044326" y="2428965"/>
                  </a:moveTo>
                  <a:lnTo>
                    <a:pt x="3043462" y="2429229"/>
                  </a:lnTo>
                  <a:lnTo>
                    <a:pt x="3020896" y="2435645"/>
                  </a:lnTo>
                  <a:lnTo>
                    <a:pt x="3000368" y="2442784"/>
                  </a:lnTo>
                  <a:lnTo>
                    <a:pt x="2979892" y="2450765"/>
                  </a:lnTo>
                  <a:lnTo>
                    <a:pt x="2961352" y="2457785"/>
                  </a:lnTo>
                  <a:lnTo>
                    <a:pt x="2939780" y="2464142"/>
                  </a:lnTo>
                  <a:lnTo>
                    <a:pt x="2919302" y="2472121"/>
                  </a:lnTo>
                  <a:lnTo>
                    <a:pt x="2898774" y="2479261"/>
                  </a:lnTo>
                  <a:lnTo>
                    <a:pt x="2880286" y="2487122"/>
                  </a:lnTo>
                  <a:lnTo>
                    <a:pt x="2859758" y="2494261"/>
                  </a:lnTo>
                  <a:lnTo>
                    <a:pt x="2841372" y="2503805"/>
                  </a:lnTo>
                  <a:lnTo>
                    <a:pt x="2820892" y="2511786"/>
                  </a:lnTo>
                  <a:lnTo>
                    <a:pt x="2804544" y="2522053"/>
                  </a:lnTo>
                  <a:lnTo>
                    <a:pt x="2784066" y="2530034"/>
                  </a:lnTo>
                  <a:lnTo>
                    <a:pt x="2765628" y="2538737"/>
                  </a:lnTo>
                  <a:lnTo>
                    <a:pt x="2745150" y="2546717"/>
                  </a:lnTo>
                  <a:lnTo>
                    <a:pt x="2728700" y="2555301"/>
                  </a:lnTo>
                  <a:lnTo>
                    <a:pt x="2710314" y="2564846"/>
                  </a:lnTo>
                  <a:lnTo>
                    <a:pt x="2695852" y="2573310"/>
                  </a:lnTo>
                  <a:lnTo>
                    <a:pt x="2679452" y="2582736"/>
                  </a:lnTo>
                  <a:lnTo>
                    <a:pt x="2662108" y="2593062"/>
                  </a:lnTo>
                  <a:lnTo>
                    <a:pt x="2645708" y="2602487"/>
                  </a:lnTo>
                  <a:lnTo>
                    <a:pt x="2629360" y="2612756"/>
                  </a:lnTo>
                  <a:lnTo>
                    <a:pt x="2612960" y="2622180"/>
                  </a:lnTo>
                  <a:lnTo>
                    <a:pt x="2598600" y="2632328"/>
                  </a:lnTo>
                  <a:lnTo>
                    <a:pt x="2582250" y="2642596"/>
                  </a:lnTo>
                  <a:lnTo>
                    <a:pt x="2569928" y="2653466"/>
                  </a:lnTo>
                  <a:lnTo>
                    <a:pt x="2554572" y="2663673"/>
                  </a:lnTo>
                  <a:lnTo>
                    <a:pt x="2542252" y="2674544"/>
                  </a:lnTo>
                  <a:lnTo>
                    <a:pt x="2525802" y="2683128"/>
                  </a:lnTo>
                  <a:lnTo>
                    <a:pt x="2513428" y="2693158"/>
                  </a:lnTo>
                  <a:lnTo>
                    <a:pt x="2500112" y="2704087"/>
                  </a:lnTo>
                  <a:lnTo>
                    <a:pt x="2489730" y="2713998"/>
                  </a:lnTo>
                  <a:lnTo>
                    <a:pt x="2477308" y="2723185"/>
                  </a:lnTo>
                  <a:lnTo>
                    <a:pt x="2465930" y="2733155"/>
                  </a:lnTo>
                  <a:lnTo>
                    <a:pt x="2457586" y="2743788"/>
                  </a:lnTo>
                  <a:lnTo>
                    <a:pt x="2448196" y="2753638"/>
                  </a:lnTo>
                  <a:lnTo>
                    <a:pt x="2437710" y="2761865"/>
                  </a:lnTo>
                  <a:lnTo>
                    <a:pt x="2428372" y="2772557"/>
                  </a:lnTo>
                  <a:lnTo>
                    <a:pt x="2419978" y="2782349"/>
                  </a:lnTo>
                  <a:lnTo>
                    <a:pt x="2414616" y="2792803"/>
                  </a:lnTo>
                  <a:lnTo>
                    <a:pt x="2407216" y="2802535"/>
                  </a:lnTo>
                  <a:lnTo>
                    <a:pt x="2400810" y="2812207"/>
                  </a:lnTo>
                  <a:lnTo>
                    <a:pt x="2395448" y="2822661"/>
                  </a:lnTo>
                  <a:lnTo>
                    <a:pt x="2392022" y="2832155"/>
                  </a:lnTo>
                  <a:lnTo>
                    <a:pt x="2387556" y="2840867"/>
                  </a:lnTo>
                  <a:lnTo>
                    <a:pt x="2382042" y="2848798"/>
                  </a:lnTo>
                  <a:lnTo>
                    <a:pt x="2376580" y="2857569"/>
                  </a:lnTo>
                  <a:lnTo>
                    <a:pt x="2375146" y="2866944"/>
                  </a:lnTo>
                  <a:lnTo>
                    <a:pt x="2370676" y="2875655"/>
                  </a:lnTo>
                  <a:lnTo>
                    <a:pt x="2369240" y="2885030"/>
                  </a:lnTo>
                  <a:lnTo>
                    <a:pt x="2367756" y="2893565"/>
                  </a:lnTo>
                  <a:lnTo>
                    <a:pt x="2368310" y="2902820"/>
                  </a:lnTo>
                  <a:lnTo>
                    <a:pt x="2367278" y="2918927"/>
                  </a:lnTo>
                  <a:lnTo>
                    <a:pt x="2368234" y="2934914"/>
                  </a:lnTo>
                  <a:lnTo>
                    <a:pt x="2373168" y="2950664"/>
                  </a:lnTo>
                  <a:lnTo>
                    <a:pt x="2379194" y="2968038"/>
                  </a:lnTo>
                  <a:lnTo>
                    <a:pt x="2386016" y="2981986"/>
                  </a:lnTo>
                  <a:lnTo>
                    <a:pt x="2396816" y="2995695"/>
                  </a:lnTo>
                  <a:lnTo>
                    <a:pt x="2406618" y="3009465"/>
                  </a:lnTo>
                  <a:lnTo>
                    <a:pt x="2420400" y="3022998"/>
                  </a:lnTo>
                  <a:lnTo>
                    <a:pt x="2426668" y="3027689"/>
                  </a:lnTo>
                  <a:lnTo>
                    <a:pt x="2435024" y="3033945"/>
                  </a:lnTo>
                  <a:lnTo>
                    <a:pt x="2442336" y="3039420"/>
                  </a:lnTo>
                  <a:lnTo>
                    <a:pt x="2454672" y="3045437"/>
                  </a:lnTo>
                  <a:lnTo>
                    <a:pt x="2461984" y="3050912"/>
                  </a:lnTo>
                  <a:lnTo>
                    <a:pt x="2474318" y="3056930"/>
                  </a:lnTo>
                  <a:lnTo>
                    <a:pt x="2478452" y="3059145"/>
                  </a:lnTo>
                  <a:close/>
                  <a:moveTo>
                    <a:pt x="2962718" y="2121625"/>
                  </a:moveTo>
                  <a:lnTo>
                    <a:pt x="1158398" y="2122762"/>
                  </a:lnTo>
                  <a:cubicBezTo>
                    <a:pt x="1153030" y="2127110"/>
                    <a:pt x="1147662" y="2131338"/>
                    <a:pt x="1142292" y="2135685"/>
                  </a:cubicBezTo>
                  <a:cubicBezTo>
                    <a:pt x="1137596" y="2140033"/>
                    <a:pt x="1133568" y="2144380"/>
                    <a:pt x="1128872" y="2148727"/>
                  </a:cubicBezTo>
                  <a:lnTo>
                    <a:pt x="1114780" y="2162826"/>
                  </a:lnTo>
                  <a:cubicBezTo>
                    <a:pt x="1110752" y="2167173"/>
                    <a:pt x="1106056" y="2171403"/>
                    <a:pt x="1102030" y="2175751"/>
                  </a:cubicBezTo>
                  <a:cubicBezTo>
                    <a:pt x="1098004" y="2180451"/>
                    <a:pt x="1093306" y="2185268"/>
                    <a:pt x="1089280" y="2189967"/>
                  </a:cubicBezTo>
                  <a:cubicBezTo>
                    <a:pt x="1084582" y="2194314"/>
                    <a:pt x="1079884" y="2198544"/>
                    <a:pt x="1075188" y="2202892"/>
                  </a:cubicBezTo>
                  <a:cubicBezTo>
                    <a:pt x="1070490" y="2207239"/>
                    <a:pt x="1066464" y="2211469"/>
                    <a:pt x="1061768" y="2215816"/>
                  </a:cubicBezTo>
                  <a:cubicBezTo>
                    <a:pt x="1057068" y="2220515"/>
                    <a:pt x="1052372" y="2225332"/>
                    <a:pt x="1047674" y="2230032"/>
                  </a:cubicBezTo>
                  <a:cubicBezTo>
                    <a:pt x="1042976" y="2234380"/>
                    <a:pt x="1037610" y="2238610"/>
                    <a:pt x="1032912" y="2242957"/>
                  </a:cubicBezTo>
                  <a:cubicBezTo>
                    <a:pt x="1028214" y="2247656"/>
                    <a:pt x="1024188" y="2252356"/>
                    <a:pt x="1019490" y="2257056"/>
                  </a:cubicBezTo>
                  <a:lnTo>
                    <a:pt x="1005398" y="2270098"/>
                  </a:lnTo>
                  <a:cubicBezTo>
                    <a:pt x="1001372" y="2274445"/>
                    <a:pt x="996674" y="2278674"/>
                    <a:pt x="992648" y="2283021"/>
                  </a:cubicBezTo>
                  <a:cubicBezTo>
                    <a:pt x="988622" y="2287721"/>
                    <a:pt x="983926" y="2292421"/>
                    <a:pt x="979898" y="2297120"/>
                  </a:cubicBezTo>
                  <a:lnTo>
                    <a:pt x="965806" y="2310162"/>
                  </a:lnTo>
                  <a:cubicBezTo>
                    <a:pt x="961110" y="2314862"/>
                    <a:pt x="957082" y="2319562"/>
                    <a:pt x="952386" y="2324261"/>
                  </a:cubicBezTo>
                  <a:cubicBezTo>
                    <a:pt x="947688" y="2328608"/>
                    <a:pt x="942990" y="2332838"/>
                    <a:pt x="938294" y="2337185"/>
                  </a:cubicBezTo>
                  <a:cubicBezTo>
                    <a:pt x="932926" y="2341179"/>
                    <a:pt x="928228" y="2345058"/>
                    <a:pt x="922860" y="2349052"/>
                  </a:cubicBezTo>
                  <a:cubicBezTo>
                    <a:pt x="918832" y="2353399"/>
                    <a:pt x="914136" y="2357630"/>
                    <a:pt x="910110" y="2361977"/>
                  </a:cubicBezTo>
                  <a:lnTo>
                    <a:pt x="894004" y="2372550"/>
                  </a:lnTo>
                  <a:cubicBezTo>
                    <a:pt x="889306" y="2377251"/>
                    <a:pt x="885280" y="2382068"/>
                    <a:pt x="880582" y="2386767"/>
                  </a:cubicBezTo>
                  <a:cubicBezTo>
                    <a:pt x="875214" y="2390292"/>
                    <a:pt x="870518" y="2393816"/>
                    <a:pt x="865148" y="2397342"/>
                  </a:cubicBezTo>
                  <a:lnTo>
                    <a:pt x="851056" y="2411441"/>
                  </a:lnTo>
                  <a:cubicBezTo>
                    <a:pt x="847032" y="2415788"/>
                    <a:pt x="842332" y="2420135"/>
                    <a:pt x="838308" y="2424483"/>
                  </a:cubicBezTo>
                  <a:lnTo>
                    <a:pt x="824216" y="2438582"/>
                  </a:lnTo>
                  <a:cubicBezTo>
                    <a:pt x="818846" y="2442106"/>
                    <a:pt x="814150" y="2445631"/>
                    <a:pt x="808782" y="2449156"/>
                  </a:cubicBezTo>
                  <a:cubicBezTo>
                    <a:pt x="803412" y="2453503"/>
                    <a:pt x="798716" y="2457850"/>
                    <a:pt x="793348" y="2462197"/>
                  </a:cubicBezTo>
                  <a:lnTo>
                    <a:pt x="777242" y="2476296"/>
                  </a:lnTo>
                  <a:cubicBezTo>
                    <a:pt x="773214" y="2480644"/>
                    <a:pt x="768518" y="2484874"/>
                    <a:pt x="764492" y="2489221"/>
                  </a:cubicBezTo>
                  <a:cubicBezTo>
                    <a:pt x="759122" y="2493215"/>
                    <a:pt x="754426" y="2497092"/>
                    <a:pt x="749058" y="2501088"/>
                  </a:cubicBezTo>
                  <a:cubicBezTo>
                    <a:pt x="743688" y="2505435"/>
                    <a:pt x="737650" y="2509664"/>
                    <a:pt x="732282" y="2514011"/>
                  </a:cubicBezTo>
                  <a:cubicBezTo>
                    <a:pt x="726912" y="2518711"/>
                    <a:pt x="722216" y="2523411"/>
                    <a:pt x="716848" y="2528110"/>
                  </a:cubicBezTo>
                  <a:cubicBezTo>
                    <a:pt x="712820" y="2532457"/>
                    <a:pt x="708124" y="2536805"/>
                    <a:pt x="704096" y="2541152"/>
                  </a:cubicBezTo>
                  <a:cubicBezTo>
                    <a:pt x="698056" y="2545030"/>
                    <a:pt x="691348" y="2549025"/>
                    <a:pt x="685308" y="2552902"/>
                  </a:cubicBezTo>
                  <a:cubicBezTo>
                    <a:pt x="679940" y="2556427"/>
                    <a:pt x="675242" y="2559951"/>
                    <a:pt x="669874" y="2563475"/>
                  </a:cubicBezTo>
                  <a:cubicBezTo>
                    <a:pt x="663834" y="2567471"/>
                    <a:pt x="658466" y="2571348"/>
                    <a:pt x="652426" y="2575342"/>
                  </a:cubicBezTo>
                  <a:cubicBezTo>
                    <a:pt x="647058" y="2579689"/>
                    <a:pt x="642360" y="2583919"/>
                    <a:pt x="636992" y="2588267"/>
                  </a:cubicBezTo>
                  <a:cubicBezTo>
                    <a:pt x="630954" y="2591792"/>
                    <a:pt x="624242" y="2595316"/>
                    <a:pt x="618202" y="2598842"/>
                  </a:cubicBezTo>
                  <a:cubicBezTo>
                    <a:pt x="612834" y="2603541"/>
                    <a:pt x="608138" y="2608358"/>
                    <a:pt x="602768" y="2613058"/>
                  </a:cubicBezTo>
                  <a:cubicBezTo>
                    <a:pt x="596728" y="2616582"/>
                    <a:pt x="591360" y="2620108"/>
                    <a:pt x="585322" y="2623632"/>
                  </a:cubicBezTo>
                  <a:cubicBezTo>
                    <a:pt x="579952" y="2628332"/>
                    <a:pt x="575254" y="2633031"/>
                    <a:pt x="569888" y="2637731"/>
                  </a:cubicBezTo>
                  <a:lnTo>
                    <a:pt x="549756" y="2648306"/>
                  </a:lnTo>
                  <a:cubicBezTo>
                    <a:pt x="543716" y="2652300"/>
                    <a:pt x="537004" y="2656177"/>
                    <a:pt x="530966" y="2660172"/>
                  </a:cubicBezTo>
                  <a:cubicBezTo>
                    <a:pt x="524928" y="2664519"/>
                    <a:pt x="519558" y="2668749"/>
                    <a:pt x="513518" y="2673096"/>
                  </a:cubicBezTo>
                  <a:lnTo>
                    <a:pt x="495400" y="2687195"/>
                  </a:lnTo>
                  <a:cubicBezTo>
                    <a:pt x="488690" y="2690721"/>
                    <a:pt x="482650" y="2694362"/>
                    <a:pt x="475940" y="2697888"/>
                  </a:cubicBezTo>
                  <a:cubicBezTo>
                    <a:pt x="470572" y="2701765"/>
                    <a:pt x="464532" y="2705759"/>
                    <a:pt x="459164" y="2709636"/>
                  </a:cubicBezTo>
                  <a:cubicBezTo>
                    <a:pt x="453124" y="2713983"/>
                    <a:pt x="447756" y="2718213"/>
                    <a:pt x="441716" y="2722560"/>
                  </a:cubicBezTo>
                  <a:lnTo>
                    <a:pt x="421584" y="2735602"/>
                  </a:lnTo>
                  <a:cubicBezTo>
                    <a:pt x="414202" y="2739479"/>
                    <a:pt x="406822" y="2743475"/>
                    <a:pt x="399440" y="2747352"/>
                  </a:cubicBezTo>
                  <a:lnTo>
                    <a:pt x="381322" y="2757926"/>
                  </a:lnTo>
                  <a:cubicBezTo>
                    <a:pt x="374612" y="2761921"/>
                    <a:pt x="367900" y="2765798"/>
                    <a:pt x="361190" y="2769793"/>
                  </a:cubicBezTo>
                  <a:cubicBezTo>
                    <a:pt x="354480" y="2774140"/>
                    <a:pt x="348440" y="2778370"/>
                    <a:pt x="341730" y="2782717"/>
                  </a:cubicBezTo>
                  <a:cubicBezTo>
                    <a:pt x="334348" y="2786594"/>
                    <a:pt x="326296" y="2790588"/>
                    <a:pt x="318914" y="2794465"/>
                  </a:cubicBezTo>
                  <a:lnTo>
                    <a:pt x="296770" y="2805041"/>
                  </a:lnTo>
                  <a:cubicBezTo>
                    <a:pt x="289388" y="2809035"/>
                    <a:pt x="282006" y="2812912"/>
                    <a:pt x="274624" y="2816907"/>
                  </a:cubicBezTo>
                  <a:cubicBezTo>
                    <a:pt x="267914" y="2821255"/>
                    <a:pt x="261204" y="2825485"/>
                    <a:pt x="254494" y="2829831"/>
                  </a:cubicBezTo>
                  <a:cubicBezTo>
                    <a:pt x="246440" y="2833709"/>
                    <a:pt x="237716" y="2837703"/>
                    <a:pt x="229664" y="2841580"/>
                  </a:cubicBezTo>
                  <a:cubicBezTo>
                    <a:pt x="222282" y="2845106"/>
                    <a:pt x="214900" y="2848747"/>
                    <a:pt x="207520" y="2852273"/>
                  </a:cubicBezTo>
                  <a:cubicBezTo>
                    <a:pt x="200138" y="2856150"/>
                    <a:pt x="192086" y="2860144"/>
                    <a:pt x="184704" y="2864021"/>
                  </a:cubicBezTo>
                  <a:cubicBezTo>
                    <a:pt x="177322" y="2868368"/>
                    <a:pt x="169942" y="2872598"/>
                    <a:pt x="162560" y="2876945"/>
                  </a:cubicBezTo>
                  <a:cubicBezTo>
                    <a:pt x="154506" y="2880941"/>
                    <a:pt x="145782" y="2884818"/>
                    <a:pt x="137730" y="2888812"/>
                  </a:cubicBezTo>
                  <a:cubicBezTo>
                    <a:pt x="129678" y="2893160"/>
                    <a:pt x="120954" y="2897390"/>
                    <a:pt x="112902" y="2901737"/>
                  </a:cubicBezTo>
                  <a:cubicBezTo>
                    <a:pt x="104850" y="2905614"/>
                    <a:pt x="96126" y="2909608"/>
                    <a:pt x="88074" y="2913485"/>
                  </a:cubicBezTo>
                  <a:lnTo>
                    <a:pt x="65928" y="2926527"/>
                  </a:lnTo>
                  <a:cubicBezTo>
                    <a:pt x="68612" y="2928878"/>
                    <a:pt x="70626" y="2931227"/>
                    <a:pt x="73310" y="2933577"/>
                  </a:cubicBezTo>
                  <a:lnTo>
                    <a:pt x="83376" y="2944152"/>
                  </a:lnTo>
                  <a:lnTo>
                    <a:pt x="95456" y="2951201"/>
                  </a:lnTo>
                  <a:cubicBezTo>
                    <a:pt x="99480" y="2954725"/>
                    <a:pt x="104178" y="2958251"/>
                    <a:pt x="108204" y="2961775"/>
                  </a:cubicBezTo>
                  <a:lnTo>
                    <a:pt x="120284" y="2971293"/>
                  </a:lnTo>
                  <a:cubicBezTo>
                    <a:pt x="124310" y="2974465"/>
                    <a:pt x="129006" y="2977519"/>
                    <a:pt x="133034" y="2980691"/>
                  </a:cubicBezTo>
                  <a:cubicBezTo>
                    <a:pt x="138402" y="2983394"/>
                    <a:pt x="143100" y="2986213"/>
                    <a:pt x="148468" y="2988916"/>
                  </a:cubicBezTo>
                  <a:cubicBezTo>
                    <a:pt x="153836" y="2992793"/>
                    <a:pt x="159204" y="2996789"/>
                    <a:pt x="164574" y="3000666"/>
                  </a:cubicBezTo>
                  <a:cubicBezTo>
                    <a:pt x="169270" y="3002662"/>
                    <a:pt x="173296" y="3004660"/>
                    <a:pt x="177994" y="3006658"/>
                  </a:cubicBezTo>
                  <a:cubicBezTo>
                    <a:pt x="184032" y="3010535"/>
                    <a:pt x="189402" y="3014529"/>
                    <a:pt x="195442" y="3018406"/>
                  </a:cubicBezTo>
                  <a:cubicBezTo>
                    <a:pt x="200810" y="3020757"/>
                    <a:pt x="205506" y="3023106"/>
                    <a:pt x="210876" y="3025456"/>
                  </a:cubicBezTo>
                  <a:cubicBezTo>
                    <a:pt x="217586" y="3028981"/>
                    <a:pt x="224968" y="3032505"/>
                    <a:pt x="231678" y="3036031"/>
                  </a:cubicBezTo>
                  <a:cubicBezTo>
                    <a:pt x="237716" y="3038380"/>
                    <a:pt x="243756" y="3040848"/>
                    <a:pt x="249796" y="3043197"/>
                  </a:cubicBezTo>
                  <a:lnTo>
                    <a:pt x="269928" y="3053771"/>
                  </a:lnTo>
                  <a:cubicBezTo>
                    <a:pt x="276638" y="3056122"/>
                    <a:pt x="282678" y="3058471"/>
                    <a:pt x="289388" y="3060821"/>
                  </a:cubicBezTo>
                  <a:lnTo>
                    <a:pt x="309520" y="3071396"/>
                  </a:lnTo>
                  <a:lnTo>
                    <a:pt x="329650" y="3078445"/>
                  </a:lnTo>
                  <a:lnTo>
                    <a:pt x="349782" y="3087962"/>
                  </a:lnTo>
                  <a:cubicBezTo>
                    <a:pt x="356494" y="3089960"/>
                    <a:pt x="363204" y="3091839"/>
                    <a:pt x="369914" y="3093837"/>
                  </a:cubicBezTo>
                  <a:cubicBezTo>
                    <a:pt x="377296" y="3097009"/>
                    <a:pt x="384678" y="3100065"/>
                    <a:pt x="392058" y="3103236"/>
                  </a:cubicBezTo>
                  <a:cubicBezTo>
                    <a:pt x="398098" y="3105587"/>
                    <a:pt x="404808" y="3107936"/>
                    <a:pt x="410848" y="3110285"/>
                  </a:cubicBezTo>
                  <a:cubicBezTo>
                    <a:pt x="419572" y="3112988"/>
                    <a:pt x="428296" y="3115809"/>
                    <a:pt x="437018" y="3118511"/>
                  </a:cubicBezTo>
                  <a:cubicBezTo>
                    <a:pt x="444400" y="3120861"/>
                    <a:pt x="451782" y="3123327"/>
                    <a:pt x="459164" y="3125678"/>
                  </a:cubicBezTo>
                  <a:cubicBezTo>
                    <a:pt x="467216" y="3128850"/>
                    <a:pt x="474598" y="3131904"/>
                    <a:pt x="482650" y="3135077"/>
                  </a:cubicBezTo>
                  <a:cubicBezTo>
                    <a:pt x="490032" y="3137075"/>
                    <a:pt x="498084" y="3138954"/>
                    <a:pt x="505466" y="3140952"/>
                  </a:cubicBezTo>
                  <a:cubicBezTo>
                    <a:pt x="513518" y="3143301"/>
                    <a:pt x="520900" y="3145651"/>
                    <a:pt x="528952" y="3148001"/>
                  </a:cubicBezTo>
                  <a:lnTo>
                    <a:pt x="551098" y="3155051"/>
                  </a:lnTo>
                  <a:cubicBezTo>
                    <a:pt x="559150" y="3157047"/>
                    <a:pt x="567874" y="3159045"/>
                    <a:pt x="575926" y="3161043"/>
                  </a:cubicBezTo>
                  <a:cubicBezTo>
                    <a:pt x="583980" y="3163392"/>
                    <a:pt x="592704" y="3165742"/>
                    <a:pt x="600756" y="3168093"/>
                  </a:cubicBezTo>
                  <a:lnTo>
                    <a:pt x="624914" y="3175142"/>
                  </a:lnTo>
                  <a:cubicBezTo>
                    <a:pt x="632966" y="3177492"/>
                    <a:pt x="641690" y="3179841"/>
                    <a:pt x="649742" y="3182192"/>
                  </a:cubicBezTo>
                  <a:cubicBezTo>
                    <a:pt x="659136" y="3184894"/>
                    <a:pt x="667860" y="3187714"/>
                    <a:pt x="677256" y="3190416"/>
                  </a:cubicBezTo>
                  <a:cubicBezTo>
                    <a:pt x="684638" y="3191944"/>
                    <a:pt x="692018" y="3193589"/>
                    <a:pt x="699400" y="3195115"/>
                  </a:cubicBezTo>
                  <a:cubicBezTo>
                    <a:pt x="707452" y="3197466"/>
                    <a:pt x="716176" y="3199932"/>
                    <a:pt x="724228" y="3202283"/>
                  </a:cubicBezTo>
                  <a:cubicBezTo>
                    <a:pt x="732282" y="3203458"/>
                    <a:pt x="741004" y="3204632"/>
                    <a:pt x="749058" y="3205807"/>
                  </a:cubicBezTo>
                  <a:cubicBezTo>
                    <a:pt x="757780" y="3208156"/>
                    <a:pt x="767176" y="3210507"/>
                    <a:pt x="775900" y="3212857"/>
                  </a:cubicBezTo>
                  <a:cubicBezTo>
                    <a:pt x="783952" y="3214384"/>
                    <a:pt x="791334" y="3216029"/>
                    <a:pt x="799386" y="3217557"/>
                  </a:cubicBezTo>
                  <a:cubicBezTo>
                    <a:pt x="807440" y="3219906"/>
                    <a:pt x="816162" y="3222256"/>
                    <a:pt x="824216" y="3224607"/>
                  </a:cubicBezTo>
                  <a:cubicBezTo>
                    <a:pt x="832268" y="3225781"/>
                    <a:pt x="840992" y="3226956"/>
                    <a:pt x="849044" y="3228131"/>
                  </a:cubicBezTo>
                  <a:cubicBezTo>
                    <a:pt x="857768" y="3230481"/>
                    <a:pt x="867162" y="3232831"/>
                    <a:pt x="875886" y="3235180"/>
                  </a:cubicBezTo>
                  <a:cubicBezTo>
                    <a:pt x="883268" y="3236003"/>
                    <a:pt x="891320" y="3236708"/>
                    <a:pt x="898702" y="3237531"/>
                  </a:cubicBezTo>
                  <a:cubicBezTo>
                    <a:pt x="906754" y="3239880"/>
                    <a:pt x="914808" y="3242347"/>
                    <a:pt x="922860" y="3244698"/>
                  </a:cubicBezTo>
                  <a:cubicBezTo>
                    <a:pt x="930912" y="3245519"/>
                    <a:pt x="939636" y="3246225"/>
                    <a:pt x="947688" y="3247047"/>
                  </a:cubicBezTo>
                  <a:cubicBezTo>
                    <a:pt x="955740" y="3249045"/>
                    <a:pt x="964464" y="3250924"/>
                    <a:pt x="972516" y="3252922"/>
                  </a:cubicBezTo>
                  <a:cubicBezTo>
                    <a:pt x="980570" y="3253744"/>
                    <a:pt x="989292" y="3254450"/>
                    <a:pt x="997346" y="3255271"/>
                  </a:cubicBezTo>
                  <a:lnTo>
                    <a:pt x="1022176" y="3259972"/>
                  </a:lnTo>
                  <a:lnTo>
                    <a:pt x="1047004" y="3264670"/>
                  </a:lnTo>
                  <a:cubicBezTo>
                    <a:pt x="1055056" y="3266198"/>
                    <a:pt x="1062438" y="3267843"/>
                    <a:pt x="1070490" y="3269371"/>
                  </a:cubicBezTo>
                  <a:cubicBezTo>
                    <a:pt x="1077872" y="3270194"/>
                    <a:pt x="1085254" y="3270898"/>
                    <a:pt x="1092636" y="3271720"/>
                  </a:cubicBezTo>
                  <a:cubicBezTo>
                    <a:pt x="1100016" y="3272543"/>
                    <a:pt x="1107398" y="3273248"/>
                    <a:pt x="1114780" y="3274071"/>
                  </a:cubicBezTo>
                  <a:cubicBezTo>
                    <a:pt x="1122162" y="3274422"/>
                    <a:pt x="1130214" y="3274893"/>
                    <a:pt x="1137596" y="3275246"/>
                  </a:cubicBezTo>
                  <a:cubicBezTo>
                    <a:pt x="1145648" y="3276890"/>
                    <a:pt x="1154372" y="3278418"/>
                    <a:pt x="1162424" y="3280063"/>
                  </a:cubicBezTo>
                  <a:lnTo>
                    <a:pt x="1183228" y="3280063"/>
                  </a:lnTo>
                  <a:lnTo>
                    <a:pt x="1206044" y="3284762"/>
                  </a:lnTo>
                  <a:lnTo>
                    <a:pt x="1228188" y="3284762"/>
                  </a:lnTo>
                  <a:cubicBezTo>
                    <a:pt x="1235568" y="3286289"/>
                    <a:pt x="1242950" y="3287934"/>
                    <a:pt x="1250332" y="3289462"/>
                  </a:cubicBezTo>
                  <a:lnTo>
                    <a:pt x="1268450" y="3289462"/>
                  </a:lnTo>
                  <a:cubicBezTo>
                    <a:pt x="1275162" y="3290285"/>
                    <a:pt x="1281200" y="3290990"/>
                    <a:pt x="1287910" y="3291811"/>
                  </a:cubicBezTo>
                  <a:lnTo>
                    <a:pt x="1308042" y="3291811"/>
                  </a:lnTo>
                  <a:cubicBezTo>
                    <a:pt x="1314752" y="3292634"/>
                    <a:pt x="1321464" y="3293339"/>
                    <a:pt x="1328174" y="3294162"/>
                  </a:cubicBezTo>
                  <a:lnTo>
                    <a:pt x="1345622" y="3294162"/>
                  </a:lnTo>
                  <a:cubicBezTo>
                    <a:pt x="1351660" y="3294984"/>
                    <a:pt x="1357700" y="3295690"/>
                    <a:pt x="1363738" y="3296511"/>
                  </a:cubicBezTo>
                  <a:lnTo>
                    <a:pt x="1382530" y="3296511"/>
                  </a:lnTo>
                  <a:cubicBezTo>
                    <a:pt x="1388568" y="3296864"/>
                    <a:pt x="1393936" y="3297335"/>
                    <a:pt x="1399976" y="3297686"/>
                  </a:cubicBezTo>
                  <a:lnTo>
                    <a:pt x="2268844" y="3292571"/>
                  </a:lnTo>
                  <a:lnTo>
                    <a:pt x="2382300" y="3166222"/>
                  </a:lnTo>
                  <a:lnTo>
                    <a:pt x="2373598" y="3162206"/>
                  </a:lnTo>
                  <a:lnTo>
                    <a:pt x="2358278" y="3156313"/>
                  </a:lnTo>
                  <a:lnTo>
                    <a:pt x="2344136" y="3149241"/>
                  </a:lnTo>
                  <a:lnTo>
                    <a:pt x="2333528" y="3142170"/>
                  </a:lnTo>
                  <a:lnTo>
                    <a:pt x="2319384" y="3133920"/>
                  </a:lnTo>
                  <a:lnTo>
                    <a:pt x="2306420" y="3124491"/>
                  </a:lnTo>
                  <a:lnTo>
                    <a:pt x="2292278" y="3115063"/>
                  </a:lnTo>
                  <a:lnTo>
                    <a:pt x="2284028" y="3106812"/>
                  </a:lnTo>
                  <a:lnTo>
                    <a:pt x="2269886" y="3097383"/>
                  </a:lnTo>
                  <a:lnTo>
                    <a:pt x="2261636" y="3089134"/>
                  </a:lnTo>
                  <a:lnTo>
                    <a:pt x="2252208" y="3079703"/>
                  </a:lnTo>
                  <a:lnTo>
                    <a:pt x="2245136" y="3072633"/>
                  </a:lnTo>
                  <a:lnTo>
                    <a:pt x="2229814" y="3052596"/>
                  </a:lnTo>
                  <a:lnTo>
                    <a:pt x="2219208" y="3032560"/>
                  </a:lnTo>
                  <a:lnTo>
                    <a:pt x="2207422" y="3012524"/>
                  </a:lnTo>
                  <a:lnTo>
                    <a:pt x="2200350" y="2992487"/>
                  </a:lnTo>
                  <a:lnTo>
                    <a:pt x="2194458" y="2967737"/>
                  </a:lnTo>
                  <a:lnTo>
                    <a:pt x="2189742" y="2945344"/>
                  </a:lnTo>
                  <a:lnTo>
                    <a:pt x="2189742" y="2922951"/>
                  </a:lnTo>
                  <a:lnTo>
                    <a:pt x="2192100" y="2900558"/>
                  </a:lnTo>
                  <a:lnTo>
                    <a:pt x="2192100" y="2887593"/>
                  </a:lnTo>
                  <a:lnTo>
                    <a:pt x="2194458" y="2875806"/>
                  </a:lnTo>
                  <a:lnTo>
                    <a:pt x="2196814" y="2862842"/>
                  </a:lnTo>
                  <a:lnTo>
                    <a:pt x="2202708" y="2851056"/>
                  </a:lnTo>
                  <a:lnTo>
                    <a:pt x="2205064" y="2838092"/>
                  </a:lnTo>
                  <a:lnTo>
                    <a:pt x="2212136" y="2826306"/>
                  </a:lnTo>
                  <a:lnTo>
                    <a:pt x="2219208" y="2815699"/>
                  </a:lnTo>
                  <a:lnTo>
                    <a:pt x="2225100" y="2803912"/>
                  </a:lnTo>
                  <a:lnTo>
                    <a:pt x="2229814" y="2790947"/>
                  </a:lnTo>
                  <a:lnTo>
                    <a:pt x="2236886" y="2776805"/>
                  </a:lnTo>
                  <a:lnTo>
                    <a:pt x="2245136" y="2763841"/>
                  </a:lnTo>
                  <a:lnTo>
                    <a:pt x="2254564" y="2750876"/>
                  </a:lnTo>
                  <a:lnTo>
                    <a:pt x="2261636" y="2736732"/>
                  </a:lnTo>
                  <a:lnTo>
                    <a:pt x="2272242" y="2723768"/>
                  </a:lnTo>
                  <a:lnTo>
                    <a:pt x="2284028" y="2709624"/>
                  </a:lnTo>
                  <a:lnTo>
                    <a:pt x="2296992" y="2699018"/>
                  </a:lnTo>
                  <a:lnTo>
                    <a:pt x="2308778" y="2686053"/>
                  </a:lnTo>
                  <a:lnTo>
                    <a:pt x="2319384" y="2671910"/>
                  </a:lnTo>
                  <a:lnTo>
                    <a:pt x="2333528" y="2658945"/>
                  </a:lnTo>
                  <a:lnTo>
                    <a:pt x="2348850" y="2647160"/>
                  </a:lnTo>
                  <a:lnTo>
                    <a:pt x="2361814" y="2634195"/>
                  </a:lnTo>
                  <a:lnTo>
                    <a:pt x="2378314" y="2620051"/>
                  </a:lnTo>
                  <a:lnTo>
                    <a:pt x="2393636" y="2607087"/>
                  </a:lnTo>
                  <a:lnTo>
                    <a:pt x="2413670" y="2596479"/>
                  </a:lnTo>
                  <a:lnTo>
                    <a:pt x="2428992" y="2582337"/>
                  </a:lnTo>
                  <a:lnTo>
                    <a:pt x="2447848" y="2569372"/>
                  </a:lnTo>
                  <a:lnTo>
                    <a:pt x="2463170" y="2555229"/>
                  </a:lnTo>
                  <a:lnTo>
                    <a:pt x="2483206" y="2542264"/>
                  </a:lnTo>
                  <a:lnTo>
                    <a:pt x="2500884" y="2529300"/>
                  </a:lnTo>
                  <a:lnTo>
                    <a:pt x="2520920" y="2517514"/>
                  </a:lnTo>
                  <a:lnTo>
                    <a:pt x="2540956" y="2504550"/>
                  </a:lnTo>
                  <a:lnTo>
                    <a:pt x="2560992" y="2492763"/>
                  </a:lnTo>
                  <a:lnTo>
                    <a:pt x="2582206" y="2479798"/>
                  </a:lnTo>
                  <a:lnTo>
                    <a:pt x="2602240" y="2468013"/>
                  </a:lnTo>
                  <a:lnTo>
                    <a:pt x="2619920" y="2457405"/>
                  </a:lnTo>
                  <a:lnTo>
                    <a:pt x="2642312" y="2445620"/>
                  </a:lnTo>
                  <a:lnTo>
                    <a:pt x="2662348" y="2435012"/>
                  </a:lnTo>
                  <a:lnTo>
                    <a:pt x="2687098" y="2425583"/>
                  </a:lnTo>
                  <a:lnTo>
                    <a:pt x="2709490" y="2414975"/>
                  </a:lnTo>
                  <a:lnTo>
                    <a:pt x="2734240" y="2405547"/>
                  </a:lnTo>
                  <a:lnTo>
                    <a:pt x="2754276" y="2392582"/>
                  </a:lnTo>
                  <a:lnTo>
                    <a:pt x="2779026" y="2383154"/>
                  </a:lnTo>
                  <a:lnTo>
                    <a:pt x="2801418" y="2371368"/>
                  </a:lnTo>
                  <a:lnTo>
                    <a:pt x="2826168" y="2363117"/>
                  </a:lnTo>
                  <a:lnTo>
                    <a:pt x="2848562" y="2353689"/>
                  </a:lnTo>
                  <a:lnTo>
                    <a:pt x="2873312" y="2345439"/>
                  </a:lnTo>
                  <a:lnTo>
                    <a:pt x="2898062" y="2336009"/>
                  </a:lnTo>
                  <a:lnTo>
                    <a:pt x="2923990" y="2328939"/>
                  </a:lnTo>
                  <a:lnTo>
                    <a:pt x="2946382" y="2320688"/>
                  </a:lnTo>
                  <a:lnTo>
                    <a:pt x="2971132" y="2311259"/>
                  </a:lnTo>
                  <a:lnTo>
                    <a:pt x="2995882" y="2303010"/>
                  </a:lnTo>
                  <a:lnTo>
                    <a:pt x="3022988" y="2295938"/>
                  </a:lnTo>
                  <a:lnTo>
                    <a:pt x="3047738" y="2288866"/>
                  </a:lnTo>
                  <a:lnTo>
                    <a:pt x="3074846" y="2281794"/>
                  </a:lnTo>
                  <a:lnTo>
                    <a:pt x="3087902" y="2278956"/>
                  </a:lnTo>
                  <a:lnTo>
                    <a:pt x="3047092" y="2227665"/>
                  </a:lnTo>
                  <a:lnTo>
                    <a:pt x="3043272" y="2228678"/>
                  </a:lnTo>
                  <a:lnTo>
                    <a:pt x="3025612" y="2233361"/>
                  </a:lnTo>
                  <a:lnTo>
                    <a:pt x="3007954" y="2239215"/>
                  </a:lnTo>
                  <a:lnTo>
                    <a:pt x="2987940" y="2243899"/>
                  </a:lnTo>
                  <a:lnTo>
                    <a:pt x="2969104" y="2248583"/>
                  </a:lnTo>
                  <a:lnTo>
                    <a:pt x="2951444" y="2255607"/>
                  </a:lnTo>
                  <a:lnTo>
                    <a:pt x="2933786" y="2261461"/>
                  </a:lnTo>
                  <a:lnTo>
                    <a:pt x="2913772" y="2266145"/>
                  </a:lnTo>
                  <a:lnTo>
                    <a:pt x="2898466" y="2273169"/>
                  </a:lnTo>
                  <a:lnTo>
                    <a:pt x="2878452" y="2280195"/>
                  </a:lnTo>
                  <a:lnTo>
                    <a:pt x="2861972" y="2286049"/>
                  </a:lnTo>
                  <a:lnTo>
                    <a:pt x="2844312" y="2293074"/>
                  </a:lnTo>
                  <a:lnTo>
                    <a:pt x="2829008" y="2300100"/>
                  </a:lnTo>
                  <a:lnTo>
                    <a:pt x="2810170" y="2305954"/>
                  </a:lnTo>
                  <a:lnTo>
                    <a:pt x="2794866" y="2312978"/>
                  </a:lnTo>
                  <a:lnTo>
                    <a:pt x="2774852" y="2320004"/>
                  </a:lnTo>
                  <a:lnTo>
                    <a:pt x="2759548" y="2327028"/>
                  </a:lnTo>
                  <a:lnTo>
                    <a:pt x="2741888" y="2332883"/>
                  </a:lnTo>
                  <a:lnTo>
                    <a:pt x="2725406" y="2339908"/>
                  </a:lnTo>
                  <a:lnTo>
                    <a:pt x="2707748" y="2346933"/>
                  </a:lnTo>
                  <a:lnTo>
                    <a:pt x="2692442" y="2352787"/>
                  </a:lnTo>
                  <a:lnTo>
                    <a:pt x="2674784" y="2362153"/>
                  </a:lnTo>
                  <a:lnTo>
                    <a:pt x="2660656" y="2371521"/>
                  </a:lnTo>
                  <a:lnTo>
                    <a:pt x="2642996" y="2377375"/>
                  </a:lnTo>
                  <a:lnTo>
                    <a:pt x="2627692" y="2384400"/>
                  </a:lnTo>
                  <a:lnTo>
                    <a:pt x="2613564" y="2393766"/>
                  </a:lnTo>
                  <a:lnTo>
                    <a:pt x="2595904" y="2401962"/>
                  </a:lnTo>
                  <a:lnTo>
                    <a:pt x="2582956" y="2408988"/>
                  </a:lnTo>
                  <a:lnTo>
                    <a:pt x="2564118" y="2417184"/>
                  </a:lnTo>
                  <a:lnTo>
                    <a:pt x="2553522" y="2426550"/>
                  </a:lnTo>
                  <a:lnTo>
                    <a:pt x="2539396" y="2435917"/>
                  </a:lnTo>
                  <a:lnTo>
                    <a:pt x="1235476" y="2435917"/>
                  </a:lnTo>
                  <a:lnTo>
                    <a:pt x="1230972" y="2439450"/>
                  </a:lnTo>
                  <a:lnTo>
                    <a:pt x="1217996" y="2453577"/>
                  </a:lnTo>
                  <a:lnTo>
                    <a:pt x="1202662" y="2464173"/>
                  </a:lnTo>
                  <a:lnTo>
                    <a:pt x="1186146" y="2478300"/>
                  </a:lnTo>
                  <a:lnTo>
                    <a:pt x="1170810" y="2488895"/>
                  </a:lnTo>
                  <a:lnTo>
                    <a:pt x="1157834" y="2503022"/>
                  </a:lnTo>
                  <a:lnTo>
                    <a:pt x="1141318" y="2513618"/>
                  </a:lnTo>
                  <a:lnTo>
                    <a:pt x="1125982" y="2527745"/>
                  </a:lnTo>
                  <a:lnTo>
                    <a:pt x="1110648" y="2540695"/>
                  </a:lnTo>
                  <a:lnTo>
                    <a:pt x="1096490" y="2553646"/>
                  </a:lnTo>
                  <a:lnTo>
                    <a:pt x="1078796" y="2565418"/>
                  </a:lnTo>
                  <a:lnTo>
                    <a:pt x="1063460" y="2578368"/>
                  </a:lnTo>
                  <a:lnTo>
                    <a:pt x="1048124" y="2590141"/>
                  </a:lnTo>
                  <a:lnTo>
                    <a:pt x="1033968" y="2603091"/>
                  </a:lnTo>
                  <a:lnTo>
                    <a:pt x="1016274" y="2614863"/>
                  </a:lnTo>
                  <a:lnTo>
                    <a:pt x="1000938" y="2627814"/>
                  </a:lnTo>
                  <a:lnTo>
                    <a:pt x="984422" y="2641942"/>
                  </a:lnTo>
                  <a:lnTo>
                    <a:pt x="971446" y="2654891"/>
                  </a:lnTo>
                  <a:lnTo>
                    <a:pt x="953752" y="2665487"/>
                  </a:lnTo>
                  <a:lnTo>
                    <a:pt x="934876" y="2677259"/>
                  </a:lnTo>
                  <a:lnTo>
                    <a:pt x="917182" y="2687855"/>
                  </a:lnTo>
                  <a:lnTo>
                    <a:pt x="901846" y="2701983"/>
                  </a:lnTo>
                  <a:lnTo>
                    <a:pt x="884152" y="2712579"/>
                  </a:lnTo>
                  <a:lnTo>
                    <a:pt x="867634" y="2726706"/>
                  </a:lnTo>
                  <a:lnTo>
                    <a:pt x="849940" y="2737300"/>
                  </a:lnTo>
                  <a:lnTo>
                    <a:pt x="834604" y="2751428"/>
                  </a:lnTo>
                  <a:lnTo>
                    <a:pt x="816910" y="2762024"/>
                  </a:lnTo>
                  <a:lnTo>
                    <a:pt x="799214" y="2773797"/>
                  </a:lnTo>
                  <a:lnTo>
                    <a:pt x="780340" y="2784392"/>
                  </a:lnTo>
                  <a:lnTo>
                    <a:pt x="765004" y="2798519"/>
                  </a:lnTo>
                  <a:lnTo>
                    <a:pt x="744950" y="2809115"/>
                  </a:lnTo>
                  <a:lnTo>
                    <a:pt x="729614" y="2820888"/>
                  </a:lnTo>
                  <a:lnTo>
                    <a:pt x="709560" y="2831483"/>
                  </a:lnTo>
                  <a:lnTo>
                    <a:pt x="693044" y="2844434"/>
                  </a:lnTo>
                  <a:lnTo>
                    <a:pt x="672990" y="2853852"/>
                  </a:lnTo>
                  <a:lnTo>
                    <a:pt x="655296" y="2867980"/>
                  </a:lnTo>
                  <a:lnTo>
                    <a:pt x="635240" y="2876220"/>
                  </a:lnTo>
                  <a:lnTo>
                    <a:pt x="617546" y="2890348"/>
                  </a:lnTo>
                  <a:lnTo>
                    <a:pt x="596312" y="2898588"/>
                  </a:lnTo>
                  <a:lnTo>
                    <a:pt x="576258" y="2912715"/>
                  </a:lnTo>
                  <a:lnTo>
                    <a:pt x="556202" y="2920956"/>
                  </a:lnTo>
                  <a:lnTo>
                    <a:pt x="538508" y="2935083"/>
                  </a:lnTo>
                  <a:lnTo>
                    <a:pt x="516094" y="2943326"/>
                  </a:lnTo>
                  <a:lnTo>
                    <a:pt x="496040" y="2955098"/>
                  </a:lnTo>
                  <a:lnTo>
                    <a:pt x="484898" y="2960984"/>
                  </a:lnTo>
                  <a:lnTo>
                    <a:pt x="2069548" y="2960984"/>
                  </a:lnTo>
                  <a:lnTo>
                    <a:pt x="2069548" y="2975035"/>
                  </a:lnTo>
                  <a:lnTo>
                    <a:pt x="2074260" y="2990254"/>
                  </a:lnTo>
                  <a:lnTo>
                    <a:pt x="2078972" y="3005474"/>
                  </a:lnTo>
                  <a:lnTo>
                    <a:pt x="2086040" y="3021865"/>
                  </a:lnTo>
                  <a:lnTo>
                    <a:pt x="2091930" y="3034743"/>
                  </a:lnTo>
                  <a:lnTo>
                    <a:pt x="2101354" y="3047622"/>
                  </a:lnTo>
                  <a:lnTo>
                    <a:pt x="2109600" y="3061672"/>
                  </a:lnTo>
                  <a:lnTo>
                    <a:pt x="2123734" y="3076891"/>
                  </a:lnTo>
                  <a:lnTo>
                    <a:pt x="2134336" y="3088600"/>
                  </a:lnTo>
                  <a:lnTo>
                    <a:pt x="2148472" y="3101478"/>
                  </a:lnTo>
                  <a:lnTo>
                    <a:pt x="2161432" y="3114357"/>
                  </a:lnTo>
                  <a:lnTo>
                    <a:pt x="2179100" y="3128406"/>
                  </a:lnTo>
                  <a:lnTo>
                    <a:pt x="2195592" y="3138944"/>
                  </a:lnTo>
                  <a:lnTo>
                    <a:pt x="2215618" y="3150650"/>
                  </a:lnTo>
                  <a:lnTo>
                    <a:pt x="2235644" y="3161188"/>
                  </a:lnTo>
                  <a:lnTo>
                    <a:pt x="2258026" y="3172895"/>
                  </a:lnTo>
                  <a:lnTo>
                    <a:pt x="893914" y="3172895"/>
                  </a:lnTo>
                  <a:lnTo>
                    <a:pt x="878602" y="3170555"/>
                  </a:lnTo>
                  <a:lnTo>
                    <a:pt x="863288" y="3168213"/>
                  </a:lnTo>
                  <a:lnTo>
                    <a:pt x="844440" y="3165871"/>
                  </a:lnTo>
                  <a:lnTo>
                    <a:pt x="829126" y="3165871"/>
                  </a:lnTo>
                  <a:lnTo>
                    <a:pt x="811456" y="3163529"/>
                  </a:lnTo>
                  <a:lnTo>
                    <a:pt x="793786" y="3161188"/>
                  </a:lnTo>
                  <a:lnTo>
                    <a:pt x="776118" y="3158846"/>
                  </a:lnTo>
                  <a:lnTo>
                    <a:pt x="757268" y="3157675"/>
                  </a:lnTo>
                  <a:lnTo>
                    <a:pt x="737242" y="3152992"/>
                  </a:lnTo>
                  <a:lnTo>
                    <a:pt x="717216" y="3148310"/>
                  </a:lnTo>
                  <a:lnTo>
                    <a:pt x="697190" y="3143626"/>
                  </a:lnTo>
                  <a:lnTo>
                    <a:pt x="677166" y="3141284"/>
                  </a:lnTo>
                  <a:lnTo>
                    <a:pt x="654784" y="3135431"/>
                  </a:lnTo>
                  <a:lnTo>
                    <a:pt x="634758" y="3133089"/>
                  </a:lnTo>
                  <a:lnTo>
                    <a:pt x="614732" y="3126065"/>
                  </a:lnTo>
                  <a:lnTo>
                    <a:pt x="594706" y="3123723"/>
                  </a:lnTo>
                  <a:lnTo>
                    <a:pt x="572324" y="3116699"/>
                  </a:lnTo>
                  <a:lnTo>
                    <a:pt x="549942" y="3110845"/>
                  </a:lnTo>
                  <a:lnTo>
                    <a:pt x="527562" y="3103820"/>
                  </a:lnTo>
                  <a:lnTo>
                    <a:pt x="506358" y="3096796"/>
                  </a:lnTo>
                  <a:lnTo>
                    <a:pt x="486332" y="3090942"/>
                  </a:lnTo>
                  <a:lnTo>
                    <a:pt x="466306" y="3083917"/>
                  </a:lnTo>
                  <a:lnTo>
                    <a:pt x="448636" y="3076891"/>
                  </a:lnTo>
                  <a:lnTo>
                    <a:pt x="430966" y="3069867"/>
                  </a:lnTo>
                  <a:lnTo>
                    <a:pt x="410940" y="3061672"/>
                  </a:lnTo>
                  <a:lnTo>
                    <a:pt x="390914" y="3052306"/>
                  </a:lnTo>
                  <a:lnTo>
                    <a:pt x="372066" y="3044110"/>
                  </a:lnTo>
                  <a:lnTo>
                    <a:pt x="356754" y="3034743"/>
                  </a:lnTo>
                  <a:lnTo>
                    <a:pt x="339082" y="3025377"/>
                  </a:lnTo>
                  <a:lnTo>
                    <a:pt x="323768" y="3017182"/>
                  </a:lnTo>
                  <a:lnTo>
                    <a:pt x="309634" y="3007816"/>
                  </a:lnTo>
                  <a:lnTo>
                    <a:pt x="297256" y="2999988"/>
                  </a:lnTo>
                  <a:lnTo>
                    <a:pt x="296676" y="2999833"/>
                  </a:lnTo>
                  <a:lnTo>
                    <a:pt x="296848" y="2999728"/>
                  </a:lnTo>
                  <a:lnTo>
                    <a:pt x="296676" y="2999620"/>
                  </a:lnTo>
                  <a:lnTo>
                    <a:pt x="297238" y="2999489"/>
                  </a:lnTo>
                  <a:lnTo>
                    <a:pt x="312012" y="2990415"/>
                  </a:lnTo>
                  <a:lnTo>
                    <a:pt x="329706" y="2980997"/>
                  </a:lnTo>
                  <a:lnTo>
                    <a:pt x="346220" y="2972756"/>
                  </a:lnTo>
                  <a:lnTo>
                    <a:pt x="363916" y="2965693"/>
                  </a:lnTo>
                  <a:lnTo>
                    <a:pt x="379252" y="2957453"/>
                  </a:lnTo>
                  <a:lnTo>
                    <a:pt x="399308" y="2950388"/>
                  </a:lnTo>
                  <a:lnTo>
                    <a:pt x="414642" y="2940970"/>
                  </a:lnTo>
                  <a:lnTo>
                    <a:pt x="433516" y="2935083"/>
                  </a:lnTo>
                  <a:lnTo>
                    <a:pt x="451212" y="2923311"/>
                  </a:lnTo>
                  <a:lnTo>
                    <a:pt x="466548" y="2913893"/>
                  </a:lnTo>
                  <a:lnTo>
                    <a:pt x="483062" y="2903297"/>
                  </a:lnTo>
                  <a:lnTo>
                    <a:pt x="503118" y="2893879"/>
                  </a:lnTo>
                  <a:lnTo>
                    <a:pt x="516094" y="2883283"/>
                  </a:lnTo>
                  <a:lnTo>
                    <a:pt x="536148" y="2873865"/>
                  </a:lnTo>
                  <a:lnTo>
                    <a:pt x="551484" y="2865624"/>
                  </a:lnTo>
                  <a:lnTo>
                    <a:pt x="572718" y="2856206"/>
                  </a:lnTo>
                  <a:lnTo>
                    <a:pt x="588054" y="2844434"/>
                  </a:lnTo>
                  <a:lnTo>
                    <a:pt x="605750" y="2833838"/>
                  </a:lnTo>
                  <a:lnTo>
                    <a:pt x="623444" y="2822065"/>
                  </a:lnTo>
                  <a:lnTo>
                    <a:pt x="641138" y="2813824"/>
                  </a:lnTo>
                  <a:lnTo>
                    <a:pt x="657654" y="2799697"/>
                  </a:lnTo>
                  <a:lnTo>
                    <a:pt x="675350" y="2791456"/>
                  </a:lnTo>
                  <a:lnTo>
                    <a:pt x="693044" y="2777329"/>
                  </a:lnTo>
                  <a:lnTo>
                    <a:pt x="710740" y="2769088"/>
                  </a:lnTo>
                  <a:lnTo>
                    <a:pt x="727256" y="2754961"/>
                  </a:lnTo>
                  <a:lnTo>
                    <a:pt x="744950" y="2744365"/>
                  </a:lnTo>
                  <a:lnTo>
                    <a:pt x="762644" y="2732591"/>
                  </a:lnTo>
                  <a:lnTo>
                    <a:pt x="780340" y="2721997"/>
                  </a:lnTo>
                  <a:lnTo>
                    <a:pt x="796856" y="2709046"/>
                  </a:lnTo>
                  <a:lnTo>
                    <a:pt x="816910" y="2697274"/>
                  </a:lnTo>
                  <a:lnTo>
                    <a:pt x="832246" y="2686678"/>
                  </a:lnTo>
                  <a:lnTo>
                    <a:pt x="852300" y="2674906"/>
                  </a:lnTo>
                  <a:lnTo>
                    <a:pt x="867634" y="2661954"/>
                  </a:lnTo>
                  <a:lnTo>
                    <a:pt x="884152" y="2647827"/>
                  </a:lnTo>
                  <a:lnTo>
                    <a:pt x="899486" y="2634877"/>
                  </a:lnTo>
                  <a:lnTo>
                    <a:pt x="917182" y="2623105"/>
                  </a:lnTo>
                  <a:lnTo>
                    <a:pt x="933698" y="2610156"/>
                  </a:lnTo>
                  <a:lnTo>
                    <a:pt x="951392" y="2598382"/>
                  </a:lnTo>
                  <a:lnTo>
                    <a:pt x="966728" y="2585432"/>
                  </a:lnTo>
                  <a:lnTo>
                    <a:pt x="984422" y="2574836"/>
                  </a:lnTo>
                  <a:lnTo>
                    <a:pt x="1000938" y="2560709"/>
                  </a:lnTo>
                  <a:lnTo>
                    <a:pt x="1016274" y="2547759"/>
                  </a:lnTo>
                  <a:lnTo>
                    <a:pt x="1031610" y="2533632"/>
                  </a:lnTo>
                  <a:lnTo>
                    <a:pt x="1049304" y="2523036"/>
                  </a:lnTo>
                  <a:lnTo>
                    <a:pt x="1065820" y="2508909"/>
                  </a:lnTo>
                  <a:lnTo>
                    <a:pt x="1083514" y="2495959"/>
                  </a:lnTo>
                  <a:lnTo>
                    <a:pt x="1098850" y="2483009"/>
                  </a:lnTo>
                  <a:lnTo>
                    <a:pt x="1116544" y="2471236"/>
                  </a:lnTo>
                  <a:lnTo>
                    <a:pt x="1130702" y="2458286"/>
                  </a:lnTo>
                  <a:lnTo>
                    <a:pt x="1148396" y="2444159"/>
                  </a:lnTo>
                  <a:lnTo>
                    <a:pt x="1161372" y="2431209"/>
                  </a:lnTo>
                  <a:lnTo>
                    <a:pt x="1180248" y="2417082"/>
                  </a:lnTo>
                  <a:lnTo>
                    <a:pt x="1195584" y="2404130"/>
                  </a:lnTo>
                  <a:lnTo>
                    <a:pt x="1210918" y="2391181"/>
                  </a:lnTo>
                  <a:lnTo>
                    <a:pt x="1227434" y="2377053"/>
                  </a:lnTo>
                  <a:lnTo>
                    <a:pt x="1245130" y="2366457"/>
                  </a:lnTo>
                  <a:lnTo>
                    <a:pt x="1258106" y="2352330"/>
                  </a:lnTo>
                  <a:lnTo>
                    <a:pt x="1275800" y="2339380"/>
                  </a:lnTo>
                  <a:lnTo>
                    <a:pt x="1289956" y="2326431"/>
                  </a:lnTo>
                  <a:lnTo>
                    <a:pt x="1296212" y="2322267"/>
                  </a:lnTo>
                  <a:lnTo>
                    <a:pt x="1405674" y="2221652"/>
                  </a:lnTo>
                  <a:lnTo>
                    <a:pt x="3042306" y="2221652"/>
                  </a:lnTo>
                  <a:close/>
                  <a:moveTo>
                    <a:pt x="4742645" y="2120503"/>
                  </a:moveTo>
                  <a:lnTo>
                    <a:pt x="4511920" y="2120649"/>
                  </a:lnTo>
                  <a:cubicBezTo>
                    <a:pt x="4304727" y="2331630"/>
                    <a:pt x="4106824" y="2548586"/>
                    <a:pt x="3904354" y="2783741"/>
                  </a:cubicBezTo>
                  <a:cubicBezTo>
                    <a:pt x="3791201" y="2956610"/>
                    <a:pt x="3615816" y="3016738"/>
                    <a:pt x="3463059" y="2795016"/>
                  </a:cubicBezTo>
                  <a:cubicBezTo>
                    <a:pt x="3362750" y="2649534"/>
                    <a:pt x="3261400" y="2507423"/>
                    <a:pt x="3155651" y="2368626"/>
                  </a:cubicBezTo>
                  <a:cubicBezTo>
                    <a:pt x="2891338" y="2672175"/>
                    <a:pt x="2579518" y="3025677"/>
                    <a:pt x="2347038" y="3292111"/>
                  </a:cubicBezTo>
                  <a:lnTo>
                    <a:pt x="3709764" y="3284087"/>
                  </a:lnTo>
                  <a:close/>
                  <a:moveTo>
                    <a:pt x="6776429" y="2120407"/>
                  </a:moveTo>
                  <a:lnTo>
                    <a:pt x="5635408" y="3272708"/>
                  </a:lnTo>
                  <a:lnTo>
                    <a:pt x="5635408" y="3693807"/>
                  </a:lnTo>
                  <a:lnTo>
                    <a:pt x="5980589" y="3351844"/>
                  </a:lnTo>
                  <a:lnTo>
                    <a:pt x="5980589" y="3436608"/>
                  </a:lnTo>
                  <a:lnTo>
                    <a:pt x="5635408" y="3777499"/>
                  </a:lnTo>
                  <a:lnTo>
                    <a:pt x="5635408" y="3880680"/>
                  </a:lnTo>
                  <a:lnTo>
                    <a:pt x="6776429" y="2739659"/>
                  </a:lnTo>
                  <a:lnTo>
                    <a:pt x="6776429" y="2352374"/>
                  </a:lnTo>
                  <a:lnTo>
                    <a:pt x="5933493" y="3178782"/>
                  </a:lnTo>
                  <a:lnTo>
                    <a:pt x="6776429" y="2322828"/>
                  </a:lnTo>
                  <a:close/>
                  <a:moveTo>
                    <a:pt x="6751600" y="2119237"/>
                  </a:moveTo>
                  <a:lnTo>
                    <a:pt x="4806532" y="2120463"/>
                  </a:lnTo>
                  <a:lnTo>
                    <a:pt x="4716988" y="2221652"/>
                  </a:lnTo>
                  <a:lnTo>
                    <a:pt x="5942928" y="2221652"/>
                  </a:lnTo>
                  <a:lnTo>
                    <a:pt x="5957811" y="2217050"/>
                  </a:lnTo>
                  <a:lnTo>
                    <a:pt x="5975442" y="2213505"/>
                  </a:lnTo>
                  <a:lnTo>
                    <a:pt x="5991896" y="2206417"/>
                  </a:lnTo>
                  <a:lnTo>
                    <a:pt x="6009526" y="2204054"/>
                  </a:lnTo>
                  <a:lnTo>
                    <a:pt x="6024806" y="2199329"/>
                  </a:lnTo>
                  <a:lnTo>
                    <a:pt x="6044786" y="2196966"/>
                  </a:lnTo>
                  <a:lnTo>
                    <a:pt x="6061242" y="2192241"/>
                  </a:lnTo>
                  <a:lnTo>
                    <a:pt x="6078872" y="2191059"/>
                  </a:lnTo>
                  <a:lnTo>
                    <a:pt x="6094152" y="2188696"/>
                  </a:lnTo>
                  <a:lnTo>
                    <a:pt x="6114133" y="2188696"/>
                  </a:lnTo>
                  <a:lnTo>
                    <a:pt x="6130588" y="2186333"/>
                  </a:lnTo>
                  <a:lnTo>
                    <a:pt x="6148218" y="2186333"/>
                  </a:lnTo>
                  <a:lnTo>
                    <a:pt x="6165848" y="2186333"/>
                  </a:lnTo>
                  <a:lnTo>
                    <a:pt x="6185829" y="2186333"/>
                  </a:lnTo>
                  <a:lnTo>
                    <a:pt x="6201108" y="2186333"/>
                  </a:lnTo>
                  <a:lnTo>
                    <a:pt x="6217563" y="2186333"/>
                  </a:lnTo>
                  <a:lnTo>
                    <a:pt x="6232843" y="2186333"/>
                  </a:lnTo>
                  <a:lnTo>
                    <a:pt x="6250472" y="2188696"/>
                  </a:lnTo>
                  <a:lnTo>
                    <a:pt x="6264577" y="2188696"/>
                  </a:lnTo>
                  <a:lnTo>
                    <a:pt x="6277506" y="2191059"/>
                  </a:lnTo>
                  <a:lnTo>
                    <a:pt x="6290435" y="2192241"/>
                  </a:lnTo>
                  <a:lnTo>
                    <a:pt x="6306890" y="2196966"/>
                  </a:lnTo>
                  <a:lnTo>
                    <a:pt x="6317468" y="2199329"/>
                  </a:lnTo>
                  <a:lnTo>
                    <a:pt x="6331572" y="2204054"/>
                  </a:lnTo>
                  <a:lnTo>
                    <a:pt x="6342150" y="2206417"/>
                  </a:lnTo>
                  <a:lnTo>
                    <a:pt x="6353904" y="2213505"/>
                  </a:lnTo>
                  <a:lnTo>
                    <a:pt x="6371533" y="2221775"/>
                  </a:lnTo>
                  <a:lnTo>
                    <a:pt x="6389164" y="2235953"/>
                  </a:lnTo>
                  <a:lnTo>
                    <a:pt x="6400918" y="2244222"/>
                  </a:lnTo>
                  <a:lnTo>
                    <a:pt x="6411496" y="2258400"/>
                  </a:lnTo>
                  <a:lnTo>
                    <a:pt x="6418547" y="2271395"/>
                  </a:lnTo>
                  <a:lnTo>
                    <a:pt x="6425600" y="2286752"/>
                  </a:lnTo>
                  <a:lnTo>
                    <a:pt x="6423248" y="2300930"/>
                  </a:lnTo>
                  <a:lnTo>
                    <a:pt x="6423248" y="2318651"/>
                  </a:lnTo>
                  <a:lnTo>
                    <a:pt x="6413847" y="2334010"/>
                  </a:lnTo>
                  <a:lnTo>
                    <a:pt x="6406794" y="2354094"/>
                  </a:lnTo>
                  <a:lnTo>
                    <a:pt x="6391514" y="2370633"/>
                  </a:lnTo>
                  <a:lnTo>
                    <a:pt x="6373884" y="2385991"/>
                  </a:lnTo>
                  <a:lnTo>
                    <a:pt x="6362131" y="2393081"/>
                  </a:lnTo>
                  <a:lnTo>
                    <a:pt x="6353904" y="2401349"/>
                  </a:lnTo>
                  <a:lnTo>
                    <a:pt x="6342150" y="2410802"/>
                  </a:lnTo>
                  <a:lnTo>
                    <a:pt x="6333922" y="2419071"/>
                  </a:lnTo>
                  <a:lnTo>
                    <a:pt x="6319818" y="2426160"/>
                  </a:lnTo>
                  <a:lnTo>
                    <a:pt x="6306890" y="2433248"/>
                  </a:lnTo>
                  <a:lnTo>
                    <a:pt x="6292786" y="2439154"/>
                  </a:lnTo>
                  <a:lnTo>
                    <a:pt x="6282208" y="2446244"/>
                  </a:lnTo>
                  <a:lnTo>
                    <a:pt x="6266928" y="2453332"/>
                  </a:lnTo>
                  <a:lnTo>
                    <a:pt x="6252823" y="2460420"/>
                  </a:lnTo>
                  <a:lnTo>
                    <a:pt x="6237544" y="2466328"/>
                  </a:lnTo>
                  <a:lnTo>
                    <a:pt x="6223440" y="2473416"/>
                  </a:lnTo>
                  <a:lnTo>
                    <a:pt x="6205810" y="2478141"/>
                  </a:lnTo>
                  <a:lnTo>
                    <a:pt x="6196356" y="2481065"/>
                  </a:lnTo>
                  <a:lnTo>
                    <a:pt x="5499197" y="3172895"/>
                  </a:lnTo>
                  <a:lnTo>
                    <a:pt x="5439174" y="3172895"/>
                  </a:lnTo>
                  <a:lnTo>
                    <a:pt x="5415492" y="3172895"/>
                  </a:lnTo>
                  <a:lnTo>
                    <a:pt x="3875223" y="3172895"/>
                  </a:lnTo>
                  <a:lnTo>
                    <a:pt x="3777180" y="3283691"/>
                  </a:lnTo>
                  <a:lnTo>
                    <a:pt x="5590683" y="3273013"/>
                  </a:lnTo>
                  <a:close/>
                  <a:moveTo>
                    <a:pt x="2112844" y="510"/>
                  </a:moveTo>
                  <a:cubicBezTo>
                    <a:pt x="2064192" y="4407"/>
                    <a:pt x="2011858" y="31095"/>
                    <a:pt x="1953160" y="96624"/>
                  </a:cubicBezTo>
                  <a:lnTo>
                    <a:pt x="1726854" y="412297"/>
                  </a:lnTo>
                  <a:cubicBezTo>
                    <a:pt x="1694796" y="468666"/>
                    <a:pt x="1526950" y="558861"/>
                    <a:pt x="1732512" y="767430"/>
                  </a:cubicBezTo>
                  <a:cubicBezTo>
                    <a:pt x="2511380" y="1361195"/>
                    <a:pt x="3001710" y="1966236"/>
                    <a:pt x="3469409" y="2644557"/>
                  </a:cubicBezTo>
                  <a:cubicBezTo>
                    <a:pt x="3622166" y="2866279"/>
                    <a:pt x="3797551" y="2806151"/>
                    <a:pt x="3910704" y="2633282"/>
                  </a:cubicBezTo>
                  <a:cubicBezTo>
                    <a:pt x="4229418" y="2263118"/>
                    <a:pt x="4536816" y="1938049"/>
                    <a:pt x="4883818" y="1607344"/>
                  </a:cubicBezTo>
                  <a:cubicBezTo>
                    <a:pt x="4964913" y="1475813"/>
                    <a:pt x="4978111" y="1423203"/>
                    <a:pt x="4804613" y="1212754"/>
                  </a:cubicBezTo>
                  <a:lnTo>
                    <a:pt x="4600937" y="1009822"/>
                  </a:lnTo>
                  <a:cubicBezTo>
                    <a:pt x="4500985" y="925266"/>
                    <a:pt x="4321827" y="902718"/>
                    <a:pt x="4216218" y="1077466"/>
                  </a:cubicBezTo>
                  <a:lnTo>
                    <a:pt x="3752290" y="1539700"/>
                  </a:lnTo>
                  <a:cubicBezTo>
                    <a:pt x="3410947" y="1143228"/>
                    <a:pt x="3092232" y="583288"/>
                    <a:pt x="2337880" y="96624"/>
                  </a:cubicBezTo>
                  <a:cubicBezTo>
                    <a:pt x="2264802" y="50824"/>
                    <a:pt x="2193934" y="-5986"/>
                    <a:pt x="2112844" y="510"/>
                  </a:cubicBezTo>
                  <a:close/>
                </a:path>
              </a:pathLst>
            </a:custGeom>
            <a:solidFill>
              <a:srgbClr val="00457B"/>
            </a:solidFill>
            <a:ln>
              <a:noFill/>
            </a:ln>
          </p:spPr>
          <p:txBody>
            <a:bodyPr vert="horz" wrap="square" lIns="68570" tIns="34285" rIns="68570" bIns="34285" numCol="1" anchor="t" anchorCtr="0" compatLnSpc="1">
              <a:prstTxWarp prst="textNoShape">
                <a:avLst/>
              </a:prstTxWarp>
            </a:bodyPr>
            <a:lstStyle/>
            <a:p>
              <a:pPr defTabSz="685775">
                <a:defRPr/>
              </a:pPr>
              <a:endParaRPr lang="en-US" sz="1350">
                <a:solidFill>
                  <a:srgbClr val="505050"/>
                </a:solidFill>
                <a:latin typeface="Segoe UI Semilight"/>
              </a:endParaRPr>
            </a:p>
          </p:txBody>
        </p:sp>
        <p:pic>
          <p:nvPicPr>
            <p:cNvPr id="193" name="Picture 2" descr="\\MAGNUM\Projects\Microsoft\Cloud Power FY12\Design\ICONS_PNG\Pie.png">
              <a:extLst>
                <a:ext uri="{FF2B5EF4-FFF2-40B4-BE49-F238E27FC236}">
                  <a16:creationId xmlns:a16="http://schemas.microsoft.com/office/drawing/2014/main" id="{FE261E3D-AC5B-4A04-8F48-8AFB585EA619}"/>
                </a:ext>
              </a:extLst>
            </p:cNvPr>
            <p:cNvPicPr>
              <a:picLocks noChangeAspect="1" noChangeArrowheads="1"/>
            </p:cNvPicPr>
            <p:nvPr/>
          </p:nvPicPr>
          <p:blipFill>
            <a:blip r:embed="rId19" cstate="print">
              <a:extLst>
                <a:ext uri="{BEBA8EAE-BF5A-486C-A8C5-ECC9F3942E4B}">
                  <a14:imgProps xmlns:a14="http://schemas.microsoft.com/office/drawing/2010/main">
                    <a14:imgLayer r:embed="rId20">
                      <a14:imgEffect>
                        <a14:sharpenSoften amount="50000"/>
                      </a14:imgEffect>
                      <a14:imgEffect>
                        <a14:brightnessContrast bright="-40000" contrast="40000"/>
                      </a14:imgEffect>
                    </a14:imgLayer>
                  </a14:imgProps>
                </a:ext>
                <a:ext uri="{28A0092B-C50C-407E-A947-70E740481C1C}">
                  <a14:useLocalDpi xmlns:a14="http://schemas.microsoft.com/office/drawing/2010/main"/>
                </a:ext>
              </a:extLst>
            </a:blip>
            <a:srcRect/>
            <a:stretch>
              <a:fillRect/>
            </a:stretch>
          </p:blipFill>
          <p:spPr bwMode="auto">
            <a:xfrm>
              <a:off x="5171816" y="1973963"/>
              <a:ext cx="457200" cy="457200"/>
            </a:xfrm>
            <a:prstGeom prst="rect">
              <a:avLst/>
            </a:prstGeom>
            <a:noFill/>
          </p:spPr>
        </p:pic>
        <p:pic>
          <p:nvPicPr>
            <p:cNvPr id="194" name="Picture 2" descr="\\MAGNUM\Projects\Microsoft\Cloud Power FY12\Design\ICONS_PNG\Devices.png">
              <a:extLst>
                <a:ext uri="{FF2B5EF4-FFF2-40B4-BE49-F238E27FC236}">
                  <a16:creationId xmlns:a16="http://schemas.microsoft.com/office/drawing/2014/main" id="{8B95C0FF-C23A-4B40-8523-B6556366430B}"/>
                </a:ext>
              </a:extLst>
            </p:cNvPr>
            <p:cNvPicPr>
              <a:picLocks noChangeAspect="1" noChangeArrowheads="1"/>
            </p:cNvPicPr>
            <p:nvPr/>
          </p:nvPicPr>
          <p:blipFill>
            <a:blip r:embed="rId21" cstate="print">
              <a:extLst>
                <a:ext uri="{BEBA8EAE-BF5A-486C-A8C5-ECC9F3942E4B}">
                  <a14:imgProps xmlns:a14="http://schemas.microsoft.com/office/drawing/2010/main">
                    <a14:imgLayer r:embed="rId22">
                      <a14:imgEffect>
                        <a14:sharpenSoften amount="50000"/>
                      </a14:imgEffect>
                      <a14:imgEffect>
                        <a14:brightnessContrast bright="-40000" contrast="40000"/>
                      </a14:imgEffect>
                    </a14:imgLayer>
                  </a14:imgProps>
                </a:ext>
                <a:ext uri="{28A0092B-C50C-407E-A947-70E740481C1C}">
                  <a14:useLocalDpi xmlns:a14="http://schemas.microsoft.com/office/drawing/2010/main"/>
                </a:ext>
              </a:extLst>
            </a:blip>
            <a:stretch>
              <a:fillRect/>
            </a:stretch>
          </p:blipFill>
          <p:spPr bwMode="auto">
            <a:xfrm>
              <a:off x="6435193" y="2918951"/>
              <a:ext cx="411480" cy="411480"/>
            </a:xfrm>
            <a:prstGeom prst="rect">
              <a:avLst/>
            </a:prstGeom>
            <a:noFill/>
            <a:ln>
              <a:noFill/>
            </a:ln>
          </p:spPr>
        </p:pic>
        <p:sp>
          <p:nvSpPr>
            <p:cNvPr id="195" name="Freeform 18">
              <a:extLst>
                <a:ext uri="{FF2B5EF4-FFF2-40B4-BE49-F238E27FC236}">
                  <a16:creationId xmlns:a16="http://schemas.microsoft.com/office/drawing/2014/main" id="{71542815-9398-4208-A3D7-818A5DB2E3FC}"/>
                </a:ext>
              </a:extLst>
            </p:cNvPr>
            <p:cNvSpPr>
              <a:spLocks noChangeAspect="1" noEditPoints="1"/>
            </p:cNvSpPr>
            <p:nvPr/>
          </p:nvSpPr>
          <p:spPr bwMode="black">
            <a:xfrm>
              <a:off x="5231995" y="2894405"/>
              <a:ext cx="299805" cy="365760"/>
            </a:xfrm>
            <a:custGeom>
              <a:avLst/>
              <a:gdLst>
                <a:gd name="T0" fmla="*/ 129 w 246"/>
                <a:gd name="T1" fmla="*/ 192 h 300"/>
                <a:gd name="T2" fmla="*/ 43 w 246"/>
                <a:gd name="T3" fmla="*/ 202 h 300"/>
                <a:gd name="T4" fmla="*/ 129 w 246"/>
                <a:gd name="T5" fmla="*/ 126 h 300"/>
                <a:gd name="T6" fmla="*/ 43 w 246"/>
                <a:gd name="T7" fmla="*/ 135 h 300"/>
                <a:gd name="T8" fmla="*/ 129 w 246"/>
                <a:gd name="T9" fmla="*/ 126 h 300"/>
                <a:gd name="T10" fmla="*/ 215 w 246"/>
                <a:gd name="T11" fmla="*/ 101 h 300"/>
                <a:gd name="T12" fmla="*/ 219 w 246"/>
                <a:gd name="T13" fmla="*/ 90 h 300"/>
                <a:gd name="T14" fmla="*/ 208 w 246"/>
                <a:gd name="T15" fmla="*/ 111 h 300"/>
                <a:gd name="T16" fmla="*/ 43 w 246"/>
                <a:gd name="T17" fmla="*/ 92 h 300"/>
                <a:gd name="T18" fmla="*/ 117 w 246"/>
                <a:gd name="T19" fmla="*/ 102 h 300"/>
                <a:gd name="T20" fmla="*/ 43 w 246"/>
                <a:gd name="T21" fmla="*/ 235 h 300"/>
                <a:gd name="T22" fmla="*/ 117 w 246"/>
                <a:gd name="T23" fmla="*/ 226 h 300"/>
                <a:gd name="T24" fmla="*/ 43 w 246"/>
                <a:gd name="T25" fmla="*/ 235 h 300"/>
                <a:gd name="T26" fmla="*/ 11 w 246"/>
                <a:gd name="T27" fmla="*/ 287 h 300"/>
                <a:gd name="T28" fmla="*/ 35 w 246"/>
                <a:gd name="T29" fmla="*/ 36 h 300"/>
                <a:gd name="T30" fmla="*/ 0 w 246"/>
                <a:gd name="T31" fmla="*/ 22 h 300"/>
                <a:gd name="T32" fmla="*/ 219 w 246"/>
                <a:gd name="T33" fmla="*/ 300 h 300"/>
                <a:gd name="T34" fmla="*/ 208 w 246"/>
                <a:gd name="T35" fmla="*/ 173 h 300"/>
                <a:gd name="T36" fmla="*/ 117 w 246"/>
                <a:gd name="T37" fmla="*/ 159 h 300"/>
                <a:gd name="T38" fmla="*/ 43 w 246"/>
                <a:gd name="T39" fmla="*/ 169 h 300"/>
                <a:gd name="T40" fmla="*/ 117 w 246"/>
                <a:gd name="T41" fmla="*/ 159 h 300"/>
                <a:gd name="T42" fmla="*/ 57 w 246"/>
                <a:gd name="T43" fmla="*/ 22 h 300"/>
                <a:gd name="T44" fmla="*/ 86 w 246"/>
                <a:gd name="T45" fmla="*/ 20 h 300"/>
                <a:gd name="T46" fmla="*/ 110 w 246"/>
                <a:gd name="T47" fmla="*/ 0 h 300"/>
                <a:gd name="T48" fmla="*/ 133 w 246"/>
                <a:gd name="T49" fmla="*/ 20 h 300"/>
                <a:gd name="T50" fmla="*/ 162 w 246"/>
                <a:gd name="T51" fmla="*/ 22 h 300"/>
                <a:gd name="T52" fmla="*/ 179 w 246"/>
                <a:gd name="T53" fmla="*/ 43 h 300"/>
                <a:gd name="T54" fmla="*/ 41 w 246"/>
                <a:gd name="T55" fmla="*/ 36 h 300"/>
                <a:gd name="T56" fmla="*/ 110 w 246"/>
                <a:gd name="T57" fmla="*/ 20 h 300"/>
                <a:gd name="T58" fmla="*/ 110 w 246"/>
                <a:gd name="T59" fmla="*/ 11 h 300"/>
                <a:gd name="T60" fmla="*/ 190 w 246"/>
                <a:gd name="T61" fmla="*/ 269 h 300"/>
                <a:gd name="T62" fmla="*/ 29 w 246"/>
                <a:gd name="T63" fmla="*/ 59 h 300"/>
                <a:gd name="T64" fmla="*/ 190 w 246"/>
                <a:gd name="T65" fmla="*/ 71 h 300"/>
                <a:gd name="T66" fmla="*/ 200 w 246"/>
                <a:gd name="T67" fmla="*/ 49 h 300"/>
                <a:gd name="T68" fmla="*/ 19 w 246"/>
                <a:gd name="T69" fmla="*/ 278 h 300"/>
                <a:gd name="T70" fmla="*/ 200 w 246"/>
                <a:gd name="T71" fmla="*/ 185 h 300"/>
                <a:gd name="T72" fmla="*/ 190 w 246"/>
                <a:gd name="T73" fmla="*/ 269 h 300"/>
                <a:gd name="T74" fmla="*/ 190 w 246"/>
                <a:gd name="T75" fmla="*/ 133 h 300"/>
                <a:gd name="T76" fmla="*/ 200 w 246"/>
                <a:gd name="T77" fmla="*/ 124 h 300"/>
                <a:gd name="T78" fmla="*/ 215 w 246"/>
                <a:gd name="T79" fmla="*/ 35 h 300"/>
                <a:gd name="T80" fmla="*/ 219 w 246"/>
                <a:gd name="T81" fmla="*/ 22 h 300"/>
                <a:gd name="T82" fmla="*/ 184 w 246"/>
                <a:gd name="T83" fmla="*/ 36 h 300"/>
                <a:gd name="T84" fmla="*/ 208 w 246"/>
                <a:gd name="T85" fmla="*/ 44 h 300"/>
                <a:gd name="T86" fmla="*/ 246 w 246"/>
                <a:gd name="T87" fmla="*/ 41 h 300"/>
                <a:gd name="T88" fmla="*/ 155 w 246"/>
                <a:gd name="T89" fmla="*/ 134 h 300"/>
                <a:gd name="T90" fmla="*/ 156 w 246"/>
                <a:gd name="T91" fmla="*/ 92 h 300"/>
                <a:gd name="T92" fmla="*/ 218 w 246"/>
                <a:gd name="T93" fmla="*/ 41 h 300"/>
                <a:gd name="T94" fmla="*/ 246 w 246"/>
                <a:gd name="T95" fmla="*/ 107 h 300"/>
                <a:gd name="T96" fmla="*/ 155 w 246"/>
                <a:gd name="T97" fmla="*/ 201 h 300"/>
                <a:gd name="T98" fmla="*/ 156 w 246"/>
                <a:gd name="T99" fmla="*/ 159 h 300"/>
                <a:gd name="T100" fmla="*/ 218 w 246"/>
                <a:gd name="T101" fmla="*/ 10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46" h="300">
                  <a:moveTo>
                    <a:pt x="43" y="192"/>
                  </a:moveTo>
                  <a:cubicBezTo>
                    <a:pt x="129" y="192"/>
                    <a:pt x="129" y="192"/>
                    <a:pt x="129" y="192"/>
                  </a:cubicBezTo>
                  <a:cubicBezTo>
                    <a:pt x="129" y="202"/>
                    <a:pt x="129" y="202"/>
                    <a:pt x="129" y="202"/>
                  </a:cubicBezTo>
                  <a:cubicBezTo>
                    <a:pt x="43" y="202"/>
                    <a:pt x="43" y="202"/>
                    <a:pt x="43" y="202"/>
                  </a:cubicBezTo>
                  <a:lnTo>
                    <a:pt x="43" y="192"/>
                  </a:lnTo>
                  <a:close/>
                  <a:moveTo>
                    <a:pt x="129" y="126"/>
                  </a:moveTo>
                  <a:cubicBezTo>
                    <a:pt x="43" y="126"/>
                    <a:pt x="43" y="126"/>
                    <a:pt x="43" y="126"/>
                  </a:cubicBezTo>
                  <a:cubicBezTo>
                    <a:pt x="43" y="135"/>
                    <a:pt x="43" y="135"/>
                    <a:pt x="43" y="135"/>
                  </a:cubicBezTo>
                  <a:cubicBezTo>
                    <a:pt x="129" y="135"/>
                    <a:pt x="129" y="135"/>
                    <a:pt x="129" y="135"/>
                  </a:cubicBezTo>
                  <a:lnTo>
                    <a:pt x="129" y="126"/>
                  </a:lnTo>
                  <a:close/>
                  <a:moveTo>
                    <a:pt x="208" y="111"/>
                  </a:moveTo>
                  <a:cubicBezTo>
                    <a:pt x="215" y="101"/>
                    <a:pt x="215" y="101"/>
                    <a:pt x="215" y="101"/>
                  </a:cubicBezTo>
                  <a:cubicBezTo>
                    <a:pt x="219" y="101"/>
                    <a:pt x="219" y="101"/>
                    <a:pt x="219" y="101"/>
                  </a:cubicBezTo>
                  <a:cubicBezTo>
                    <a:pt x="219" y="90"/>
                    <a:pt x="219" y="90"/>
                    <a:pt x="219" y="90"/>
                  </a:cubicBezTo>
                  <a:cubicBezTo>
                    <a:pt x="208" y="106"/>
                    <a:pt x="208" y="106"/>
                    <a:pt x="208" y="106"/>
                  </a:cubicBezTo>
                  <a:lnTo>
                    <a:pt x="208" y="111"/>
                  </a:lnTo>
                  <a:close/>
                  <a:moveTo>
                    <a:pt x="117" y="92"/>
                  </a:moveTo>
                  <a:cubicBezTo>
                    <a:pt x="43" y="92"/>
                    <a:pt x="43" y="92"/>
                    <a:pt x="43" y="92"/>
                  </a:cubicBezTo>
                  <a:cubicBezTo>
                    <a:pt x="43" y="102"/>
                    <a:pt x="43" y="102"/>
                    <a:pt x="43" y="102"/>
                  </a:cubicBezTo>
                  <a:cubicBezTo>
                    <a:pt x="117" y="102"/>
                    <a:pt x="117" y="102"/>
                    <a:pt x="117" y="102"/>
                  </a:cubicBezTo>
                  <a:lnTo>
                    <a:pt x="117" y="92"/>
                  </a:lnTo>
                  <a:close/>
                  <a:moveTo>
                    <a:pt x="43" y="235"/>
                  </a:moveTo>
                  <a:cubicBezTo>
                    <a:pt x="117" y="235"/>
                    <a:pt x="117" y="235"/>
                    <a:pt x="117" y="235"/>
                  </a:cubicBezTo>
                  <a:cubicBezTo>
                    <a:pt x="117" y="226"/>
                    <a:pt x="117" y="226"/>
                    <a:pt x="117" y="226"/>
                  </a:cubicBezTo>
                  <a:cubicBezTo>
                    <a:pt x="43" y="226"/>
                    <a:pt x="43" y="226"/>
                    <a:pt x="43" y="226"/>
                  </a:cubicBezTo>
                  <a:lnTo>
                    <a:pt x="43" y="235"/>
                  </a:lnTo>
                  <a:close/>
                  <a:moveTo>
                    <a:pt x="208" y="287"/>
                  </a:moveTo>
                  <a:cubicBezTo>
                    <a:pt x="11" y="287"/>
                    <a:pt x="11" y="287"/>
                    <a:pt x="11" y="287"/>
                  </a:cubicBezTo>
                  <a:cubicBezTo>
                    <a:pt x="11" y="36"/>
                    <a:pt x="11" y="36"/>
                    <a:pt x="11" y="36"/>
                  </a:cubicBezTo>
                  <a:cubicBezTo>
                    <a:pt x="35" y="36"/>
                    <a:pt x="35" y="36"/>
                    <a:pt x="35" y="36"/>
                  </a:cubicBezTo>
                  <a:cubicBezTo>
                    <a:pt x="37" y="31"/>
                    <a:pt x="40" y="26"/>
                    <a:pt x="44" y="22"/>
                  </a:cubicBezTo>
                  <a:cubicBezTo>
                    <a:pt x="0" y="22"/>
                    <a:pt x="0" y="22"/>
                    <a:pt x="0" y="22"/>
                  </a:cubicBezTo>
                  <a:cubicBezTo>
                    <a:pt x="0" y="300"/>
                    <a:pt x="0" y="300"/>
                    <a:pt x="0" y="300"/>
                  </a:cubicBezTo>
                  <a:cubicBezTo>
                    <a:pt x="219" y="300"/>
                    <a:pt x="219" y="300"/>
                    <a:pt x="219" y="300"/>
                  </a:cubicBezTo>
                  <a:cubicBezTo>
                    <a:pt x="219" y="157"/>
                    <a:pt x="219" y="157"/>
                    <a:pt x="219" y="157"/>
                  </a:cubicBezTo>
                  <a:cubicBezTo>
                    <a:pt x="208" y="173"/>
                    <a:pt x="208" y="173"/>
                    <a:pt x="208" y="173"/>
                  </a:cubicBezTo>
                  <a:lnTo>
                    <a:pt x="208" y="287"/>
                  </a:lnTo>
                  <a:close/>
                  <a:moveTo>
                    <a:pt x="117" y="159"/>
                  </a:moveTo>
                  <a:cubicBezTo>
                    <a:pt x="43" y="159"/>
                    <a:pt x="43" y="159"/>
                    <a:pt x="43" y="159"/>
                  </a:cubicBezTo>
                  <a:cubicBezTo>
                    <a:pt x="43" y="169"/>
                    <a:pt x="43" y="169"/>
                    <a:pt x="43" y="169"/>
                  </a:cubicBezTo>
                  <a:cubicBezTo>
                    <a:pt x="117" y="169"/>
                    <a:pt x="117" y="169"/>
                    <a:pt x="117" y="169"/>
                  </a:cubicBezTo>
                  <a:lnTo>
                    <a:pt x="117" y="159"/>
                  </a:lnTo>
                  <a:close/>
                  <a:moveTo>
                    <a:pt x="41" y="36"/>
                  </a:moveTo>
                  <a:cubicBezTo>
                    <a:pt x="43" y="29"/>
                    <a:pt x="50" y="25"/>
                    <a:pt x="57" y="22"/>
                  </a:cubicBezTo>
                  <a:cubicBezTo>
                    <a:pt x="63" y="21"/>
                    <a:pt x="71" y="20"/>
                    <a:pt x="77" y="20"/>
                  </a:cubicBezTo>
                  <a:cubicBezTo>
                    <a:pt x="80" y="20"/>
                    <a:pt x="83" y="20"/>
                    <a:pt x="86" y="20"/>
                  </a:cubicBezTo>
                  <a:cubicBezTo>
                    <a:pt x="87" y="20"/>
                    <a:pt x="88" y="20"/>
                    <a:pt x="89" y="20"/>
                  </a:cubicBezTo>
                  <a:cubicBezTo>
                    <a:pt x="89" y="9"/>
                    <a:pt x="98" y="0"/>
                    <a:pt x="110" y="0"/>
                  </a:cubicBezTo>
                  <a:cubicBezTo>
                    <a:pt x="121" y="0"/>
                    <a:pt x="130" y="9"/>
                    <a:pt x="130" y="20"/>
                  </a:cubicBezTo>
                  <a:cubicBezTo>
                    <a:pt x="131" y="20"/>
                    <a:pt x="132" y="20"/>
                    <a:pt x="133" y="20"/>
                  </a:cubicBezTo>
                  <a:cubicBezTo>
                    <a:pt x="136" y="20"/>
                    <a:pt x="139" y="20"/>
                    <a:pt x="142" y="20"/>
                  </a:cubicBezTo>
                  <a:cubicBezTo>
                    <a:pt x="149" y="20"/>
                    <a:pt x="156" y="21"/>
                    <a:pt x="162" y="22"/>
                  </a:cubicBezTo>
                  <a:cubicBezTo>
                    <a:pt x="170" y="25"/>
                    <a:pt x="176" y="29"/>
                    <a:pt x="178" y="36"/>
                  </a:cubicBezTo>
                  <a:cubicBezTo>
                    <a:pt x="179" y="38"/>
                    <a:pt x="179" y="41"/>
                    <a:pt x="179" y="43"/>
                  </a:cubicBezTo>
                  <a:cubicBezTo>
                    <a:pt x="145" y="43"/>
                    <a:pt x="74" y="43"/>
                    <a:pt x="40" y="43"/>
                  </a:cubicBezTo>
                  <a:cubicBezTo>
                    <a:pt x="40" y="41"/>
                    <a:pt x="41" y="38"/>
                    <a:pt x="41" y="36"/>
                  </a:cubicBezTo>
                  <a:close/>
                  <a:moveTo>
                    <a:pt x="99" y="20"/>
                  </a:moveTo>
                  <a:cubicBezTo>
                    <a:pt x="103" y="20"/>
                    <a:pt x="106" y="20"/>
                    <a:pt x="110" y="20"/>
                  </a:cubicBezTo>
                  <a:cubicBezTo>
                    <a:pt x="113" y="20"/>
                    <a:pt x="116" y="20"/>
                    <a:pt x="120" y="20"/>
                  </a:cubicBezTo>
                  <a:cubicBezTo>
                    <a:pt x="119" y="15"/>
                    <a:pt x="115" y="11"/>
                    <a:pt x="110" y="11"/>
                  </a:cubicBezTo>
                  <a:cubicBezTo>
                    <a:pt x="104" y="11"/>
                    <a:pt x="100" y="15"/>
                    <a:pt x="99" y="20"/>
                  </a:cubicBezTo>
                  <a:close/>
                  <a:moveTo>
                    <a:pt x="190" y="269"/>
                  </a:moveTo>
                  <a:cubicBezTo>
                    <a:pt x="29" y="269"/>
                    <a:pt x="29" y="269"/>
                    <a:pt x="29" y="269"/>
                  </a:cubicBezTo>
                  <a:cubicBezTo>
                    <a:pt x="29" y="59"/>
                    <a:pt x="29" y="59"/>
                    <a:pt x="29" y="59"/>
                  </a:cubicBezTo>
                  <a:cubicBezTo>
                    <a:pt x="190" y="59"/>
                    <a:pt x="190" y="59"/>
                    <a:pt x="190" y="59"/>
                  </a:cubicBezTo>
                  <a:cubicBezTo>
                    <a:pt x="190" y="71"/>
                    <a:pt x="190" y="71"/>
                    <a:pt x="190" y="71"/>
                  </a:cubicBezTo>
                  <a:cubicBezTo>
                    <a:pt x="200" y="57"/>
                    <a:pt x="200" y="57"/>
                    <a:pt x="200" y="57"/>
                  </a:cubicBezTo>
                  <a:cubicBezTo>
                    <a:pt x="200" y="49"/>
                    <a:pt x="200" y="49"/>
                    <a:pt x="200" y="49"/>
                  </a:cubicBezTo>
                  <a:cubicBezTo>
                    <a:pt x="19" y="49"/>
                    <a:pt x="19" y="49"/>
                    <a:pt x="19" y="49"/>
                  </a:cubicBezTo>
                  <a:cubicBezTo>
                    <a:pt x="19" y="278"/>
                    <a:pt x="19" y="278"/>
                    <a:pt x="19" y="278"/>
                  </a:cubicBezTo>
                  <a:cubicBezTo>
                    <a:pt x="200" y="278"/>
                    <a:pt x="200" y="278"/>
                    <a:pt x="200" y="278"/>
                  </a:cubicBezTo>
                  <a:cubicBezTo>
                    <a:pt x="200" y="185"/>
                    <a:pt x="200" y="185"/>
                    <a:pt x="200" y="185"/>
                  </a:cubicBezTo>
                  <a:cubicBezTo>
                    <a:pt x="190" y="199"/>
                    <a:pt x="190" y="199"/>
                    <a:pt x="190" y="199"/>
                  </a:cubicBezTo>
                  <a:lnTo>
                    <a:pt x="190" y="269"/>
                  </a:lnTo>
                  <a:close/>
                  <a:moveTo>
                    <a:pt x="200" y="119"/>
                  </a:moveTo>
                  <a:cubicBezTo>
                    <a:pt x="190" y="133"/>
                    <a:pt x="190" y="133"/>
                    <a:pt x="190" y="133"/>
                  </a:cubicBezTo>
                  <a:cubicBezTo>
                    <a:pt x="190" y="138"/>
                    <a:pt x="190" y="138"/>
                    <a:pt x="190" y="138"/>
                  </a:cubicBezTo>
                  <a:cubicBezTo>
                    <a:pt x="200" y="124"/>
                    <a:pt x="200" y="124"/>
                    <a:pt x="200" y="124"/>
                  </a:cubicBezTo>
                  <a:lnTo>
                    <a:pt x="200" y="119"/>
                  </a:lnTo>
                  <a:close/>
                  <a:moveTo>
                    <a:pt x="215" y="35"/>
                  </a:moveTo>
                  <a:cubicBezTo>
                    <a:pt x="219" y="35"/>
                    <a:pt x="219" y="35"/>
                    <a:pt x="219" y="35"/>
                  </a:cubicBezTo>
                  <a:cubicBezTo>
                    <a:pt x="219" y="22"/>
                    <a:pt x="219" y="22"/>
                    <a:pt x="219" y="22"/>
                  </a:cubicBezTo>
                  <a:cubicBezTo>
                    <a:pt x="175" y="22"/>
                    <a:pt x="175" y="22"/>
                    <a:pt x="175" y="22"/>
                  </a:cubicBezTo>
                  <a:cubicBezTo>
                    <a:pt x="179" y="26"/>
                    <a:pt x="182" y="30"/>
                    <a:pt x="184" y="36"/>
                  </a:cubicBezTo>
                  <a:cubicBezTo>
                    <a:pt x="208" y="36"/>
                    <a:pt x="208" y="36"/>
                    <a:pt x="208" y="36"/>
                  </a:cubicBezTo>
                  <a:cubicBezTo>
                    <a:pt x="208" y="44"/>
                    <a:pt x="208" y="44"/>
                    <a:pt x="208" y="44"/>
                  </a:cubicBezTo>
                  <a:lnTo>
                    <a:pt x="215" y="35"/>
                  </a:lnTo>
                  <a:close/>
                  <a:moveTo>
                    <a:pt x="246" y="41"/>
                  </a:moveTo>
                  <a:cubicBezTo>
                    <a:pt x="182" y="134"/>
                    <a:pt x="182" y="134"/>
                    <a:pt x="182" y="134"/>
                  </a:cubicBezTo>
                  <a:cubicBezTo>
                    <a:pt x="155" y="134"/>
                    <a:pt x="155" y="134"/>
                    <a:pt x="155" y="134"/>
                  </a:cubicBezTo>
                  <a:cubicBezTo>
                    <a:pt x="129" y="92"/>
                    <a:pt x="129" y="92"/>
                    <a:pt x="129" y="92"/>
                  </a:cubicBezTo>
                  <a:cubicBezTo>
                    <a:pt x="156" y="92"/>
                    <a:pt x="156" y="92"/>
                    <a:pt x="156" y="92"/>
                  </a:cubicBezTo>
                  <a:cubicBezTo>
                    <a:pt x="169" y="113"/>
                    <a:pt x="169" y="113"/>
                    <a:pt x="169" y="113"/>
                  </a:cubicBezTo>
                  <a:cubicBezTo>
                    <a:pt x="218" y="41"/>
                    <a:pt x="218" y="41"/>
                    <a:pt x="218" y="41"/>
                  </a:cubicBezTo>
                  <a:lnTo>
                    <a:pt x="246" y="41"/>
                  </a:lnTo>
                  <a:close/>
                  <a:moveTo>
                    <a:pt x="246" y="107"/>
                  </a:moveTo>
                  <a:cubicBezTo>
                    <a:pt x="182" y="201"/>
                    <a:pt x="182" y="201"/>
                    <a:pt x="182" y="201"/>
                  </a:cubicBezTo>
                  <a:cubicBezTo>
                    <a:pt x="155" y="201"/>
                    <a:pt x="155" y="201"/>
                    <a:pt x="155" y="201"/>
                  </a:cubicBezTo>
                  <a:cubicBezTo>
                    <a:pt x="129" y="159"/>
                    <a:pt x="129" y="159"/>
                    <a:pt x="129" y="159"/>
                  </a:cubicBezTo>
                  <a:cubicBezTo>
                    <a:pt x="156" y="159"/>
                    <a:pt x="156" y="159"/>
                    <a:pt x="156" y="159"/>
                  </a:cubicBezTo>
                  <a:cubicBezTo>
                    <a:pt x="169" y="180"/>
                    <a:pt x="169" y="180"/>
                    <a:pt x="169" y="180"/>
                  </a:cubicBezTo>
                  <a:cubicBezTo>
                    <a:pt x="218" y="107"/>
                    <a:pt x="218" y="107"/>
                    <a:pt x="218" y="107"/>
                  </a:cubicBezTo>
                  <a:lnTo>
                    <a:pt x="246" y="107"/>
                  </a:lnTo>
                  <a:close/>
                </a:path>
              </a:pathLst>
            </a:custGeom>
            <a:solidFill>
              <a:srgbClr val="00457B"/>
            </a:solidFill>
            <a:ln>
              <a:noFill/>
            </a:ln>
          </p:spPr>
          <p:txBody>
            <a:bodyPr vert="horz" wrap="square" lIns="61720" tIns="30860" rIns="61720" bIns="30860" numCol="1" anchor="t" anchorCtr="0" compatLnSpc="1">
              <a:prstTxWarp prst="textNoShape">
                <a:avLst/>
              </a:prstTxWarp>
            </a:bodyPr>
            <a:lstStyle/>
            <a:p>
              <a:pPr defTabSz="685775">
                <a:defRPr/>
              </a:pPr>
              <a:endParaRPr lang="en-US" sz="1200">
                <a:solidFill>
                  <a:srgbClr val="505050"/>
                </a:solidFill>
                <a:latin typeface="Segoe UI Semilight"/>
              </a:endParaRPr>
            </a:p>
          </p:txBody>
        </p:sp>
        <p:pic>
          <p:nvPicPr>
            <p:cNvPr id="196" name="Picture 3" descr="\\MAGNUM\Projects\Microsoft\Cloud Power FY12\Design\Icons\PNGs\Scalable_Elastic_4.png">
              <a:extLst>
                <a:ext uri="{FF2B5EF4-FFF2-40B4-BE49-F238E27FC236}">
                  <a16:creationId xmlns:a16="http://schemas.microsoft.com/office/drawing/2014/main" id="{44090BE6-0A16-4CE2-8BB7-D86597DE9E04}"/>
                </a:ext>
              </a:extLst>
            </p:cNvPr>
            <p:cNvPicPr>
              <a:picLocks noChangeAspect="1" noChangeArrowheads="1"/>
            </p:cNvPicPr>
            <p:nvPr/>
          </p:nvPicPr>
          <p:blipFill>
            <a:blip r:embed="rId23" cstate="print">
              <a:extLst>
                <a:ext uri="{BEBA8EAE-BF5A-486C-A8C5-ECC9F3942E4B}">
                  <a14:imgProps xmlns:a14="http://schemas.microsoft.com/office/drawing/2010/main">
                    <a14:imgLayer r:embed="rId24">
                      <a14:imgEffect>
                        <a14:brightnessContrast bright="-40000" contrast="40000"/>
                      </a14:imgEffect>
                    </a14:imgLayer>
                  </a14:imgProps>
                </a:ext>
                <a:ext uri="{28A0092B-C50C-407E-A947-70E740481C1C}">
                  <a14:useLocalDpi xmlns:a14="http://schemas.microsoft.com/office/drawing/2010/main"/>
                </a:ext>
              </a:extLst>
            </a:blip>
            <a:srcRect/>
            <a:stretch>
              <a:fillRect/>
            </a:stretch>
          </p:blipFill>
          <p:spPr bwMode="auto">
            <a:xfrm>
              <a:off x="6740362" y="2390723"/>
              <a:ext cx="452389" cy="452389"/>
            </a:xfrm>
            <a:prstGeom prst="rect">
              <a:avLst/>
            </a:prstGeom>
            <a:noFill/>
          </p:spPr>
        </p:pic>
      </p:grpSp>
      <p:sp>
        <p:nvSpPr>
          <p:cNvPr id="3" name="Rectangle 2">
            <a:extLst>
              <a:ext uri="{FF2B5EF4-FFF2-40B4-BE49-F238E27FC236}">
                <a16:creationId xmlns:a16="http://schemas.microsoft.com/office/drawing/2014/main" id="{0E4E533A-8413-49C7-8C29-27EC133CC39F}"/>
              </a:ext>
            </a:extLst>
          </p:cNvPr>
          <p:cNvSpPr/>
          <p:nvPr/>
        </p:nvSpPr>
        <p:spPr>
          <a:xfrm>
            <a:off x="3054744" y="2441468"/>
            <a:ext cx="849913" cy="230832"/>
          </a:xfrm>
          <a:prstGeom prst="rect">
            <a:avLst/>
          </a:prstGeom>
        </p:spPr>
        <p:txBody>
          <a:bodyPr wrap="none">
            <a:spAutoFit/>
          </a:bodyPr>
          <a:lstStyle/>
          <a:p>
            <a:r>
              <a:rPr lang="en-US" sz="900" b="1" kern="0">
                <a:solidFill>
                  <a:srgbClr val="505050"/>
                </a:solidFill>
                <a:ea typeface="Segoe UI" pitchFamily="34" charset="0"/>
                <a:cs typeface="Segoe UI" pitchFamily="34" charset="0"/>
              </a:rPr>
              <a:t>Customer 360</a:t>
            </a:r>
            <a:endParaRPr lang="en-US" sz="900"/>
          </a:p>
        </p:txBody>
      </p:sp>
      <p:pic>
        <p:nvPicPr>
          <p:cNvPr id="93" name="Linkedin">
            <a:extLst>
              <a:ext uri="{FF2B5EF4-FFF2-40B4-BE49-F238E27FC236}">
                <a16:creationId xmlns:a16="http://schemas.microsoft.com/office/drawing/2014/main" id="{FB86460C-0DF6-4CF0-9CA5-8AEE0C47BBF2}"/>
              </a:ext>
            </a:extLst>
          </p:cNvPr>
          <p:cNvPicPr>
            <a:picLocks noChangeAspect="1"/>
          </p:cNvPicPr>
          <p:nvPr/>
        </p:nvPicPr>
        <p:blipFill>
          <a:blip r:embed="rId25" cstate="print">
            <a:extLst>
              <a:ext uri="{28A0092B-C50C-407E-A947-70E740481C1C}">
                <a14:useLocalDpi xmlns:a14="http://schemas.microsoft.com/office/drawing/2010/main" val="0"/>
              </a:ext>
            </a:extLst>
          </a:blip>
          <a:stretch>
            <a:fillRect/>
          </a:stretch>
        </p:blipFill>
        <p:spPr>
          <a:xfrm>
            <a:off x="966702" y="2095573"/>
            <a:ext cx="542869" cy="134165"/>
          </a:xfrm>
          <a:prstGeom prst="rect">
            <a:avLst/>
          </a:prstGeom>
        </p:spPr>
      </p:pic>
      <p:grpSp>
        <p:nvGrpSpPr>
          <p:cNvPr id="7" name="Group 6">
            <a:extLst>
              <a:ext uri="{FF2B5EF4-FFF2-40B4-BE49-F238E27FC236}">
                <a16:creationId xmlns:a16="http://schemas.microsoft.com/office/drawing/2014/main" id="{ED8BECB9-11E1-466D-B428-DD03A3FFFCF5}"/>
              </a:ext>
            </a:extLst>
          </p:cNvPr>
          <p:cNvGrpSpPr/>
          <p:nvPr/>
        </p:nvGrpSpPr>
        <p:grpSpPr>
          <a:xfrm>
            <a:off x="4446224" y="3294838"/>
            <a:ext cx="270644" cy="189545"/>
            <a:chOff x="4729163" y="2471738"/>
            <a:chExt cx="2733675" cy="1914525"/>
          </a:xfrm>
        </p:grpSpPr>
        <p:pic>
          <p:nvPicPr>
            <p:cNvPr id="8196" name="Picture 4" descr="See the source image">
              <a:extLst>
                <a:ext uri="{FF2B5EF4-FFF2-40B4-BE49-F238E27FC236}">
                  <a16:creationId xmlns:a16="http://schemas.microsoft.com/office/drawing/2014/main" id="{09951257-40DD-4603-8E9D-9FC83BBC81A8}"/>
                </a:ext>
              </a:extLst>
            </p:cNvPr>
            <p:cNvPicPr>
              <a:picLocks noChangeAspect="1" noChangeArrowheads="1"/>
            </p:cNvPicPr>
            <p:nvPr/>
          </p:nvPicPr>
          <p:blipFill>
            <a:blip r:embed="rId26" cstate="print">
              <a:clrChange>
                <a:clrFrom>
                  <a:srgbClr val="FEFEFE"/>
                </a:clrFrom>
                <a:clrTo>
                  <a:srgbClr val="FEFEFE">
                    <a:alpha val="0"/>
                  </a:srgbClr>
                </a:clrTo>
              </a:clrChange>
              <a:extLst>
                <a:ext uri="{28A0092B-C50C-407E-A947-70E740481C1C}">
                  <a14:useLocalDpi xmlns:a14="http://schemas.microsoft.com/office/drawing/2010/main" val="0"/>
                </a:ext>
              </a:extLst>
            </a:blip>
            <a:srcRect/>
            <a:stretch>
              <a:fillRect/>
            </a:stretch>
          </p:blipFill>
          <p:spPr bwMode="auto">
            <a:xfrm>
              <a:off x="4729163" y="2471738"/>
              <a:ext cx="2733675" cy="1914525"/>
            </a:xfrm>
            <a:prstGeom prst="rect">
              <a:avLst/>
            </a:prstGeom>
            <a:noFill/>
            <a:extLst>
              <a:ext uri="{909E8E84-426E-40DD-AFC4-6F175D3DCCD1}">
                <a14:hiddenFill xmlns:a14="http://schemas.microsoft.com/office/drawing/2010/main">
                  <a:solidFill>
                    <a:srgbClr val="FFFFFF"/>
                  </a:solidFill>
                </a14:hiddenFill>
              </a:ext>
            </a:extLst>
          </p:spPr>
        </p:pic>
        <p:sp>
          <p:nvSpPr>
            <p:cNvPr id="5" name="Rectangle 4">
              <a:extLst>
                <a:ext uri="{FF2B5EF4-FFF2-40B4-BE49-F238E27FC236}">
                  <a16:creationId xmlns:a16="http://schemas.microsoft.com/office/drawing/2014/main" id="{1989E32A-4FA3-4D77-BFE6-1FED39B060AD}"/>
                </a:ext>
              </a:extLst>
            </p:cNvPr>
            <p:cNvSpPr/>
            <p:nvPr/>
          </p:nvSpPr>
          <p:spPr bwMode="auto">
            <a:xfrm>
              <a:off x="5090021" y="3118504"/>
              <a:ext cx="2112606" cy="530679"/>
            </a:xfrm>
            <a:prstGeom prst="rect">
              <a:avLst/>
            </a:prstGeom>
            <a:solidFill>
              <a:srgbClr val="03A1E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8" rIns="0" bIns="34978" numCol="1" rtlCol="0" anchor="ctr" anchorCtr="0" compatLnSpc="1">
              <a:prstTxWarp prst="textNoShape">
                <a:avLst/>
              </a:prstTxWarp>
            </a:bodyPr>
            <a:lstStyle/>
            <a:p>
              <a:pPr algn="ctr" defTabSz="699354" fontAlgn="base">
                <a:spcBef>
                  <a:spcPct val="0"/>
                </a:spcBef>
                <a:spcAft>
                  <a:spcPct val="0"/>
                </a:spcAft>
              </a:pPr>
              <a:endParaRPr lang="en-US" sz="1500">
                <a:gradFill>
                  <a:gsLst>
                    <a:gs pos="0">
                      <a:srgbClr val="FFFFFF"/>
                    </a:gs>
                    <a:gs pos="100000">
                      <a:srgbClr val="FFFFFF"/>
                    </a:gs>
                  </a:gsLst>
                  <a:lin ang="5400000" scaled="0"/>
                </a:gradFill>
              </a:endParaRPr>
            </a:p>
          </p:txBody>
        </p:sp>
      </p:grpSp>
      <p:sp>
        <p:nvSpPr>
          <p:cNvPr id="10" name="Freeform 8">
            <a:extLst>
              <a:ext uri="{FF2B5EF4-FFF2-40B4-BE49-F238E27FC236}">
                <a16:creationId xmlns:a16="http://schemas.microsoft.com/office/drawing/2014/main" id="{0B8EA91D-DF25-4050-B7D7-1ED5197C7657}"/>
              </a:ext>
            </a:extLst>
          </p:cNvPr>
          <p:cNvSpPr>
            <a:spLocks noEditPoints="1"/>
          </p:cNvSpPr>
          <p:nvPr/>
        </p:nvSpPr>
        <p:spPr bwMode="auto">
          <a:xfrm>
            <a:off x="2445564" y="1312175"/>
            <a:ext cx="230981" cy="321469"/>
          </a:xfrm>
          <a:custGeom>
            <a:avLst/>
            <a:gdLst>
              <a:gd name="T0" fmla="*/ 458 w 552"/>
              <a:gd name="T1" fmla="*/ 446 h 745"/>
              <a:gd name="T2" fmla="*/ 375 w 552"/>
              <a:gd name="T3" fmla="*/ 326 h 745"/>
              <a:gd name="T4" fmla="*/ 453 w 552"/>
              <a:gd name="T5" fmla="*/ 223 h 745"/>
              <a:gd name="T6" fmla="*/ 398 w 552"/>
              <a:gd name="T7" fmla="*/ 149 h 745"/>
              <a:gd name="T8" fmla="*/ 324 w 552"/>
              <a:gd name="T9" fmla="*/ 111 h 745"/>
              <a:gd name="T10" fmla="*/ 217 w 552"/>
              <a:gd name="T11" fmla="*/ 107 h 745"/>
              <a:gd name="T12" fmla="*/ 159 w 552"/>
              <a:gd name="T13" fmla="*/ 149 h 745"/>
              <a:gd name="T14" fmla="*/ 84 w 552"/>
              <a:gd name="T15" fmla="*/ 272 h 745"/>
              <a:gd name="T16" fmla="*/ 90 w 552"/>
              <a:gd name="T17" fmla="*/ 350 h 745"/>
              <a:gd name="T18" fmla="*/ 189 w 552"/>
              <a:gd name="T19" fmla="*/ 595 h 745"/>
              <a:gd name="T20" fmla="*/ 69 w 552"/>
              <a:gd name="T21" fmla="*/ 416 h 745"/>
              <a:gd name="T22" fmla="*/ 526 w 552"/>
              <a:gd name="T23" fmla="*/ 276 h 745"/>
              <a:gd name="T24" fmla="*/ 326 w 552"/>
              <a:gd name="T25" fmla="*/ 325 h 745"/>
              <a:gd name="T26" fmla="*/ 220 w 552"/>
              <a:gd name="T27" fmla="*/ 399 h 745"/>
              <a:gd name="T28" fmla="*/ 291 w 552"/>
              <a:gd name="T29" fmla="*/ 301 h 745"/>
              <a:gd name="T30" fmla="*/ 319 w 552"/>
              <a:gd name="T31" fmla="*/ 219 h 745"/>
              <a:gd name="T32" fmla="*/ 228 w 552"/>
              <a:gd name="T33" fmla="*/ 313 h 745"/>
              <a:gd name="T34" fmla="*/ 205 w 552"/>
              <a:gd name="T35" fmla="*/ 373 h 745"/>
              <a:gd name="T36" fmla="*/ 139 w 552"/>
              <a:gd name="T37" fmla="*/ 325 h 745"/>
              <a:gd name="T38" fmla="*/ 137 w 552"/>
              <a:gd name="T39" fmla="*/ 301 h 745"/>
              <a:gd name="T40" fmla="*/ 137 w 552"/>
              <a:gd name="T41" fmla="*/ 244 h 745"/>
              <a:gd name="T42" fmla="*/ 243 w 552"/>
              <a:gd name="T43" fmla="*/ 179 h 745"/>
              <a:gd name="T44" fmla="*/ 137 w 552"/>
              <a:gd name="T45" fmla="*/ 219 h 745"/>
              <a:gd name="T46" fmla="*/ 159 w 552"/>
              <a:gd name="T47" fmla="*/ 175 h 745"/>
              <a:gd name="T48" fmla="*/ 196 w 552"/>
              <a:gd name="T49" fmla="*/ 183 h 745"/>
              <a:gd name="T50" fmla="*/ 212 w 552"/>
              <a:gd name="T51" fmla="*/ 133 h 745"/>
              <a:gd name="T52" fmla="*/ 252 w 552"/>
              <a:gd name="T53" fmla="*/ 152 h 745"/>
              <a:gd name="T54" fmla="*/ 281 w 552"/>
              <a:gd name="T55" fmla="*/ 116 h 745"/>
              <a:gd name="T56" fmla="*/ 281 w 552"/>
              <a:gd name="T57" fmla="*/ 168 h 745"/>
              <a:gd name="T58" fmla="*/ 317 w 552"/>
              <a:gd name="T59" fmla="*/ 155 h 745"/>
              <a:gd name="T60" fmla="*/ 351 w 552"/>
              <a:gd name="T61" fmla="*/ 133 h 745"/>
              <a:gd name="T62" fmla="*/ 366 w 552"/>
              <a:gd name="T63" fmla="*/ 183 h 745"/>
              <a:gd name="T64" fmla="*/ 403 w 552"/>
              <a:gd name="T65" fmla="*/ 175 h 745"/>
              <a:gd name="T66" fmla="*/ 382 w 552"/>
              <a:gd name="T67" fmla="*/ 219 h 745"/>
              <a:gd name="T68" fmla="*/ 434 w 552"/>
              <a:gd name="T69" fmla="*/ 244 h 745"/>
              <a:gd name="T70" fmla="*/ 408 w 552"/>
              <a:gd name="T71" fmla="*/ 301 h 745"/>
              <a:gd name="T72" fmla="*/ 183 w 552"/>
              <a:gd name="T73" fmla="*/ 615 h 745"/>
              <a:gd name="T74" fmla="*/ 369 w 552"/>
              <a:gd name="T75" fmla="*/ 678 h 745"/>
              <a:gd name="T76" fmla="*/ 369 w 552"/>
              <a:gd name="T77" fmla="*/ 678 h 745"/>
              <a:gd name="T78" fmla="*/ 183 w 552"/>
              <a:gd name="T79" fmla="*/ 704 h 745"/>
              <a:gd name="T80" fmla="*/ 277 w 552"/>
              <a:gd name="T81" fmla="*/ 0 h 745"/>
              <a:gd name="T82" fmla="*/ 72 w 552"/>
              <a:gd name="T83" fmla="*/ 462 h 745"/>
              <a:gd name="T84" fmla="*/ 163 w 552"/>
              <a:gd name="T85" fmla="*/ 636 h 745"/>
              <a:gd name="T86" fmla="*/ 163 w 552"/>
              <a:gd name="T87" fmla="*/ 662 h 745"/>
              <a:gd name="T88" fmla="*/ 156 w 552"/>
              <a:gd name="T89" fmla="*/ 704 h 745"/>
              <a:gd name="T90" fmla="*/ 376 w 552"/>
              <a:gd name="T91" fmla="*/ 745 h 745"/>
              <a:gd name="T92" fmla="*/ 410 w 552"/>
              <a:gd name="T93" fmla="*/ 691 h 745"/>
              <a:gd name="T94" fmla="*/ 396 w 552"/>
              <a:gd name="T95" fmla="*/ 662 h 745"/>
              <a:gd name="T96" fmla="*/ 389 w 552"/>
              <a:gd name="T97" fmla="*/ 608 h 745"/>
              <a:gd name="T98" fmla="*/ 445 w 552"/>
              <a:gd name="T99" fmla="*/ 500 h 745"/>
              <a:gd name="T100" fmla="*/ 277 w 552"/>
              <a:gd name="T101" fmla="*/ 0 h 7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52" h="745">
                <a:moveTo>
                  <a:pt x="482" y="416"/>
                </a:moveTo>
                <a:lnTo>
                  <a:pt x="482" y="416"/>
                </a:lnTo>
                <a:cubicBezTo>
                  <a:pt x="476" y="426"/>
                  <a:pt x="468" y="436"/>
                  <a:pt x="459" y="445"/>
                </a:cubicBezTo>
                <a:cubicBezTo>
                  <a:pt x="459" y="445"/>
                  <a:pt x="459" y="446"/>
                  <a:pt x="458" y="446"/>
                </a:cubicBezTo>
                <a:cubicBezTo>
                  <a:pt x="449" y="458"/>
                  <a:pt x="438" y="469"/>
                  <a:pt x="426" y="481"/>
                </a:cubicBezTo>
                <a:cubicBezTo>
                  <a:pt x="397" y="510"/>
                  <a:pt x="366" y="540"/>
                  <a:pt x="363" y="595"/>
                </a:cubicBezTo>
                <a:lnTo>
                  <a:pt x="319" y="595"/>
                </a:lnTo>
                <a:lnTo>
                  <a:pt x="375" y="326"/>
                </a:lnTo>
                <a:lnTo>
                  <a:pt x="431" y="326"/>
                </a:lnTo>
                <a:cubicBezTo>
                  <a:pt x="460" y="326"/>
                  <a:pt x="484" y="302"/>
                  <a:pt x="484" y="273"/>
                </a:cubicBezTo>
                <a:lnTo>
                  <a:pt x="484" y="272"/>
                </a:lnTo>
                <a:cubicBezTo>
                  <a:pt x="484" y="250"/>
                  <a:pt x="472" y="232"/>
                  <a:pt x="453" y="223"/>
                </a:cubicBezTo>
                <a:cubicBezTo>
                  <a:pt x="461" y="204"/>
                  <a:pt x="456" y="181"/>
                  <a:pt x="441" y="166"/>
                </a:cubicBezTo>
                <a:lnTo>
                  <a:pt x="441" y="165"/>
                </a:lnTo>
                <a:cubicBezTo>
                  <a:pt x="431" y="155"/>
                  <a:pt x="417" y="149"/>
                  <a:pt x="403" y="149"/>
                </a:cubicBezTo>
                <a:cubicBezTo>
                  <a:pt x="401" y="149"/>
                  <a:pt x="399" y="149"/>
                  <a:pt x="398" y="149"/>
                </a:cubicBezTo>
                <a:cubicBezTo>
                  <a:pt x="393" y="129"/>
                  <a:pt x="377" y="112"/>
                  <a:pt x="356" y="108"/>
                </a:cubicBezTo>
                <a:lnTo>
                  <a:pt x="355" y="108"/>
                </a:lnTo>
                <a:cubicBezTo>
                  <a:pt x="351" y="107"/>
                  <a:pt x="348" y="107"/>
                  <a:pt x="345" y="107"/>
                </a:cubicBezTo>
                <a:cubicBezTo>
                  <a:pt x="338" y="107"/>
                  <a:pt x="331" y="108"/>
                  <a:pt x="324" y="111"/>
                </a:cubicBezTo>
                <a:cubicBezTo>
                  <a:pt x="314" y="98"/>
                  <a:pt x="299" y="91"/>
                  <a:pt x="282" y="91"/>
                </a:cubicBezTo>
                <a:lnTo>
                  <a:pt x="281" y="91"/>
                </a:lnTo>
                <a:cubicBezTo>
                  <a:pt x="265" y="91"/>
                  <a:pt x="249" y="99"/>
                  <a:pt x="239" y="111"/>
                </a:cubicBezTo>
                <a:cubicBezTo>
                  <a:pt x="232" y="108"/>
                  <a:pt x="225" y="107"/>
                  <a:pt x="217" y="107"/>
                </a:cubicBezTo>
                <a:cubicBezTo>
                  <a:pt x="214" y="107"/>
                  <a:pt x="210" y="107"/>
                  <a:pt x="207" y="108"/>
                </a:cubicBezTo>
                <a:lnTo>
                  <a:pt x="206" y="108"/>
                </a:lnTo>
                <a:cubicBezTo>
                  <a:pt x="185" y="112"/>
                  <a:pt x="168" y="129"/>
                  <a:pt x="164" y="149"/>
                </a:cubicBezTo>
                <a:cubicBezTo>
                  <a:pt x="162" y="149"/>
                  <a:pt x="161" y="149"/>
                  <a:pt x="159" y="149"/>
                </a:cubicBezTo>
                <a:cubicBezTo>
                  <a:pt x="145" y="149"/>
                  <a:pt x="131" y="155"/>
                  <a:pt x="121" y="165"/>
                </a:cubicBezTo>
                <a:lnTo>
                  <a:pt x="120" y="166"/>
                </a:lnTo>
                <a:cubicBezTo>
                  <a:pt x="104" y="181"/>
                  <a:pt x="100" y="206"/>
                  <a:pt x="110" y="226"/>
                </a:cubicBezTo>
                <a:cubicBezTo>
                  <a:pt x="94" y="235"/>
                  <a:pt x="84" y="253"/>
                  <a:pt x="84" y="272"/>
                </a:cubicBezTo>
                <a:lnTo>
                  <a:pt x="84" y="273"/>
                </a:lnTo>
                <a:cubicBezTo>
                  <a:pt x="84" y="289"/>
                  <a:pt x="91" y="305"/>
                  <a:pt x="104" y="315"/>
                </a:cubicBezTo>
                <a:cubicBezTo>
                  <a:pt x="95" y="324"/>
                  <a:pt x="90" y="336"/>
                  <a:pt x="90" y="349"/>
                </a:cubicBezTo>
                <a:lnTo>
                  <a:pt x="90" y="350"/>
                </a:lnTo>
                <a:cubicBezTo>
                  <a:pt x="90" y="377"/>
                  <a:pt x="112" y="399"/>
                  <a:pt x="139" y="399"/>
                </a:cubicBezTo>
                <a:lnTo>
                  <a:pt x="193" y="399"/>
                </a:lnTo>
                <a:lnTo>
                  <a:pt x="233" y="595"/>
                </a:lnTo>
                <a:lnTo>
                  <a:pt x="189" y="595"/>
                </a:lnTo>
                <a:cubicBezTo>
                  <a:pt x="185" y="540"/>
                  <a:pt x="155" y="510"/>
                  <a:pt x="125" y="481"/>
                </a:cubicBezTo>
                <a:cubicBezTo>
                  <a:pt x="113" y="469"/>
                  <a:pt x="102" y="458"/>
                  <a:pt x="93" y="446"/>
                </a:cubicBezTo>
                <a:cubicBezTo>
                  <a:pt x="93" y="446"/>
                  <a:pt x="92" y="445"/>
                  <a:pt x="92" y="445"/>
                </a:cubicBezTo>
                <a:cubicBezTo>
                  <a:pt x="84" y="436"/>
                  <a:pt x="76" y="426"/>
                  <a:pt x="69" y="416"/>
                </a:cubicBezTo>
                <a:cubicBezTo>
                  <a:pt x="41" y="374"/>
                  <a:pt x="26" y="326"/>
                  <a:pt x="26" y="276"/>
                </a:cubicBezTo>
                <a:cubicBezTo>
                  <a:pt x="26" y="138"/>
                  <a:pt x="138" y="26"/>
                  <a:pt x="275" y="26"/>
                </a:cubicBezTo>
                <a:cubicBezTo>
                  <a:pt x="275" y="26"/>
                  <a:pt x="276" y="26"/>
                  <a:pt x="276" y="26"/>
                </a:cubicBezTo>
                <a:cubicBezTo>
                  <a:pt x="414" y="26"/>
                  <a:pt x="526" y="138"/>
                  <a:pt x="526" y="276"/>
                </a:cubicBezTo>
                <a:cubicBezTo>
                  <a:pt x="526" y="326"/>
                  <a:pt x="511" y="374"/>
                  <a:pt x="482" y="416"/>
                </a:cubicBezTo>
                <a:close/>
                <a:moveTo>
                  <a:pt x="253" y="399"/>
                </a:moveTo>
                <a:lnTo>
                  <a:pt x="253" y="399"/>
                </a:lnTo>
                <a:cubicBezTo>
                  <a:pt x="293" y="399"/>
                  <a:pt x="326" y="366"/>
                  <a:pt x="326" y="325"/>
                </a:cubicBezTo>
                <a:lnTo>
                  <a:pt x="348" y="325"/>
                </a:lnTo>
                <a:lnTo>
                  <a:pt x="292" y="595"/>
                </a:lnTo>
                <a:lnTo>
                  <a:pt x="260" y="595"/>
                </a:lnTo>
                <a:lnTo>
                  <a:pt x="220" y="399"/>
                </a:lnTo>
                <a:lnTo>
                  <a:pt x="253" y="399"/>
                </a:lnTo>
                <a:close/>
                <a:moveTo>
                  <a:pt x="382" y="301"/>
                </a:moveTo>
                <a:lnTo>
                  <a:pt x="382" y="301"/>
                </a:lnTo>
                <a:lnTo>
                  <a:pt x="291" y="301"/>
                </a:lnTo>
                <a:lnTo>
                  <a:pt x="291" y="272"/>
                </a:lnTo>
                <a:cubicBezTo>
                  <a:pt x="291" y="256"/>
                  <a:pt x="304" y="244"/>
                  <a:pt x="319" y="244"/>
                </a:cubicBezTo>
                <a:cubicBezTo>
                  <a:pt x="326" y="244"/>
                  <a:pt x="331" y="238"/>
                  <a:pt x="331" y="231"/>
                </a:cubicBezTo>
                <a:cubicBezTo>
                  <a:pt x="331" y="225"/>
                  <a:pt x="326" y="219"/>
                  <a:pt x="319" y="219"/>
                </a:cubicBezTo>
                <a:cubicBezTo>
                  <a:pt x="290" y="219"/>
                  <a:pt x="267" y="243"/>
                  <a:pt x="267" y="272"/>
                </a:cubicBezTo>
                <a:lnTo>
                  <a:pt x="267" y="301"/>
                </a:lnTo>
                <a:lnTo>
                  <a:pt x="240" y="301"/>
                </a:lnTo>
                <a:cubicBezTo>
                  <a:pt x="233" y="301"/>
                  <a:pt x="228" y="306"/>
                  <a:pt x="228" y="313"/>
                </a:cubicBezTo>
                <a:cubicBezTo>
                  <a:pt x="228" y="320"/>
                  <a:pt x="233" y="325"/>
                  <a:pt x="240" y="325"/>
                </a:cubicBezTo>
                <a:lnTo>
                  <a:pt x="301" y="325"/>
                </a:lnTo>
                <a:cubicBezTo>
                  <a:pt x="301" y="352"/>
                  <a:pt x="279" y="373"/>
                  <a:pt x="253" y="373"/>
                </a:cubicBezTo>
                <a:lnTo>
                  <a:pt x="205" y="373"/>
                </a:lnTo>
                <a:lnTo>
                  <a:pt x="139" y="373"/>
                </a:lnTo>
                <a:cubicBezTo>
                  <a:pt x="126" y="373"/>
                  <a:pt x="115" y="363"/>
                  <a:pt x="115" y="350"/>
                </a:cubicBezTo>
                <a:lnTo>
                  <a:pt x="115" y="349"/>
                </a:lnTo>
                <a:cubicBezTo>
                  <a:pt x="115" y="336"/>
                  <a:pt x="126" y="325"/>
                  <a:pt x="139" y="325"/>
                </a:cubicBezTo>
                <a:lnTo>
                  <a:pt x="164" y="325"/>
                </a:lnTo>
                <a:cubicBezTo>
                  <a:pt x="171" y="325"/>
                  <a:pt x="176" y="320"/>
                  <a:pt x="176" y="313"/>
                </a:cubicBezTo>
                <a:cubicBezTo>
                  <a:pt x="176" y="306"/>
                  <a:pt x="171" y="301"/>
                  <a:pt x="164" y="301"/>
                </a:cubicBezTo>
                <a:lnTo>
                  <a:pt x="137" y="301"/>
                </a:lnTo>
                <a:cubicBezTo>
                  <a:pt x="121" y="301"/>
                  <a:pt x="109" y="288"/>
                  <a:pt x="109" y="273"/>
                </a:cubicBezTo>
                <a:lnTo>
                  <a:pt x="109" y="272"/>
                </a:lnTo>
                <a:cubicBezTo>
                  <a:pt x="109" y="258"/>
                  <a:pt x="118" y="246"/>
                  <a:pt x="132" y="244"/>
                </a:cubicBezTo>
                <a:cubicBezTo>
                  <a:pt x="134" y="244"/>
                  <a:pt x="135" y="244"/>
                  <a:pt x="137" y="244"/>
                </a:cubicBezTo>
                <a:lnTo>
                  <a:pt x="163" y="244"/>
                </a:lnTo>
                <a:lnTo>
                  <a:pt x="203" y="244"/>
                </a:lnTo>
                <a:cubicBezTo>
                  <a:pt x="232" y="244"/>
                  <a:pt x="255" y="220"/>
                  <a:pt x="255" y="191"/>
                </a:cubicBezTo>
                <a:cubicBezTo>
                  <a:pt x="255" y="185"/>
                  <a:pt x="250" y="179"/>
                  <a:pt x="243" y="179"/>
                </a:cubicBezTo>
                <a:cubicBezTo>
                  <a:pt x="237" y="179"/>
                  <a:pt x="231" y="185"/>
                  <a:pt x="231" y="191"/>
                </a:cubicBezTo>
                <a:cubicBezTo>
                  <a:pt x="231" y="207"/>
                  <a:pt x="219" y="219"/>
                  <a:pt x="203" y="219"/>
                </a:cubicBezTo>
                <a:lnTo>
                  <a:pt x="163" y="219"/>
                </a:lnTo>
                <a:lnTo>
                  <a:pt x="137" y="219"/>
                </a:lnTo>
                <a:cubicBezTo>
                  <a:pt x="136" y="219"/>
                  <a:pt x="136" y="219"/>
                  <a:pt x="135" y="219"/>
                </a:cubicBezTo>
                <a:cubicBezTo>
                  <a:pt x="127" y="208"/>
                  <a:pt x="129" y="193"/>
                  <a:pt x="138" y="183"/>
                </a:cubicBezTo>
                <a:lnTo>
                  <a:pt x="139" y="183"/>
                </a:lnTo>
                <a:cubicBezTo>
                  <a:pt x="144" y="178"/>
                  <a:pt x="151" y="175"/>
                  <a:pt x="159" y="175"/>
                </a:cubicBezTo>
                <a:cubicBezTo>
                  <a:pt x="162" y="175"/>
                  <a:pt x="165" y="175"/>
                  <a:pt x="168" y="176"/>
                </a:cubicBezTo>
                <a:cubicBezTo>
                  <a:pt x="172" y="177"/>
                  <a:pt x="176" y="180"/>
                  <a:pt x="179" y="183"/>
                </a:cubicBezTo>
                <a:cubicBezTo>
                  <a:pt x="181" y="185"/>
                  <a:pt x="184" y="186"/>
                  <a:pt x="187" y="186"/>
                </a:cubicBezTo>
                <a:cubicBezTo>
                  <a:pt x="190" y="186"/>
                  <a:pt x="194" y="185"/>
                  <a:pt x="196" y="183"/>
                </a:cubicBezTo>
                <a:cubicBezTo>
                  <a:pt x="201" y="178"/>
                  <a:pt x="201" y="170"/>
                  <a:pt x="196" y="166"/>
                </a:cubicBezTo>
                <a:cubicBezTo>
                  <a:pt x="193" y="163"/>
                  <a:pt x="191" y="161"/>
                  <a:pt x="188" y="159"/>
                </a:cubicBezTo>
                <a:cubicBezTo>
                  <a:pt x="188" y="146"/>
                  <a:pt x="198" y="135"/>
                  <a:pt x="211" y="133"/>
                </a:cubicBezTo>
                <a:lnTo>
                  <a:pt x="212" y="133"/>
                </a:lnTo>
                <a:cubicBezTo>
                  <a:pt x="213" y="132"/>
                  <a:pt x="215" y="132"/>
                  <a:pt x="217" y="132"/>
                </a:cubicBezTo>
                <a:cubicBezTo>
                  <a:pt x="224" y="132"/>
                  <a:pt x="230" y="135"/>
                  <a:pt x="235" y="139"/>
                </a:cubicBezTo>
                <a:cubicBezTo>
                  <a:pt x="238" y="141"/>
                  <a:pt x="240" y="143"/>
                  <a:pt x="241" y="146"/>
                </a:cubicBezTo>
                <a:cubicBezTo>
                  <a:pt x="243" y="149"/>
                  <a:pt x="247" y="152"/>
                  <a:pt x="252" y="152"/>
                </a:cubicBezTo>
                <a:cubicBezTo>
                  <a:pt x="254" y="152"/>
                  <a:pt x="256" y="151"/>
                  <a:pt x="258" y="150"/>
                </a:cubicBezTo>
                <a:cubicBezTo>
                  <a:pt x="264" y="146"/>
                  <a:pt x="265" y="139"/>
                  <a:pt x="262" y="133"/>
                </a:cubicBezTo>
                <a:cubicBezTo>
                  <a:pt x="261" y="131"/>
                  <a:pt x="260" y="130"/>
                  <a:pt x="258" y="128"/>
                </a:cubicBezTo>
                <a:cubicBezTo>
                  <a:pt x="263" y="120"/>
                  <a:pt x="272" y="116"/>
                  <a:pt x="281" y="116"/>
                </a:cubicBezTo>
                <a:lnTo>
                  <a:pt x="282" y="116"/>
                </a:lnTo>
                <a:cubicBezTo>
                  <a:pt x="291" y="116"/>
                  <a:pt x="299" y="120"/>
                  <a:pt x="304" y="127"/>
                </a:cubicBezTo>
                <a:cubicBezTo>
                  <a:pt x="299" y="134"/>
                  <a:pt x="295" y="142"/>
                  <a:pt x="293" y="150"/>
                </a:cubicBezTo>
                <a:cubicBezTo>
                  <a:pt x="291" y="157"/>
                  <a:pt x="287" y="164"/>
                  <a:pt x="281" y="168"/>
                </a:cubicBezTo>
                <a:cubicBezTo>
                  <a:pt x="275" y="171"/>
                  <a:pt x="273" y="179"/>
                  <a:pt x="277" y="184"/>
                </a:cubicBezTo>
                <a:cubicBezTo>
                  <a:pt x="279" y="188"/>
                  <a:pt x="283" y="190"/>
                  <a:pt x="287" y="190"/>
                </a:cubicBezTo>
                <a:cubicBezTo>
                  <a:pt x="289" y="190"/>
                  <a:pt x="291" y="189"/>
                  <a:pt x="293" y="188"/>
                </a:cubicBezTo>
                <a:cubicBezTo>
                  <a:pt x="305" y="181"/>
                  <a:pt x="314" y="169"/>
                  <a:pt x="317" y="155"/>
                </a:cubicBezTo>
                <a:cubicBezTo>
                  <a:pt x="318" y="148"/>
                  <a:pt x="322" y="143"/>
                  <a:pt x="327" y="138"/>
                </a:cubicBezTo>
                <a:cubicBezTo>
                  <a:pt x="332" y="134"/>
                  <a:pt x="338" y="132"/>
                  <a:pt x="345" y="132"/>
                </a:cubicBezTo>
                <a:cubicBezTo>
                  <a:pt x="346" y="132"/>
                  <a:pt x="348" y="132"/>
                  <a:pt x="350" y="133"/>
                </a:cubicBezTo>
                <a:lnTo>
                  <a:pt x="351" y="133"/>
                </a:lnTo>
                <a:cubicBezTo>
                  <a:pt x="364" y="135"/>
                  <a:pt x="373" y="146"/>
                  <a:pt x="374" y="159"/>
                </a:cubicBezTo>
                <a:cubicBezTo>
                  <a:pt x="371" y="161"/>
                  <a:pt x="368" y="163"/>
                  <a:pt x="366" y="166"/>
                </a:cubicBezTo>
                <a:cubicBezTo>
                  <a:pt x="363" y="168"/>
                  <a:pt x="362" y="171"/>
                  <a:pt x="362" y="174"/>
                </a:cubicBezTo>
                <a:cubicBezTo>
                  <a:pt x="362" y="177"/>
                  <a:pt x="363" y="180"/>
                  <a:pt x="366" y="183"/>
                </a:cubicBezTo>
                <a:cubicBezTo>
                  <a:pt x="368" y="185"/>
                  <a:pt x="371" y="186"/>
                  <a:pt x="374" y="186"/>
                </a:cubicBezTo>
                <a:cubicBezTo>
                  <a:pt x="378" y="186"/>
                  <a:pt x="381" y="185"/>
                  <a:pt x="383" y="183"/>
                </a:cubicBezTo>
                <a:cubicBezTo>
                  <a:pt x="385" y="180"/>
                  <a:pt x="388" y="178"/>
                  <a:pt x="391" y="177"/>
                </a:cubicBezTo>
                <a:cubicBezTo>
                  <a:pt x="395" y="175"/>
                  <a:pt x="399" y="175"/>
                  <a:pt x="403" y="175"/>
                </a:cubicBezTo>
                <a:cubicBezTo>
                  <a:pt x="410" y="175"/>
                  <a:pt x="417" y="178"/>
                  <a:pt x="423" y="183"/>
                </a:cubicBezTo>
                <a:lnTo>
                  <a:pt x="423" y="183"/>
                </a:lnTo>
                <a:cubicBezTo>
                  <a:pt x="433" y="193"/>
                  <a:pt x="434" y="208"/>
                  <a:pt x="427" y="219"/>
                </a:cubicBezTo>
                <a:lnTo>
                  <a:pt x="382" y="219"/>
                </a:lnTo>
                <a:cubicBezTo>
                  <a:pt x="375" y="219"/>
                  <a:pt x="370" y="225"/>
                  <a:pt x="370" y="231"/>
                </a:cubicBezTo>
                <a:cubicBezTo>
                  <a:pt x="370" y="238"/>
                  <a:pt x="375" y="244"/>
                  <a:pt x="382" y="244"/>
                </a:cubicBezTo>
                <a:lnTo>
                  <a:pt x="429" y="244"/>
                </a:lnTo>
                <a:cubicBezTo>
                  <a:pt x="430" y="244"/>
                  <a:pt x="434" y="244"/>
                  <a:pt x="434" y="244"/>
                </a:cubicBezTo>
                <a:cubicBezTo>
                  <a:pt x="448" y="245"/>
                  <a:pt x="459" y="257"/>
                  <a:pt x="459" y="272"/>
                </a:cubicBezTo>
                <a:lnTo>
                  <a:pt x="459" y="273"/>
                </a:lnTo>
                <a:cubicBezTo>
                  <a:pt x="459" y="288"/>
                  <a:pt x="446" y="301"/>
                  <a:pt x="431" y="301"/>
                </a:cubicBezTo>
                <a:lnTo>
                  <a:pt x="408" y="301"/>
                </a:lnTo>
                <a:moveTo>
                  <a:pt x="369" y="636"/>
                </a:moveTo>
                <a:lnTo>
                  <a:pt x="369" y="636"/>
                </a:lnTo>
                <a:lnTo>
                  <a:pt x="183" y="636"/>
                </a:lnTo>
                <a:lnTo>
                  <a:pt x="183" y="615"/>
                </a:lnTo>
                <a:lnTo>
                  <a:pt x="369" y="615"/>
                </a:lnTo>
                <a:lnTo>
                  <a:pt x="369" y="636"/>
                </a:lnTo>
                <a:close/>
                <a:moveTo>
                  <a:pt x="369" y="678"/>
                </a:moveTo>
                <a:lnTo>
                  <a:pt x="369" y="678"/>
                </a:lnTo>
                <a:lnTo>
                  <a:pt x="183" y="678"/>
                </a:lnTo>
                <a:lnTo>
                  <a:pt x="183" y="662"/>
                </a:lnTo>
                <a:lnTo>
                  <a:pt x="369" y="662"/>
                </a:lnTo>
                <a:lnTo>
                  <a:pt x="369" y="678"/>
                </a:lnTo>
                <a:close/>
                <a:moveTo>
                  <a:pt x="369" y="726"/>
                </a:moveTo>
                <a:lnTo>
                  <a:pt x="369" y="726"/>
                </a:lnTo>
                <a:lnTo>
                  <a:pt x="183" y="726"/>
                </a:lnTo>
                <a:lnTo>
                  <a:pt x="183" y="704"/>
                </a:lnTo>
                <a:lnTo>
                  <a:pt x="369" y="704"/>
                </a:lnTo>
                <a:lnTo>
                  <a:pt x="369" y="726"/>
                </a:lnTo>
                <a:close/>
                <a:moveTo>
                  <a:pt x="277" y="0"/>
                </a:moveTo>
                <a:lnTo>
                  <a:pt x="277" y="0"/>
                </a:lnTo>
                <a:cubicBezTo>
                  <a:pt x="277" y="0"/>
                  <a:pt x="276" y="0"/>
                  <a:pt x="276" y="0"/>
                </a:cubicBezTo>
                <a:cubicBezTo>
                  <a:pt x="123" y="0"/>
                  <a:pt x="0" y="123"/>
                  <a:pt x="0" y="276"/>
                </a:cubicBezTo>
                <a:cubicBezTo>
                  <a:pt x="0" y="331"/>
                  <a:pt x="16" y="385"/>
                  <a:pt x="47" y="431"/>
                </a:cubicBezTo>
                <a:cubicBezTo>
                  <a:pt x="55" y="442"/>
                  <a:pt x="63" y="453"/>
                  <a:pt x="72" y="462"/>
                </a:cubicBezTo>
                <a:cubicBezTo>
                  <a:pt x="82" y="476"/>
                  <a:pt x="95" y="488"/>
                  <a:pt x="107" y="499"/>
                </a:cubicBezTo>
                <a:cubicBezTo>
                  <a:pt x="137" y="529"/>
                  <a:pt x="164" y="555"/>
                  <a:pt x="163" y="608"/>
                </a:cubicBezTo>
                <a:lnTo>
                  <a:pt x="163" y="612"/>
                </a:lnTo>
                <a:lnTo>
                  <a:pt x="163" y="636"/>
                </a:lnTo>
                <a:lnTo>
                  <a:pt x="156" y="636"/>
                </a:lnTo>
                <a:cubicBezTo>
                  <a:pt x="148" y="636"/>
                  <a:pt x="142" y="642"/>
                  <a:pt x="142" y="649"/>
                </a:cubicBezTo>
                <a:cubicBezTo>
                  <a:pt x="142" y="657"/>
                  <a:pt x="148" y="662"/>
                  <a:pt x="156" y="662"/>
                </a:cubicBezTo>
                <a:lnTo>
                  <a:pt x="163" y="662"/>
                </a:lnTo>
                <a:lnTo>
                  <a:pt x="163" y="678"/>
                </a:lnTo>
                <a:lnTo>
                  <a:pt x="156" y="678"/>
                </a:lnTo>
                <a:cubicBezTo>
                  <a:pt x="148" y="678"/>
                  <a:pt x="142" y="684"/>
                  <a:pt x="142" y="691"/>
                </a:cubicBezTo>
                <a:cubicBezTo>
                  <a:pt x="142" y="699"/>
                  <a:pt x="148" y="704"/>
                  <a:pt x="156" y="704"/>
                </a:cubicBezTo>
                <a:lnTo>
                  <a:pt x="163" y="704"/>
                </a:lnTo>
                <a:lnTo>
                  <a:pt x="163" y="732"/>
                </a:lnTo>
                <a:cubicBezTo>
                  <a:pt x="163" y="740"/>
                  <a:pt x="169" y="745"/>
                  <a:pt x="176" y="745"/>
                </a:cubicBezTo>
                <a:lnTo>
                  <a:pt x="376" y="745"/>
                </a:lnTo>
                <a:cubicBezTo>
                  <a:pt x="383" y="745"/>
                  <a:pt x="389" y="740"/>
                  <a:pt x="389" y="732"/>
                </a:cubicBezTo>
                <a:lnTo>
                  <a:pt x="389" y="704"/>
                </a:lnTo>
                <a:lnTo>
                  <a:pt x="396" y="704"/>
                </a:lnTo>
                <a:cubicBezTo>
                  <a:pt x="404" y="704"/>
                  <a:pt x="410" y="699"/>
                  <a:pt x="410" y="691"/>
                </a:cubicBezTo>
                <a:cubicBezTo>
                  <a:pt x="410" y="684"/>
                  <a:pt x="404" y="678"/>
                  <a:pt x="396" y="678"/>
                </a:cubicBezTo>
                <a:lnTo>
                  <a:pt x="389" y="678"/>
                </a:lnTo>
                <a:lnTo>
                  <a:pt x="389" y="662"/>
                </a:lnTo>
                <a:lnTo>
                  <a:pt x="396" y="662"/>
                </a:lnTo>
                <a:cubicBezTo>
                  <a:pt x="404" y="662"/>
                  <a:pt x="410" y="657"/>
                  <a:pt x="410" y="649"/>
                </a:cubicBezTo>
                <a:cubicBezTo>
                  <a:pt x="410" y="642"/>
                  <a:pt x="404" y="636"/>
                  <a:pt x="396" y="636"/>
                </a:cubicBezTo>
                <a:lnTo>
                  <a:pt x="389" y="636"/>
                </a:lnTo>
                <a:lnTo>
                  <a:pt x="389" y="608"/>
                </a:lnTo>
                <a:lnTo>
                  <a:pt x="389" y="608"/>
                </a:lnTo>
                <a:lnTo>
                  <a:pt x="389" y="607"/>
                </a:lnTo>
                <a:lnTo>
                  <a:pt x="389" y="607"/>
                </a:lnTo>
                <a:cubicBezTo>
                  <a:pt x="388" y="555"/>
                  <a:pt x="414" y="529"/>
                  <a:pt x="445" y="500"/>
                </a:cubicBezTo>
                <a:cubicBezTo>
                  <a:pt x="457" y="488"/>
                  <a:pt x="469" y="476"/>
                  <a:pt x="479" y="462"/>
                </a:cubicBezTo>
                <a:cubicBezTo>
                  <a:pt x="488" y="452"/>
                  <a:pt x="497" y="442"/>
                  <a:pt x="504" y="431"/>
                </a:cubicBezTo>
                <a:cubicBezTo>
                  <a:pt x="535" y="385"/>
                  <a:pt x="552" y="331"/>
                  <a:pt x="552" y="276"/>
                </a:cubicBezTo>
                <a:cubicBezTo>
                  <a:pt x="552" y="124"/>
                  <a:pt x="429" y="1"/>
                  <a:pt x="277" y="0"/>
                </a:cubicBezTo>
                <a:close/>
              </a:path>
            </a:pathLst>
          </a:custGeom>
          <a:solidFill>
            <a:srgbClr val="7F7F7F"/>
          </a:solidFill>
          <a:ln w="0">
            <a:solidFill>
              <a:srgbClr val="000000"/>
            </a:solidFill>
            <a:prstDash val="solid"/>
            <a:round/>
            <a:headEnd/>
            <a:tailEnd/>
          </a:ln>
        </p:spPr>
        <p:txBody>
          <a:bodyPr vert="horz" wrap="square" lIns="68580" tIns="34290" rIns="68580" bIns="34290" numCol="1" anchor="t" anchorCtr="0" compatLnSpc="1">
            <a:prstTxWarp prst="textNoShape">
              <a:avLst/>
            </a:prstTxWarp>
          </a:bodyPr>
          <a:lstStyle/>
          <a:p>
            <a:endParaRPr lang="en-US" sz="1350"/>
          </a:p>
        </p:txBody>
      </p:sp>
    </p:spTree>
    <p:extLst>
      <p:ext uri="{BB962C8B-B14F-4D97-AF65-F5344CB8AC3E}">
        <p14:creationId xmlns:p14="http://schemas.microsoft.com/office/powerpoint/2010/main" val="15537643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A4AC5506-6312-4701-8D3C-40187889A94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488814"/>
            <a:ext cx="9144000" cy="552413"/>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EF402571-4E11-4E97-BA04-0784906E5779}"/>
              </a:ext>
            </a:extLst>
          </p:cNvPr>
          <p:cNvSpPr>
            <a:spLocks noGrp="1"/>
          </p:cNvSpPr>
          <p:nvPr>
            <p:ph type="title"/>
          </p:nvPr>
        </p:nvSpPr>
        <p:spPr>
          <a:xfrm>
            <a:off x="417399" y="482600"/>
            <a:ext cx="8408193" cy="558627"/>
          </a:xfrm>
        </p:spPr>
        <p:txBody>
          <a:bodyPr vert="horz" lIns="91440" tIns="45720" rIns="91440" bIns="45720" rtlCol="0" anchor="ctr">
            <a:normAutofit/>
          </a:bodyPr>
          <a:lstStyle/>
          <a:p>
            <a:pPr>
              <a:lnSpc>
                <a:spcPct val="90000"/>
              </a:lnSpc>
            </a:pPr>
            <a:r>
              <a:rPr lang="en-US" sz="2400" kern="1200">
                <a:solidFill>
                  <a:schemeClr val="bg1"/>
                </a:solidFill>
                <a:latin typeface="+mj-lt"/>
                <a:ea typeface="+mj-ea"/>
                <a:cs typeface="+mj-cs"/>
              </a:rPr>
              <a:t>Don’t be overwhelmed</a:t>
            </a:r>
          </a:p>
        </p:txBody>
      </p:sp>
      <p:pic>
        <p:nvPicPr>
          <p:cNvPr id="10" name="Picture 9" descr="A picture containing animal, laying, small, lying&#10;&#10;Description automatically generated">
            <a:extLst>
              <a:ext uri="{FF2B5EF4-FFF2-40B4-BE49-F238E27FC236}">
                <a16:creationId xmlns:a16="http://schemas.microsoft.com/office/drawing/2014/main" id="{95071F1F-C1E3-45C9-8E48-8053AA0E3068}"/>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832225" y="1256419"/>
            <a:ext cx="5479550" cy="3657600"/>
          </a:xfrm>
          <a:prstGeom prst="rect">
            <a:avLst/>
          </a:prstGeom>
        </p:spPr>
      </p:pic>
    </p:spTree>
    <p:extLst>
      <p:ext uri="{BB962C8B-B14F-4D97-AF65-F5344CB8AC3E}">
        <p14:creationId xmlns:p14="http://schemas.microsoft.com/office/powerpoint/2010/main" val="84873602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A4AC5506-6312-4701-8D3C-40187889A94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488814"/>
            <a:ext cx="9144000" cy="552413"/>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a:xfrm>
            <a:off x="417399" y="482600"/>
            <a:ext cx="8408193" cy="558627"/>
          </a:xfrm>
        </p:spPr>
        <p:txBody>
          <a:bodyPr vert="horz" lIns="91440" tIns="45720" rIns="91440" bIns="45720" rtlCol="0" anchor="ctr">
            <a:normAutofit/>
          </a:bodyPr>
          <a:lstStyle/>
          <a:p>
            <a:pPr>
              <a:lnSpc>
                <a:spcPct val="90000"/>
              </a:lnSpc>
            </a:pPr>
            <a:r>
              <a:rPr lang="en-US" sz="2400" kern="1200">
                <a:solidFill>
                  <a:schemeClr val="bg1"/>
                </a:solidFill>
                <a:latin typeface="+mj-lt"/>
                <a:ea typeface="+mj-ea"/>
                <a:cs typeface="+mj-cs"/>
              </a:rPr>
              <a:t>Certification as a Guide</a:t>
            </a:r>
          </a:p>
        </p:txBody>
      </p:sp>
      <p:pic>
        <p:nvPicPr>
          <p:cNvPr id="4" name="Picture 3"/>
          <p:cNvPicPr>
            <a:picLocks noChangeAspect="1"/>
          </p:cNvPicPr>
          <p:nvPr/>
        </p:nvPicPr>
        <p:blipFill>
          <a:blip r:embed="rId2"/>
          <a:stretch>
            <a:fillRect/>
          </a:stretch>
        </p:blipFill>
        <p:spPr>
          <a:xfrm>
            <a:off x="1987124" y="1256419"/>
            <a:ext cx="5169753" cy="3657600"/>
          </a:xfrm>
          <a:prstGeom prst="rect">
            <a:avLst/>
          </a:prstGeom>
        </p:spPr>
      </p:pic>
    </p:spTree>
    <p:extLst>
      <p:ext uri="{BB962C8B-B14F-4D97-AF65-F5344CB8AC3E}">
        <p14:creationId xmlns:p14="http://schemas.microsoft.com/office/powerpoint/2010/main" val="1601116655"/>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A4AC5506-6312-4701-8D3C-40187889A94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488814"/>
            <a:ext cx="9144000" cy="552413"/>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a:xfrm>
            <a:off x="417399" y="482600"/>
            <a:ext cx="8408193" cy="558627"/>
          </a:xfrm>
        </p:spPr>
        <p:txBody>
          <a:bodyPr vert="horz" lIns="91440" tIns="45720" rIns="91440" bIns="45720" rtlCol="0" anchor="ctr">
            <a:normAutofit/>
          </a:bodyPr>
          <a:lstStyle/>
          <a:p>
            <a:pPr>
              <a:lnSpc>
                <a:spcPct val="90000"/>
              </a:lnSpc>
            </a:pPr>
            <a:r>
              <a:rPr lang="en-US" sz="2400" kern="1200">
                <a:solidFill>
                  <a:schemeClr val="bg1"/>
                </a:solidFill>
                <a:latin typeface="+mj-lt"/>
                <a:ea typeface="+mj-ea"/>
                <a:cs typeface="+mj-cs"/>
              </a:rPr>
              <a:t>Sample Learning Plan</a:t>
            </a:r>
          </a:p>
        </p:txBody>
      </p:sp>
      <p:pic>
        <p:nvPicPr>
          <p:cNvPr id="4" name="Picture 3"/>
          <p:cNvPicPr>
            <a:picLocks noChangeAspect="1"/>
          </p:cNvPicPr>
          <p:nvPr/>
        </p:nvPicPr>
        <p:blipFill>
          <a:blip r:embed="rId2"/>
          <a:stretch>
            <a:fillRect/>
          </a:stretch>
        </p:blipFill>
        <p:spPr>
          <a:xfrm>
            <a:off x="2189199" y="1256419"/>
            <a:ext cx="4765602" cy="3657600"/>
          </a:xfrm>
          <a:prstGeom prst="rect">
            <a:avLst/>
          </a:prstGeom>
        </p:spPr>
      </p:pic>
    </p:spTree>
    <p:extLst>
      <p:ext uri="{BB962C8B-B14F-4D97-AF65-F5344CB8AC3E}">
        <p14:creationId xmlns:p14="http://schemas.microsoft.com/office/powerpoint/2010/main" val="288717108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 name="Freeform: Shape 9">
            <a:extLst>
              <a:ext uri="{FF2B5EF4-FFF2-40B4-BE49-F238E27FC236}">
                <a16:creationId xmlns:a16="http://schemas.microsoft.com/office/drawing/2014/main" id="{46C2E80F-49A6-4372-B103-219D417A55E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63072" y="353193"/>
            <a:ext cx="3285756" cy="4419078"/>
          </a:xfrm>
          <a:custGeom>
            <a:avLst/>
            <a:gdLst>
              <a:gd name="connsiteX0" fmla="*/ 0 w 4381009"/>
              <a:gd name="connsiteY0" fmla="*/ 0 h 5892104"/>
              <a:gd name="connsiteX1" fmla="*/ 4157628 w 4381009"/>
              <a:gd name="connsiteY1" fmla="*/ 0 h 5892104"/>
              <a:gd name="connsiteX2" fmla="*/ 4169302 w 4381009"/>
              <a:gd name="connsiteY2" fmla="*/ 68659 h 5892104"/>
              <a:gd name="connsiteX3" fmla="*/ 4191571 w 4381009"/>
              <a:gd name="connsiteY3" fmla="*/ 205472 h 5892104"/>
              <a:gd name="connsiteX4" fmla="*/ 4213368 w 4381009"/>
              <a:gd name="connsiteY4" fmla="*/ 342890 h 5892104"/>
              <a:gd name="connsiteX5" fmla="*/ 4232030 w 4381009"/>
              <a:gd name="connsiteY5" fmla="*/ 480913 h 5892104"/>
              <a:gd name="connsiteX6" fmla="*/ 4250848 w 4381009"/>
              <a:gd name="connsiteY6" fmla="*/ 618332 h 5892104"/>
              <a:gd name="connsiteX7" fmla="*/ 4268412 w 4381009"/>
              <a:gd name="connsiteY7" fmla="*/ 756355 h 5892104"/>
              <a:gd name="connsiteX8" fmla="*/ 4283467 w 4381009"/>
              <a:gd name="connsiteY8" fmla="*/ 892563 h 5892104"/>
              <a:gd name="connsiteX9" fmla="*/ 4297737 w 4381009"/>
              <a:gd name="connsiteY9" fmla="*/ 1030587 h 5892104"/>
              <a:gd name="connsiteX10" fmla="*/ 4310754 w 4381009"/>
              <a:gd name="connsiteY10" fmla="*/ 1168005 h 5892104"/>
              <a:gd name="connsiteX11" fmla="*/ 4322045 w 4381009"/>
              <a:gd name="connsiteY11" fmla="*/ 1303002 h 5892104"/>
              <a:gd name="connsiteX12" fmla="*/ 4333336 w 4381009"/>
              <a:gd name="connsiteY12" fmla="*/ 1439815 h 5892104"/>
              <a:gd name="connsiteX13" fmla="*/ 4342745 w 4381009"/>
              <a:gd name="connsiteY13" fmla="*/ 1574812 h 5892104"/>
              <a:gd name="connsiteX14" fmla="*/ 4350115 w 4381009"/>
              <a:gd name="connsiteY14" fmla="*/ 1709808 h 5892104"/>
              <a:gd name="connsiteX15" fmla="*/ 4357799 w 4381009"/>
              <a:gd name="connsiteY15" fmla="*/ 1844200 h 5892104"/>
              <a:gd name="connsiteX16" fmla="*/ 4364229 w 4381009"/>
              <a:gd name="connsiteY16" fmla="*/ 1977381 h 5892104"/>
              <a:gd name="connsiteX17" fmla="*/ 4368777 w 4381009"/>
              <a:gd name="connsiteY17" fmla="*/ 2109351 h 5892104"/>
              <a:gd name="connsiteX18" fmla="*/ 4372697 w 4381009"/>
              <a:gd name="connsiteY18" fmla="*/ 2241321 h 5892104"/>
              <a:gd name="connsiteX19" fmla="*/ 4376461 w 4381009"/>
              <a:gd name="connsiteY19" fmla="*/ 2372080 h 5892104"/>
              <a:gd name="connsiteX20" fmla="*/ 4378186 w 4381009"/>
              <a:gd name="connsiteY20" fmla="*/ 2501023 h 5892104"/>
              <a:gd name="connsiteX21" fmla="*/ 4380068 w 4381009"/>
              <a:gd name="connsiteY21" fmla="*/ 2629966 h 5892104"/>
              <a:gd name="connsiteX22" fmla="*/ 4381009 w 4381009"/>
              <a:gd name="connsiteY22" fmla="*/ 2757093 h 5892104"/>
              <a:gd name="connsiteX23" fmla="*/ 4380068 w 4381009"/>
              <a:gd name="connsiteY23" fmla="*/ 2883010 h 5892104"/>
              <a:gd name="connsiteX24" fmla="*/ 4380068 w 4381009"/>
              <a:gd name="connsiteY24" fmla="*/ 3007715 h 5892104"/>
              <a:gd name="connsiteX25" fmla="*/ 4378186 w 4381009"/>
              <a:gd name="connsiteY25" fmla="*/ 3131210 h 5892104"/>
              <a:gd name="connsiteX26" fmla="*/ 4375363 w 4381009"/>
              <a:gd name="connsiteY26" fmla="*/ 3252283 h 5892104"/>
              <a:gd name="connsiteX27" fmla="*/ 4372697 w 4381009"/>
              <a:gd name="connsiteY27" fmla="*/ 3372146 h 5892104"/>
              <a:gd name="connsiteX28" fmla="*/ 4369718 w 4381009"/>
              <a:gd name="connsiteY28" fmla="*/ 3489587 h 5892104"/>
              <a:gd name="connsiteX29" fmla="*/ 4365170 w 4381009"/>
              <a:gd name="connsiteY29" fmla="*/ 3606423 h 5892104"/>
              <a:gd name="connsiteX30" fmla="*/ 4360309 w 4381009"/>
              <a:gd name="connsiteY30" fmla="*/ 3721443 h 5892104"/>
              <a:gd name="connsiteX31" fmla="*/ 4355918 w 4381009"/>
              <a:gd name="connsiteY31" fmla="*/ 3834041 h 5892104"/>
              <a:gd name="connsiteX32" fmla="*/ 4343529 w 4381009"/>
              <a:gd name="connsiteY32" fmla="*/ 4053789 h 5892104"/>
              <a:gd name="connsiteX33" fmla="*/ 4330356 w 4381009"/>
              <a:gd name="connsiteY33" fmla="*/ 4264457 h 5892104"/>
              <a:gd name="connsiteX34" fmla="*/ 4316556 w 4381009"/>
              <a:gd name="connsiteY34" fmla="*/ 4466650 h 5892104"/>
              <a:gd name="connsiteX35" fmla="*/ 4301344 w 4381009"/>
              <a:gd name="connsiteY35" fmla="*/ 4657946 h 5892104"/>
              <a:gd name="connsiteX36" fmla="*/ 4285506 w 4381009"/>
              <a:gd name="connsiteY36" fmla="*/ 4840767 h 5892104"/>
              <a:gd name="connsiteX37" fmla="*/ 4268412 w 4381009"/>
              <a:gd name="connsiteY37" fmla="*/ 5010269 h 5892104"/>
              <a:gd name="connsiteX38" fmla="*/ 4251633 w 4381009"/>
              <a:gd name="connsiteY38" fmla="*/ 5169481 h 5892104"/>
              <a:gd name="connsiteX39" fmla="*/ 4234853 w 4381009"/>
              <a:gd name="connsiteY39" fmla="*/ 5315980 h 5892104"/>
              <a:gd name="connsiteX40" fmla="*/ 4219014 w 4381009"/>
              <a:gd name="connsiteY40" fmla="*/ 5450371 h 5892104"/>
              <a:gd name="connsiteX41" fmla="*/ 4203959 w 4381009"/>
              <a:gd name="connsiteY41" fmla="*/ 5569628 h 5892104"/>
              <a:gd name="connsiteX42" fmla="*/ 4189689 w 4381009"/>
              <a:gd name="connsiteY42" fmla="*/ 5677384 h 5892104"/>
              <a:gd name="connsiteX43" fmla="*/ 4177770 w 4381009"/>
              <a:gd name="connsiteY43" fmla="*/ 5768189 h 5892104"/>
              <a:gd name="connsiteX44" fmla="*/ 4166479 w 4381009"/>
              <a:gd name="connsiteY44" fmla="*/ 5844465 h 5892104"/>
              <a:gd name="connsiteX45" fmla="*/ 4159132 w 4381009"/>
              <a:gd name="connsiteY45" fmla="*/ 5892104 h 5892104"/>
              <a:gd name="connsiteX46" fmla="*/ 0 w 4381009"/>
              <a:gd name="connsiteY46" fmla="*/ 5892104 h 5892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4381009" h="5892104">
                <a:moveTo>
                  <a:pt x="0" y="0"/>
                </a:moveTo>
                <a:lnTo>
                  <a:pt x="4157628" y="0"/>
                </a:lnTo>
                <a:lnTo>
                  <a:pt x="4169302" y="68659"/>
                </a:lnTo>
                <a:lnTo>
                  <a:pt x="4191571" y="205472"/>
                </a:lnTo>
                <a:lnTo>
                  <a:pt x="4213368" y="342890"/>
                </a:lnTo>
                <a:lnTo>
                  <a:pt x="4232030" y="480913"/>
                </a:lnTo>
                <a:lnTo>
                  <a:pt x="4250848" y="618332"/>
                </a:lnTo>
                <a:lnTo>
                  <a:pt x="4268412" y="756355"/>
                </a:lnTo>
                <a:lnTo>
                  <a:pt x="4283467" y="892563"/>
                </a:lnTo>
                <a:lnTo>
                  <a:pt x="4297737" y="1030587"/>
                </a:lnTo>
                <a:lnTo>
                  <a:pt x="4310754" y="1168005"/>
                </a:lnTo>
                <a:lnTo>
                  <a:pt x="4322045" y="1303002"/>
                </a:lnTo>
                <a:lnTo>
                  <a:pt x="4333336" y="1439815"/>
                </a:lnTo>
                <a:lnTo>
                  <a:pt x="4342745" y="1574812"/>
                </a:lnTo>
                <a:lnTo>
                  <a:pt x="4350115" y="1709808"/>
                </a:lnTo>
                <a:lnTo>
                  <a:pt x="4357799" y="1844200"/>
                </a:lnTo>
                <a:lnTo>
                  <a:pt x="4364229" y="1977381"/>
                </a:lnTo>
                <a:lnTo>
                  <a:pt x="4368777" y="2109351"/>
                </a:lnTo>
                <a:lnTo>
                  <a:pt x="4372697" y="2241321"/>
                </a:lnTo>
                <a:lnTo>
                  <a:pt x="4376461" y="2372080"/>
                </a:lnTo>
                <a:lnTo>
                  <a:pt x="4378186" y="2501023"/>
                </a:lnTo>
                <a:lnTo>
                  <a:pt x="4380068" y="2629966"/>
                </a:lnTo>
                <a:lnTo>
                  <a:pt x="4381009" y="2757093"/>
                </a:lnTo>
                <a:lnTo>
                  <a:pt x="4380068" y="2883010"/>
                </a:lnTo>
                <a:lnTo>
                  <a:pt x="4380068" y="3007715"/>
                </a:lnTo>
                <a:lnTo>
                  <a:pt x="4378186" y="3131210"/>
                </a:lnTo>
                <a:lnTo>
                  <a:pt x="4375363" y="3252283"/>
                </a:lnTo>
                <a:lnTo>
                  <a:pt x="4372697" y="3372146"/>
                </a:lnTo>
                <a:lnTo>
                  <a:pt x="4369718" y="3489587"/>
                </a:lnTo>
                <a:lnTo>
                  <a:pt x="4365170" y="3606423"/>
                </a:lnTo>
                <a:lnTo>
                  <a:pt x="4360309" y="3721443"/>
                </a:lnTo>
                <a:lnTo>
                  <a:pt x="4355918" y="3834041"/>
                </a:lnTo>
                <a:lnTo>
                  <a:pt x="4343529" y="4053789"/>
                </a:lnTo>
                <a:lnTo>
                  <a:pt x="4330356" y="4264457"/>
                </a:lnTo>
                <a:lnTo>
                  <a:pt x="4316556" y="4466650"/>
                </a:lnTo>
                <a:lnTo>
                  <a:pt x="4301344" y="4657946"/>
                </a:lnTo>
                <a:lnTo>
                  <a:pt x="4285506" y="4840767"/>
                </a:lnTo>
                <a:lnTo>
                  <a:pt x="4268412" y="5010269"/>
                </a:lnTo>
                <a:lnTo>
                  <a:pt x="4251633" y="5169481"/>
                </a:lnTo>
                <a:lnTo>
                  <a:pt x="4234853" y="5315980"/>
                </a:lnTo>
                <a:lnTo>
                  <a:pt x="4219014" y="5450371"/>
                </a:lnTo>
                <a:lnTo>
                  <a:pt x="4203959" y="5569628"/>
                </a:lnTo>
                <a:lnTo>
                  <a:pt x="4189689" y="5677384"/>
                </a:lnTo>
                <a:lnTo>
                  <a:pt x="4177770" y="5768189"/>
                </a:lnTo>
                <a:lnTo>
                  <a:pt x="4166479" y="5844465"/>
                </a:lnTo>
                <a:lnTo>
                  <a:pt x="4159132" y="5892104"/>
                </a:lnTo>
                <a:lnTo>
                  <a:pt x="0" y="5892104"/>
                </a:lnTo>
                <a:close/>
              </a:path>
            </a:pathLst>
          </a:custGeom>
          <a:solidFill>
            <a:srgbClr val="40404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AAC88B0D-8BDB-466F-9BEE-33B58BBCA1DE}"/>
              </a:ext>
            </a:extLst>
          </p:cNvPr>
          <p:cNvSpPr>
            <a:spLocks noGrp="1"/>
          </p:cNvSpPr>
          <p:nvPr>
            <p:ph type="title"/>
          </p:nvPr>
        </p:nvSpPr>
        <p:spPr>
          <a:xfrm>
            <a:off x="647271" y="759003"/>
            <a:ext cx="2562119" cy="3596556"/>
          </a:xfrm>
        </p:spPr>
        <p:txBody>
          <a:bodyPr>
            <a:normAutofit/>
          </a:bodyPr>
          <a:lstStyle/>
          <a:p>
            <a:r>
              <a:rPr lang="en-US">
                <a:solidFill>
                  <a:srgbClr val="FFFFFF"/>
                </a:solidFill>
              </a:rPr>
              <a:t>Dynamics 365 Training</a:t>
            </a:r>
          </a:p>
        </p:txBody>
      </p:sp>
      <p:graphicFrame>
        <p:nvGraphicFramePr>
          <p:cNvPr id="5" name="Content Placeholder 2">
            <a:extLst>
              <a:ext uri="{FF2B5EF4-FFF2-40B4-BE49-F238E27FC236}">
                <a16:creationId xmlns:a16="http://schemas.microsoft.com/office/drawing/2014/main" id="{9CDE08F1-4A2B-412F-A01D-6EC0C1BB5390}"/>
              </a:ext>
            </a:extLst>
          </p:cNvPr>
          <p:cNvGraphicFramePr>
            <a:graphicFrameLocks noGrp="1"/>
          </p:cNvGraphicFramePr>
          <p:nvPr>
            <p:ph idx="1"/>
            <p:extLst>
              <p:ext uri="{D42A27DB-BD31-4B8C-83A1-F6EECF244321}">
                <p14:modId xmlns:p14="http://schemas.microsoft.com/office/powerpoint/2010/main" val="552117173"/>
              </p:ext>
            </p:extLst>
          </p:nvPr>
        </p:nvGraphicFramePr>
        <p:xfrm>
          <a:off x="3895725" y="353193"/>
          <a:ext cx="4885203" cy="4414069"/>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597601277"/>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A4AC5506-6312-4701-8D3C-40187889A94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488814"/>
            <a:ext cx="9144000" cy="552413"/>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a:xfrm>
            <a:off x="417399" y="482600"/>
            <a:ext cx="8408193" cy="558627"/>
          </a:xfrm>
        </p:spPr>
        <p:txBody>
          <a:bodyPr vert="horz" lIns="91440" tIns="45720" rIns="91440" bIns="45720" rtlCol="0" anchor="ctr">
            <a:normAutofit/>
          </a:bodyPr>
          <a:lstStyle/>
          <a:p>
            <a:pPr>
              <a:lnSpc>
                <a:spcPct val="90000"/>
              </a:lnSpc>
            </a:pPr>
            <a:r>
              <a:rPr lang="en-US" sz="2400" dirty="0">
                <a:solidFill>
                  <a:schemeClr val="bg1"/>
                </a:solidFill>
              </a:rPr>
              <a:t>And Don’t Forget…</a:t>
            </a:r>
            <a:endParaRPr lang="en-US" sz="2400" kern="1200" dirty="0">
              <a:solidFill>
                <a:schemeClr val="bg1"/>
              </a:solidFill>
              <a:latin typeface="+mj-lt"/>
              <a:ea typeface="+mj-ea"/>
              <a:cs typeface="+mj-cs"/>
            </a:endParaRPr>
          </a:p>
        </p:txBody>
      </p:sp>
      <p:pic>
        <p:nvPicPr>
          <p:cNvPr id="5" name="Content Placeholder 3">
            <a:extLst>
              <a:ext uri="{FF2B5EF4-FFF2-40B4-BE49-F238E27FC236}">
                <a16:creationId xmlns:a16="http://schemas.microsoft.com/office/drawing/2014/main" id="{17E84B69-60AD-4CB0-99A4-D2A834FE4254}"/>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1828801" y="1200150"/>
            <a:ext cx="5486399" cy="3657600"/>
          </a:xfrm>
        </p:spPr>
      </p:pic>
    </p:spTree>
    <p:extLst>
      <p:ext uri="{BB962C8B-B14F-4D97-AF65-F5344CB8AC3E}">
        <p14:creationId xmlns:p14="http://schemas.microsoft.com/office/powerpoint/2010/main" val="4060290664"/>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9" name="Freeform: Shape 8">
            <a:extLst>
              <a:ext uri="{FF2B5EF4-FFF2-40B4-BE49-F238E27FC236}">
                <a16:creationId xmlns:a16="http://schemas.microsoft.com/office/drawing/2014/main" id="{46C2E80F-49A6-4372-B103-219D417A55E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63072" y="353193"/>
            <a:ext cx="3285756" cy="4419078"/>
          </a:xfrm>
          <a:custGeom>
            <a:avLst/>
            <a:gdLst>
              <a:gd name="connsiteX0" fmla="*/ 0 w 4381009"/>
              <a:gd name="connsiteY0" fmla="*/ 0 h 5892104"/>
              <a:gd name="connsiteX1" fmla="*/ 4157628 w 4381009"/>
              <a:gd name="connsiteY1" fmla="*/ 0 h 5892104"/>
              <a:gd name="connsiteX2" fmla="*/ 4169302 w 4381009"/>
              <a:gd name="connsiteY2" fmla="*/ 68659 h 5892104"/>
              <a:gd name="connsiteX3" fmla="*/ 4191571 w 4381009"/>
              <a:gd name="connsiteY3" fmla="*/ 205472 h 5892104"/>
              <a:gd name="connsiteX4" fmla="*/ 4213368 w 4381009"/>
              <a:gd name="connsiteY4" fmla="*/ 342890 h 5892104"/>
              <a:gd name="connsiteX5" fmla="*/ 4232030 w 4381009"/>
              <a:gd name="connsiteY5" fmla="*/ 480913 h 5892104"/>
              <a:gd name="connsiteX6" fmla="*/ 4250848 w 4381009"/>
              <a:gd name="connsiteY6" fmla="*/ 618332 h 5892104"/>
              <a:gd name="connsiteX7" fmla="*/ 4268412 w 4381009"/>
              <a:gd name="connsiteY7" fmla="*/ 756355 h 5892104"/>
              <a:gd name="connsiteX8" fmla="*/ 4283467 w 4381009"/>
              <a:gd name="connsiteY8" fmla="*/ 892563 h 5892104"/>
              <a:gd name="connsiteX9" fmla="*/ 4297737 w 4381009"/>
              <a:gd name="connsiteY9" fmla="*/ 1030587 h 5892104"/>
              <a:gd name="connsiteX10" fmla="*/ 4310754 w 4381009"/>
              <a:gd name="connsiteY10" fmla="*/ 1168005 h 5892104"/>
              <a:gd name="connsiteX11" fmla="*/ 4322045 w 4381009"/>
              <a:gd name="connsiteY11" fmla="*/ 1303002 h 5892104"/>
              <a:gd name="connsiteX12" fmla="*/ 4333336 w 4381009"/>
              <a:gd name="connsiteY12" fmla="*/ 1439815 h 5892104"/>
              <a:gd name="connsiteX13" fmla="*/ 4342745 w 4381009"/>
              <a:gd name="connsiteY13" fmla="*/ 1574812 h 5892104"/>
              <a:gd name="connsiteX14" fmla="*/ 4350115 w 4381009"/>
              <a:gd name="connsiteY14" fmla="*/ 1709808 h 5892104"/>
              <a:gd name="connsiteX15" fmla="*/ 4357799 w 4381009"/>
              <a:gd name="connsiteY15" fmla="*/ 1844200 h 5892104"/>
              <a:gd name="connsiteX16" fmla="*/ 4364229 w 4381009"/>
              <a:gd name="connsiteY16" fmla="*/ 1977381 h 5892104"/>
              <a:gd name="connsiteX17" fmla="*/ 4368777 w 4381009"/>
              <a:gd name="connsiteY17" fmla="*/ 2109351 h 5892104"/>
              <a:gd name="connsiteX18" fmla="*/ 4372697 w 4381009"/>
              <a:gd name="connsiteY18" fmla="*/ 2241321 h 5892104"/>
              <a:gd name="connsiteX19" fmla="*/ 4376461 w 4381009"/>
              <a:gd name="connsiteY19" fmla="*/ 2372080 h 5892104"/>
              <a:gd name="connsiteX20" fmla="*/ 4378186 w 4381009"/>
              <a:gd name="connsiteY20" fmla="*/ 2501023 h 5892104"/>
              <a:gd name="connsiteX21" fmla="*/ 4380068 w 4381009"/>
              <a:gd name="connsiteY21" fmla="*/ 2629966 h 5892104"/>
              <a:gd name="connsiteX22" fmla="*/ 4381009 w 4381009"/>
              <a:gd name="connsiteY22" fmla="*/ 2757093 h 5892104"/>
              <a:gd name="connsiteX23" fmla="*/ 4380068 w 4381009"/>
              <a:gd name="connsiteY23" fmla="*/ 2883010 h 5892104"/>
              <a:gd name="connsiteX24" fmla="*/ 4380068 w 4381009"/>
              <a:gd name="connsiteY24" fmla="*/ 3007715 h 5892104"/>
              <a:gd name="connsiteX25" fmla="*/ 4378186 w 4381009"/>
              <a:gd name="connsiteY25" fmla="*/ 3131210 h 5892104"/>
              <a:gd name="connsiteX26" fmla="*/ 4375363 w 4381009"/>
              <a:gd name="connsiteY26" fmla="*/ 3252283 h 5892104"/>
              <a:gd name="connsiteX27" fmla="*/ 4372697 w 4381009"/>
              <a:gd name="connsiteY27" fmla="*/ 3372146 h 5892104"/>
              <a:gd name="connsiteX28" fmla="*/ 4369718 w 4381009"/>
              <a:gd name="connsiteY28" fmla="*/ 3489587 h 5892104"/>
              <a:gd name="connsiteX29" fmla="*/ 4365170 w 4381009"/>
              <a:gd name="connsiteY29" fmla="*/ 3606423 h 5892104"/>
              <a:gd name="connsiteX30" fmla="*/ 4360309 w 4381009"/>
              <a:gd name="connsiteY30" fmla="*/ 3721443 h 5892104"/>
              <a:gd name="connsiteX31" fmla="*/ 4355918 w 4381009"/>
              <a:gd name="connsiteY31" fmla="*/ 3834041 h 5892104"/>
              <a:gd name="connsiteX32" fmla="*/ 4343529 w 4381009"/>
              <a:gd name="connsiteY32" fmla="*/ 4053789 h 5892104"/>
              <a:gd name="connsiteX33" fmla="*/ 4330356 w 4381009"/>
              <a:gd name="connsiteY33" fmla="*/ 4264457 h 5892104"/>
              <a:gd name="connsiteX34" fmla="*/ 4316556 w 4381009"/>
              <a:gd name="connsiteY34" fmla="*/ 4466650 h 5892104"/>
              <a:gd name="connsiteX35" fmla="*/ 4301344 w 4381009"/>
              <a:gd name="connsiteY35" fmla="*/ 4657946 h 5892104"/>
              <a:gd name="connsiteX36" fmla="*/ 4285506 w 4381009"/>
              <a:gd name="connsiteY36" fmla="*/ 4840767 h 5892104"/>
              <a:gd name="connsiteX37" fmla="*/ 4268412 w 4381009"/>
              <a:gd name="connsiteY37" fmla="*/ 5010269 h 5892104"/>
              <a:gd name="connsiteX38" fmla="*/ 4251633 w 4381009"/>
              <a:gd name="connsiteY38" fmla="*/ 5169481 h 5892104"/>
              <a:gd name="connsiteX39" fmla="*/ 4234853 w 4381009"/>
              <a:gd name="connsiteY39" fmla="*/ 5315980 h 5892104"/>
              <a:gd name="connsiteX40" fmla="*/ 4219014 w 4381009"/>
              <a:gd name="connsiteY40" fmla="*/ 5450371 h 5892104"/>
              <a:gd name="connsiteX41" fmla="*/ 4203959 w 4381009"/>
              <a:gd name="connsiteY41" fmla="*/ 5569628 h 5892104"/>
              <a:gd name="connsiteX42" fmla="*/ 4189689 w 4381009"/>
              <a:gd name="connsiteY42" fmla="*/ 5677384 h 5892104"/>
              <a:gd name="connsiteX43" fmla="*/ 4177770 w 4381009"/>
              <a:gd name="connsiteY43" fmla="*/ 5768189 h 5892104"/>
              <a:gd name="connsiteX44" fmla="*/ 4166479 w 4381009"/>
              <a:gd name="connsiteY44" fmla="*/ 5844465 h 5892104"/>
              <a:gd name="connsiteX45" fmla="*/ 4159132 w 4381009"/>
              <a:gd name="connsiteY45" fmla="*/ 5892104 h 5892104"/>
              <a:gd name="connsiteX46" fmla="*/ 0 w 4381009"/>
              <a:gd name="connsiteY46" fmla="*/ 5892104 h 5892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4381009" h="5892104">
                <a:moveTo>
                  <a:pt x="0" y="0"/>
                </a:moveTo>
                <a:lnTo>
                  <a:pt x="4157628" y="0"/>
                </a:lnTo>
                <a:lnTo>
                  <a:pt x="4169302" y="68659"/>
                </a:lnTo>
                <a:lnTo>
                  <a:pt x="4191571" y="205472"/>
                </a:lnTo>
                <a:lnTo>
                  <a:pt x="4213368" y="342890"/>
                </a:lnTo>
                <a:lnTo>
                  <a:pt x="4232030" y="480913"/>
                </a:lnTo>
                <a:lnTo>
                  <a:pt x="4250848" y="618332"/>
                </a:lnTo>
                <a:lnTo>
                  <a:pt x="4268412" y="756355"/>
                </a:lnTo>
                <a:lnTo>
                  <a:pt x="4283467" y="892563"/>
                </a:lnTo>
                <a:lnTo>
                  <a:pt x="4297737" y="1030587"/>
                </a:lnTo>
                <a:lnTo>
                  <a:pt x="4310754" y="1168005"/>
                </a:lnTo>
                <a:lnTo>
                  <a:pt x="4322045" y="1303002"/>
                </a:lnTo>
                <a:lnTo>
                  <a:pt x="4333336" y="1439815"/>
                </a:lnTo>
                <a:lnTo>
                  <a:pt x="4342745" y="1574812"/>
                </a:lnTo>
                <a:lnTo>
                  <a:pt x="4350115" y="1709808"/>
                </a:lnTo>
                <a:lnTo>
                  <a:pt x="4357799" y="1844200"/>
                </a:lnTo>
                <a:lnTo>
                  <a:pt x="4364229" y="1977381"/>
                </a:lnTo>
                <a:lnTo>
                  <a:pt x="4368777" y="2109351"/>
                </a:lnTo>
                <a:lnTo>
                  <a:pt x="4372697" y="2241321"/>
                </a:lnTo>
                <a:lnTo>
                  <a:pt x="4376461" y="2372080"/>
                </a:lnTo>
                <a:lnTo>
                  <a:pt x="4378186" y="2501023"/>
                </a:lnTo>
                <a:lnTo>
                  <a:pt x="4380068" y="2629966"/>
                </a:lnTo>
                <a:lnTo>
                  <a:pt x="4381009" y="2757093"/>
                </a:lnTo>
                <a:lnTo>
                  <a:pt x="4380068" y="2883010"/>
                </a:lnTo>
                <a:lnTo>
                  <a:pt x="4380068" y="3007715"/>
                </a:lnTo>
                <a:lnTo>
                  <a:pt x="4378186" y="3131210"/>
                </a:lnTo>
                <a:lnTo>
                  <a:pt x="4375363" y="3252283"/>
                </a:lnTo>
                <a:lnTo>
                  <a:pt x="4372697" y="3372146"/>
                </a:lnTo>
                <a:lnTo>
                  <a:pt x="4369718" y="3489587"/>
                </a:lnTo>
                <a:lnTo>
                  <a:pt x="4365170" y="3606423"/>
                </a:lnTo>
                <a:lnTo>
                  <a:pt x="4360309" y="3721443"/>
                </a:lnTo>
                <a:lnTo>
                  <a:pt x="4355918" y="3834041"/>
                </a:lnTo>
                <a:lnTo>
                  <a:pt x="4343529" y="4053789"/>
                </a:lnTo>
                <a:lnTo>
                  <a:pt x="4330356" y="4264457"/>
                </a:lnTo>
                <a:lnTo>
                  <a:pt x="4316556" y="4466650"/>
                </a:lnTo>
                <a:lnTo>
                  <a:pt x="4301344" y="4657946"/>
                </a:lnTo>
                <a:lnTo>
                  <a:pt x="4285506" y="4840767"/>
                </a:lnTo>
                <a:lnTo>
                  <a:pt x="4268412" y="5010269"/>
                </a:lnTo>
                <a:lnTo>
                  <a:pt x="4251633" y="5169481"/>
                </a:lnTo>
                <a:lnTo>
                  <a:pt x="4234853" y="5315980"/>
                </a:lnTo>
                <a:lnTo>
                  <a:pt x="4219014" y="5450371"/>
                </a:lnTo>
                <a:lnTo>
                  <a:pt x="4203959" y="5569628"/>
                </a:lnTo>
                <a:lnTo>
                  <a:pt x="4189689" y="5677384"/>
                </a:lnTo>
                <a:lnTo>
                  <a:pt x="4177770" y="5768189"/>
                </a:lnTo>
                <a:lnTo>
                  <a:pt x="4166479" y="5844465"/>
                </a:lnTo>
                <a:lnTo>
                  <a:pt x="4159132" y="5892104"/>
                </a:lnTo>
                <a:lnTo>
                  <a:pt x="0" y="5892104"/>
                </a:lnTo>
                <a:close/>
              </a:path>
            </a:pathLst>
          </a:custGeom>
          <a:solidFill>
            <a:srgbClr val="40404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p:cNvSpPr>
            <a:spLocks noGrp="1"/>
          </p:cNvSpPr>
          <p:nvPr>
            <p:ph type="title"/>
          </p:nvPr>
        </p:nvSpPr>
        <p:spPr>
          <a:xfrm>
            <a:off x="647271" y="759003"/>
            <a:ext cx="2562119" cy="3596556"/>
          </a:xfrm>
        </p:spPr>
        <p:txBody>
          <a:bodyPr>
            <a:normAutofit/>
          </a:bodyPr>
          <a:lstStyle/>
          <a:p>
            <a:r>
              <a:rPr lang="en-US">
                <a:solidFill>
                  <a:srgbClr val="FFFFFF"/>
                </a:solidFill>
              </a:rPr>
              <a:t>Tips and Tricks</a:t>
            </a:r>
          </a:p>
        </p:txBody>
      </p:sp>
      <p:graphicFrame>
        <p:nvGraphicFramePr>
          <p:cNvPr id="4" name="Content Placeholder 3"/>
          <p:cNvGraphicFramePr>
            <a:graphicFrameLocks noGrp="1"/>
          </p:cNvGraphicFramePr>
          <p:nvPr>
            <p:ph idx="1"/>
            <p:extLst>
              <p:ext uri="{D42A27DB-BD31-4B8C-83A1-F6EECF244321}">
                <p14:modId xmlns:p14="http://schemas.microsoft.com/office/powerpoint/2010/main" val="1910360169"/>
              </p:ext>
            </p:extLst>
          </p:nvPr>
        </p:nvGraphicFramePr>
        <p:xfrm>
          <a:off x="3895725" y="353193"/>
          <a:ext cx="4885203" cy="4414069"/>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106903143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9" name="Freeform: Shape 8">
            <a:extLst>
              <a:ext uri="{FF2B5EF4-FFF2-40B4-BE49-F238E27FC236}">
                <a16:creationId xmlns:a16="http://schemas.microsoft.com/office/drawing/2014/main" id="{46C2E80F-49A6-4372-B103-219D417A55E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63072" y="353193"/>
            <a:ext cx="3285756" cy="4419078"/>
          </a:xfrm>
          <a:custGeom>
            <a:avLst/>
            <a:gdLst>
              <a:gd name="connsiteX0" fmla="*/ 0 w 4381009"/>
              <a:gd name="connsiteY0" fmla="*/ 0 h 5892104"/>
              <a:gd name="connsiteX1" fmla="*/ 4157628 w 4381009"/>
              <a:gd name="connsiteY1" fmla="*/ 0 h 5892104"/>
              <a:gd name="connsiteX2" fmla="*/ 4169302 w 4381009"/>
              <a:gd name="connsiteY2" fmla="*/ 68659 h 5892104"/>
              <a:gd name="connsiteX3" fmla="*/ 4191571 w 4381009"/>
              <a:gd name="connsiteY3" fmla="*/ 205472 h 5892104"/>
              <a:gd name="connsiteX4" fmla="*/ 4213368 w 4381009"/>
              <a:gd name="connsiteY4" fmla="*/ 342890 h 5892104"/>
              <a:gd name="connsiteX5" fmla="*/ 4232030 w 4381009"/>
              <a:gd name="connsiteY5" fmla="*/ 480913 h 5892104"/>
              <a:gd name="connsiteX6" fmla="*/ 4250848 w 4381009"/>
              <a:gd name="connsiteY6" fmla="*/ 618332 h 5892104"/>
              <a:gd name="connsiteX7" fmla="*/ 4268412 w 4381009"/>
              <a:gd name="connsiteY7" fmla="*/ 756355 h 5892104"/>
              <a:gd name="connsiteX8" fmla="*/ 4283467 w 4381009"/>
              <a:gd name="connsiteY8" fmla="*/ 892563 h 5892104"/>
              <a:gd name="connsiteX9" fmla="*/ 4297737 w 4381009"/>
              <a:gd name="connsiteY9" fmla="*/ 1030587 h 5892104"/>
              <a:gd name="connsiteX10" fmla="*/ 4310754 w 4381009"/>
              <a:gd name="connsiteY10" fmla="*/ 1168005 h 5892104"/>
              <a:gd name="connsiteX11" fmla="*/ 4322045 w 4381009"/>
              <a:gd name="connsiteY11" fmla="*/ 1303002 h 5892104"/>
              <a:gd name="connsiteX12" fmla="*/ 4333336 w 4381009"/>
              <a:gd name="connsiteY12" fmla="*/ 1439815 h 5892104"/>
              <a:gd name="connsiteX13" fmla="*/ 4342745 w 4381009"/>
              <a:gd name="connsiteY13" fmla="*/ 1574812 h 5892104"/>
              <a:gd name="connsiteX14" fmla="*/ 4350115 w 4381009"/>
              <a:gd name="connsiteY14" fmla="*/ 1709808 h 5892104"/>
              <a:gd name="connsiteX15" fmla="*/ 4357799 w 4381009"/>
              <a:gd name="connsiteY15" fmla="*/ 1844200 h 5892104"/>
              <a:gd name="connsiteX16" fmla="*/ 4364229 w 4381009"/>
              <a:gd name="connsiteY16" fmla="*/ 1977381 h 5892104"/>
              <a:gd name="connsiteX17" fmla="*/ 4368777 w 4381009"/>
              <a:gd name="connsiteY17" fmla="*/ 2109351 h 5892104"/>
              <a:gd name="connsiteX18" fmla="*/ 4372697 w 4381009"/>
              <a:gd name="connsiteY18" fmla="*/ 2241321 h 5892104"/>
              <a:gd name="connsiteX19" fmla="*/ 4376461 w 4381009"/>
              <a:gd name="connsiteY19" fmla="*/ 2372080 h 5892104"/>
              <a:gd name="connsiteX20" fmla="*/ 4378186 w 4381009"/>
              <a:gd name="connsiteY20" fmla="*/ 2501023 h 5892104"/>
              <a:gd name="connsiteX21" fmla="*/ 4380068 w 4381009"/>
              <a:gd name="connsiteY21" fmla="*/ 2629966 h 5892104"/>
              <a:gd name="connsiteX22" fmla="*/ 4381009 w 4381009"/>
              <a:gd name="connsiteY22" fmla="*/ 2757093 h 5892104"/>
              <a:gd name="connsiteX23" fmla="*/ 4380068 w 4381009"/>
              <a:gd name="connsiteY23" fmla="*/ 2883010 h 5892104"/>
              <a:gd name="connsiteX24" fmla="*/ 4380068 w 4381009"/>
              <a:gd name="connsiteY24" fmla="*/ 3007715 h 5892104"/>
              <a:gd name="connsiteX25" fmla="*/ 4378186 w 4381009"/>
              <a:gd name="connsiteY25" fmla="*/ 3131210 h 5892104"/>
              <a:gd name="connsiteX26" fmla="*/ 4375363 w 4381009"/>
              <a:gd name="connsiteY26" fmla="*/ 3252283 h 5892104"/>
              <a:gd name="connsiteX27" fmla="*/ 4372697 w 4381009"/>
              <a:gd name="connsiteY27" fmla="*/ 3372146 h 5892104"/>
              <a:gd name="connsiteX28" fmla="*/ 4369718 w 4381009"/>
              <a:gd name="connsiteY28" fmla="*/ 3489587 h 5892104"/>
              <a:gd name="connsiteX29" fmla="*/ 4365170 w 4381009"/>
              <a:gd name="connsiteY29" fmla="*/ 3606423 h 5892104"/>
              <a:gd name="connsiteX30" fmla="*/ 4360309 w 4381009"/>
              <a:gd name="connsiteY30" fmla="*/ 3721443 h 5892104"/>
              <a:gd name="connsiteX31" fmla="*/ 4355918 w 4381009"/>
              <a:gd name="connsiteY31" fmla="*/ 3834041 h 5892104"/>
              <a:gd name="connsiteX32" fmla="*/ 4343529 w 4381009"/>
              <a:gd name="connsiteY32" fmla="*/ 4053789 h 5892104"/>
              <a:gd name="connsiteX33" fmla="*/ 4330356 w 4381009"/>
              <a:gd name="connsiteY33" fmla="*/ 4264457 h 5892104"/>
              <a:gd name="connsiteX34" fmla="*/ 4316556 w 4381009"/>
              <a:gd name="connsiteY34" fmla="*/ 4466650 h 5892104"/>
              <a:gd name="connsiteX35" fmla="*/ 4301344 w 4381009"/>
              <a:gd name="connsiteY35" fmla="*/ 4657946 h 5892104"/>
              <a:gd name="connsiteX36" fmla="*/ 4285506 w 4381009"/>
              <a:gd name="connsiteY36" fmla="*/ 4840767 h 5892104"/>
              <a:gd name="connsiteX37" fmla="*/ 4268412 w 4381009"/>
              <a:gd name="connsiteY37" fmla="*/ 5010269 h 5892104"/>
              <a:gd name="connsiteX38" fmla="*/ 4251633 w 4381009"/>
              <a:gd name="connsiteY38" fmla="*/ 5169481 h 5892104"/>
              <a:gd name="connsiteX39" fmla="*/ 4234853 w 4381009"/>
              <a:gd name="connsiteY39" fmla="*/ 5315980 h 5892104"/>
              <a:gd name="connsiteX40" fmla="*/ 4219014 w 4381009"/>
              <a:gd name="connsiteY40" fmla="*/ 5450371 h 5892104"/>
              <a:gd name="connsiteX41" fmla="*/ 4203959 w 4381009"/>
              <a:gd name="connsiteY41" fmla="*/ 5569628 h 5892104"/>
              <a:gd name="connsiteX42" fmla="*/ 4189689 w 4381009"/>
              <a:gd name="connsiteY42" fmla="*/ 5677384 h 5892104"/>
              <a:gd name="connsiteX43" fmla="*/ 4177770 w 4381009"/>
              <a:gd name="connsiteY43" fmla="*/ 5768189 h 5892104"/>
              <a:gd name="connsiteX44" fmla="*/ 4166479 w 4381009"/>
              <a:gd name="connsiteY44" fmla="*/ 5844465 h 5892104"/>
              <a:gd name="connsiteX45" fmla="*/ 4159132 w 4381009"/>
              <a:gd name="connsiteY45" fmla="*/ 5892104 h 5892104"/>
              <a:gd name="connsiteX46" fmla="*/ 0 w 4381009"/>
              <a:gd name="connsiteY46" fmla="*/ 5892104 h 5892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4381009" h="5892104">
                <a:moveTo>
                  <a:pt x="0" y="0"/>
                </a:moveTo>
                <a:lnTo>
                  <a:pt x="4157628" y="0"/>
                </a:lnTo>
                <a:lnTo>
                  <a:pt x="4169302" y="68659"/>
                </a:lnTo>
                <a:lnTo>
                  <a:pt x="4191571" y="205472"/>
                </a:lnTo>
                <a:lnTo>
                  <a:pt x="4213368" y="342890"/>
                </a:lnTo>
                <a:lnTo>
                  <a:pt x="4232030" y="480913"/>
                </a:lnTo>
                <a:lnTo>
                  <a:pt x="4250848" y="618332"/>
                </a:lnTo>
                <a:lnTo>
                  <a:pt x="4268412" y="756355"/>
                </a:lnTo>
                <a:lnTo>
                  <a:pt x="4283467" y="892563"/>
                </a:lnTo>
                <a:lnTo>
                  <a:pt x="4297737" y="1030587"/>
                </a:lnTo>
                <a:lnTo>
                  <a:pt x="4310754" y="1168005"/>
                </a:lnTo>
                <a:lnTo>
                  <a:pt x="4322045" y="1303002"/>
                </a:lnTo>
                <a:lnTo>
                  <a:pt x="4333336" y="1439815"/>
                </a:lnTo>
                <a:lnTo>
                  <a:pt x="4342745" y="1574812"/>
                </a:lnTo>
                <a:lnTo>
                  <a:pt x="4350115" y="1709808"/>
                </a:lnTo>
                <a:lnTo>
                  <a:pt x="4357799" y="1844200"/>
                </a:lnTo>
                <a:lnTo>
                  <a:pt x="4364229" y="1977381"/>
                </a:lnTo>
                <a:lnTo>
                  <a:pt x="4368777" y="2109351"/>
                </a:lnTo>
                <a:lnTo>
                  <a:pt x="4372697" y="2241321"/>
                </a:lnTo>
                <a:lnTo>
                  <a:pt x="4376461" y="2372080"/>
                </a:lnTo>
                <a:lnTo>
                  <a:pt x="4378186" y="2501023"/>
                </a:lnTo>
                <a:lnTo>
                  <a:pt x="4380068" y="2629966"/>
                </a:lnTo>
                <a:lnTo>
                  <a:pt x="4381009" y="2757093"/>
                </a:lnTo>
                <a:lnTo>
                  <a:pt x="4380068" y="2883010"/>
                </a:lnTo>
                <a:lnTo>
                  <a:pt x="4380068" y="3007715"/>
                </a:lnTo>
                <a:lnTo>
                  <a:pt x="4378186" y="3131210"/>
                </a:lnTo>
                <a:lnTo>
                  <a:pt x="4375363" y="3252283"/>
                </a:lnTo>
                <a:lnTo>
                  <a:pt x="4372697" y="3372146"/>
                </a:lnTo>
                <a:lnTo>
                  <a:pt x="4369718" y="3489587"/>
                </a:lnTo>
                <a:lnTo>
                  <a:pt x="4365170" y="3606423"/>
                </a:lnTo>
                <a:lnTo>
                  <a:pt x="4360309" y="3721443"/>
                </a:lnTo>
                <a:lnTo>
                  <a:pt x="4355918" y="3834041"/>
                </a:lnTo>
                <a:lnTo>
                  <a:pt x="4343529" y="4053789"/>
                </a:lnTo>
                <a:lnTo>
                  <a:pt x="4330356" y="4264457"/>
                </a:lnTo>
                <a:lnTo>
                  <a:pt x="4316556" y="4466650"/>
                </a:lnTo>
                <a:lnTo>
                  <a:pt x="4301344" y="4657946"/>
                </a:lnTo>
                <a:lnTo>
                  <a:pt x="4285506" y="4840767"/>
                </a:lnTo>
                <a:lnTo>
                  <a:pt x="4268412" y="5010269"/>
                </a:lnTo>
                <a:lnTo>
                  <a:pt x="4251633" y="5169481"/>
                </a:lnTo>
                <a:lnTo>
                  <a:pt x="4234853" y="5315980"/>
                </a:lnTo>
                <a:lnTo>
                  <a:pt x="4219014" y="5450371"/>
                </a:lnTo>
                <a:lnTo>
                  <a:pt x="4203959" y="5569628"/>
                </a:lnTo>
                <a:lnTo>
                  <a:pt x="4189689" y="5677384"/>
                </a:lnTo>
                <a:lnTo>
                  <a:pt x="4177770" y="5768189"/>
                </a:lnTo>
                <a:lnTo>
                  <a:pt x="4166479" y="5844465"/>
                </a:lnTo>
                <a:lnTo>
                  <a:pt x="4159132" y="5892104"/>
                </a:lnTo>
                <a:lnTo>
                  <a:pt x="0" y="5892104"/>
                </a:lnTo>
                <a:close/>
              </a:path>
            </a:pathLst>
          </a:custGeom>
          <a:solidFill>
            <a:srgbClr val="40404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p:cNvSpPr>
            <a:spLocks noGrp="1"/>
          </p:cNvSpPr>
          <p:nvPr>
            <p:ph type="title"/>
          </p:nvPr>
        </p:nvSpPr>
        <p:spPr>
          <a:xfrm>
            <a:off x="647271" y="759003"/>
            <a:ext cx="2562119" cy="3596556"/>
          </a:xfrm>
        </p:spPr>
        <p:txBody>
          <a:bodyPr>
            <a:normAutofit/>
          </a:bodyPr>
          <a:lstStyle/>
          <a:p>
            <a:r>
              <a:rPr lang="en-US" dirty="0">
                <a:solidFill>
                  <a:srgbClr val="FFFFFF"/>
                </a:solidFill>
              </a:rPr>
              <a:t>Learning in a Nutshell</a:t>
            </a:r>
          </a:p>
        </p:txBody>
      </p:sp>
      <p:graphicFrame>
        <p:nvGraphicFramePr>
          <p:cNvPr id="4" name="Content Placeholder 3"/>
          <p:cNvGraphicFramePr>
            <a:graphicFrameLocks noGrp="1"/>
          </p:cNvGraphicFramePr>
          <p:nvPr>
            <p:ph idx="1"/>
            <p:extLst>
              <p:ext uri="{D42A27DB-BD31-4B8C-83A1-F6EECF244321}">
                <p14:modId xmlns:p14="http://schemas.microsoft.com/office/powerpoint/2010/main" val="1060766183"/>
              </p:ext>
            </p:extLst>
          </p:nvPr>
        </p:nvGraphicFramePr>
        <p:xfrm>
          <a:off x="3895725" y="353193"/>
          <a:ext cx="4885203" cy="4414069"/>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65433568"/>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2A8AA5BC-4F7A-4226-8F99-6D824B226A9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2493"/>
            <a:ext cx="9144000" cy="5145993"/>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3E5445C6-DD42-4979-86FF-03730E8C6DB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ltGray">
          <a:xfrm>
            <a:off x="241300" y="241299"/>
            <a:ext cx="8680116" cy="4660901"/>
          </a:xfrm>
          <a:prstGeom prst="rect">
            <a:avLst/>
          </a:prstGeom>
          <a:solidFill>
            <a:schemeClr val="bg1">
              <a:lumMod val="75000"/>
              <a:lumOff val="25000"/>
            </a:schemeClr>
          </a:solidFill>
          <a:ln w="127000" cap="sq" cmpd="thinThick">
            <a:solidFill>
              <a:schemeClr val="bg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25E5DA1D-BB45-4F00-BD64-315E5F236867}"/>
              </a:ext>
            </a:extLst>
          </p:cNvPr>
          <p:cNvSpPr>
            <a:spLocks noGrp="1"/>
          </p:cNvSpPr>
          <p:nvPr>
            <p:ph type="ctrTitle"/>
          </p:nvPr>
        </p:nvSpPr>
        <p:spPr>
          <a:xfrm>
            <a:off x="1143000" y="841771"/>
            <a:ext cx="6858000" cy="2130028"/>
          </a:xfrm>
        </p:spPr>
        <p:txBody>
          <a:bodyPr>
            <a:normAutofit/>
          </a:bodyPr>
          <a:lstStyle/>
          <a:p>
            <a:r>
              <a:rPr lang="en-US" dirty="0">
                <a:solidFill>
                  <a:schemeClr val="tx1"/>
                </a:solidFill>
              </a:rPr>
              <a:t>Exams and Certifications</a:t>
            </a:r>
          </a:p>
        </p:txBody>
      </p:sp>
      <p:sp>
        <p:nvSpPr>
          <p:cNvPr id="3" name="Subtitle 2">
            <a:extLst>
              <a:ext uri="{FF2B5EF4-FFF2-40B4-BE49-F238E27FC236}">
                <a16:creationId xmlns:a16="http://schemas.microsoft.com/office/drawing/2014/main" id="{CB7C4C92-DE7E-49CD-9102-96AD256AC253}"/>
              </a:ext>
            </a:extLst>
          </p:cNvPr>
          <p:cNvSpPr>
            <a:spLocks noGrp="1"/>
          </p:cNvSpPr>
          <p:nvPr>
            <p:ph type="subTitle" idx="1"/>
          </p:nvPr>
        </p:nvSpPr>
        <p:spPr>
          <a:xfrm>
            <a:off x="1143000" y="3192327"/>
            <a:ext cx="6858000" cy="1200613"/>
          </a:xfrm>
        </p:spPr>
        <p:txBody>
          <a:bodyPr>
            <a:normAutofit/>
          </a:bodyPr>
          <a:lstStyle/>
          <a:p>
            <a:endParaRPr lang="en-US" dirty="0">
              <a:solidFill>
                <a:schemeClr val="accent1">
                  <a:lumMod val="60000"/>
                  <a:lumOff val="40000"/>
                </a:schemeClr>
              </a:solidFill>
            </a:endParaRPr>
          </a:p>
        </p:txBody>
      </p:sp>
      <p:cxnSp>
        <p:nvCxnSpPr>
          <p:cNvPr id="12" name="Straight Connector 11">
            <a:extLst>
              <a:ext uri="{FF2B5EF4-FFF2-40B4-BE49-F238E27FC236}">
                <a16:creationId xmlns:a16="http://schemas.microsoft.com/office/drawing/2014/main" id="{45000665-DFC7-417E-8FD7-516A0F15C975}"/>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3543300" y="3082062"/>
            <a:ext cx="2057400" cy="0"/>
          </a:xfrm>
          <a:prstGeom prst="line">
            <a:avLst/>
          </a:prstGeom>
          <a:ln w="12700">
            <a:solidFill>
              <a:schemeClr val="tx1">
                <a:lumMod val="8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90319382"/>
      </p:ext>
    </p:extLst>
  </p:cSld>
  <p:clrMapOvr>
    <a:overrideClrMapping bg1="dk1" tx1="lt1" bg2="dk2" tx2="lt2" accent1="accent1" accent2="accent2" accent3="accent3" accent4="accent4" accent5="accent5" accent6="accent6" hlink="hlink" folHlink="folHlink"/>
  </p:clrMapOvr>
</p:sld>
</file>

<file path=ppt/slides/slide3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A4AC5506-6312-4701-8D3C-40187889A94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488814"/>
            <a:ext cx="9144000" cy="552413"/>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a:xfrm>
            <a:off x="417399" y="482600"/>
            <a:ext cx="8408193" cy="558627"/>
          </a:xfrm>
        </p:spPr>
        <p:txBody>
          <a:bodyPr vert="horz" lIns="91440" tIns="45720" rIns="91440" bIns="45720" rtlCol="0" anchor="ctr">
            <a:normAutofit/>
          </a:bodyPr>
          <a:lstStyle/>
          <a:p>
            <a:pPr>
              <a:lnSpc>
                <a:spcPct val="90000"/>
              </a:lnSpc>
            </a:pPr>
            <a:r>
              <a:rPr lang="en-US" sz="2400" kern="1200" dirty="0">
                <a:solidFill>
                  <a:schemeClr val="bg1"/>
                </a:solidFill>
                <a:latin typeface="+mj-lt"/>
                <a:ea typeface="+mj-ea"/>
                <a:cs typeface="+mj-cs"/>
              </a:rPr>
              <a:t>Current Exam List</a:t>
            </a:r>
          </a:p>
        </p:txBody>
      </p:sp>
      <p:pic>
        <p:nvPicPr>
          <p:cNvPr id="3" name="Picture 2">
            <a:extLst>
              <a:ext uri="{FF2B5EF4-FFF2-40B4-BE49-F238E27FC236}">
                <a16:creationId xmlns:a16="http://schemas.microsoft.com/office/drawing/2014/main" id="{9C0D4C88-B54E-4F5B-91D8-E3E7D645CCE0}"/>
              </a:ext>
            </a:extLst>
          </p:cNvPr>
          <p:cNvPicPr>
            <a:picLocks noChangeAspect="1"/>
          </p:cNvPicPr>
          <p:nvPr/>
        </p:nvPicPr>
        <p:blipFill>
          <a:blip r:embed="rId2"/>
          <a:stretch>
            <a:fillRect/>
          </a:stretch>
        </p:blipFill>
        <p:spPr>
          <a:xfrm>
            <a:off x="848101" y="1256420"/>
            <a:ext cx="7447796" cy="3295649"/>
          </a:xfrm>
          <a:prstGeom prst="rect">
            <a:avLst/>
          </a:prstGeom>
        </p:spPr>
      </p:pic>
    </p:spTree>
    <p:extLst>
      <p:ext uri="{BB962C8B-B14F-4D97-AF65-F5344CB8AC3E}">
        <p14:creationId xmlns:p14="http://schemas.microsoft.com/office/powerpoint/2010/main" val="2222804453"/>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A4AC5506-6312-4701-8D3C-40187889A94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488814"/>
            <a:ext cx="9144000" cy="552413"/>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a:xfrm>
            <a:off x="417399" y="482600"/>
            <a:ext cx="8408193" cy="558627"/>
          </a:xfrm>
        </p:spPr>
        <p:txBody>
          <a:bodyPr vert="horz" lIns="91440" tIns="45720" rIns="91440" bIns="45720" rtlCol="0" anchor="ctr">
            <a:normAutofit/>
          </a:bodyPr>
          <a:lstStyle/>
          <a:p>
            <a:pPr>
              <a:lnSpc>
                <a:spcPct val="90000"/>
              </a:lnSpc>
            </a:pPr>
            <a:r>
              <a:rPr lang="en-US" sz="2400" kern="1200">
                <a:solidFill>
                  <a:schemeClr val="bg1"/>
                </a:solidFill>
                <a:latin typeface="+mj-lt"/>
                <a:ea typeface="+mj-ea"/>
                <a:cs typeface="+mj-cs"/>
              </a:rPr>
              <a:t>Certifications</a:t>
            </a:r>
          </a:p>
        </p:txBody>
      </p:sp>
      <p:pic>
        <p:nvPicPr>
          <p:cNvPr id="5" name="Picture 4"/>
          <p:cNvPicPr>
            <a:picLocks noChangeAspect="1"/>
          </p:cNvPicPr>
          <p:nvPr/>
        </p:nvPicPr>
        <p:blipFill>
          <a:blip r:embed="rId2"/>
          <a:stretch>
            <a:fillRect/>
          </a:stretch>
        </p:blipFill>
        <p:spPr>
          <a:xfrm>
            <a:off x="1491954" y="1256420"/>
            <a:ext cx="6160090" cy="3295649"/>
          </a:xfrm>
          <a:prstGeom prst="rect">
            <a:avLst/>
          </a:prstGeom>
        </p:spPr>
      </p:pic>
    </p:spTree>
    <p:extLst>
      <p:ext uri="{BB962C8B-B14F-4D97-AF65-F5344CB8AC3E}">
        <p14:creationId xmlns:p14="http://schemas.microsoft.com/office/powerpoint/2010/main" val="3781703566"/>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A4AC5506-6312-4701-8D3C-40187889A94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488814"/>
            <a:ext cx="9144000" cy="552413"/>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8DD7AF97-8C3A-4F59-B48F-D14D5DE1881F}"/>
              </a:ext>
            </a:extLst>
          </p:cNvPr>
          <p:cNvSpPr>
            <a:spLocks noGrp="1"/>
          </p:cNvSpPr>
          <p:nvPr>
            <p:ph type="title"/>
          </p:nvPr>
        </p:nvSpPr>
        <p:spPr>
          <a:xfrm>
            <a:off x="417399" y="482600"/>
            <a:ext cx="8408193" cy="558627"/>
          </a:xfrm>
        </p:spPr>
        <p:txBody>
          <a:bodyPr vert="horz" lIns="91440" tIns="45720" rIns="91440" bIns="45720" rtlCol="0" anchor="ctr">
            <a:normAutofit/>
          </a:bodyPr>
          <a:lstStyle/>
          <a:p>
            <a:pPr>
              <a:lnSpc>
                <a:spcPct val="90000"/>
              </a:lnSpc>
            </a:pPr>
            <a:r>
              <a:rPr lang="en-US" sz="2400" dirty="0">
                <a:solidFill>
                  <a:schemeClr val="bg1"/>
                </a:solidFill>
              </a:rPr>
              <a:t>Power Apps + Dynamics 365 Solution Architect Expert</a:t>
            </a:r>
            <a:endParaRPr lang="en-US" sz="2400" kern="1200" dirty="0">
              <a:solidFill>
                <a:schemeClr val="bg1"/>
              </a:solidFill>
              <a:latin typeface="+mj-lt"/>
              <a:ea typeface="+mj-ea"/>
              <a:cs typeface="+mj-cs"/>
            </a:endParaRPr>
          </a:p>
        </p:txBody>
      </p:sp>
      <p:pic>
        <p:nvPicPr>
          <p:cNvPr id="5" name="Picture 4">
            <a:extLst>
              <a:ext uri="{FF2B5EF4-FFF2-40B4-BE49-F238E27FC236}">
                <a16:creationId xmlns:a16="http://schemas.microsoft.com/office/drawing/2014/main" id="{E6E7B14F-034F-4E8A-B8AA-40732F6422B1}"/>
              </a:ext>
            </a:extLst>
          </p:cNvPr>
          <p:cNvPicPr>
            <a:picLocks noChangeAspect="1"/>
          </p:cNvPicPr>
          <p:nvPr/>
        </p:nvPicPr>
        <p:blipFill>
          <a:blip r:embed="rId2"/>
          <a:stretch>
            <a:fillRect/>
          </a:stretch>
        </p:blipFill>
        <p:spPr>
          <a:xfrm>
            <a:off x="1959429" y="1256419"/>
            <a:ext cx="5225143" cy="3657600"/>
          </a:xfrm>
          <a:prstGeom prst="rect">
            <a:avLst/>
          </a:prstGeom>
        </p:spPr>
      </p:pic>
    </p:spTree>
    <p:extLst>
      <p:ext uri="{BB962C8B-B14F-4D97-AF65-F5344CB8AC3E}">
        <p14:creationId xmlns:p14="http://schemas.microsoft.com/office/powerpoint/2010/main" val="4048832395"/>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A4AC5506-6312-4701-8D3C-40187889A94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488814"/>
            <a:ext cx="9144000" cy="552413"/>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45B195AE-72CB-457C-AA08-F0291410F128}"/>
              </a:ext>
            </a:extLst>
          </p:cNvPr>
          <p:cNvSpPr>
            <a:spLocks noGrp="1"/>
          </p:cNvSpPr>
          <p:nvPr>
            <p:ph type="title"/>
          </p:nvPr>
        </p:nvSpPr>
        <p:spPr>
          <a:xfrm>
            <a:off x="417399" y="482600"/>
            <a:ext cx="8408193" cy="558627"/>
          </a:xfrm>
        </p:spPr>
        <p:txBody>
          <a:bodyPr vert="horz" lIns="91440" tIns="45720" rIns="91440" bIns="45720" rtlCol="0" anchor="ctr">
            <a:normAutofit/>
          </a:bodyPr>
          <a:lstStyle/>
          <a:p>
            <a:pPr>
              <a:lnSpc>
                <a:spcPct val="90000"/>
              </a:lnSpc>
            </a:pPr>
            <a:r>
              <a:rPr lang="en-US" sz="2400" dirty="0">
                <a:solidFill>
                  <a:schemeClr val="bg1"/>
                </a:solidFill>
              </a:rPr>
              <a:t>Finance and Operations Apps Solution Architect Expert</a:t>
            </a:r>
            <a:endParaRPr lang="en-US" sz="2400" kern="1200" dirty="0">
              <a:solidFill>
                <a:schemeClr val="bg1"/>
              </a:solidFill>
              <a:latin typeface="+mj-lt"/>
              <a:ea typeface="+mj-ea"/>
              <a:cs typeface="+mj-cs"/>
            </a:endParaRPr>
          </a:p>
        </p:txBody>
      </p:sp>
      <p:pic>
        <p:nvPicPr>
          <p:cNvPr id="4" name="Picture 3">
            <a:extLst>
              <a:ext uri="{FF2B5EF4-FFF2-40B4-BE49-F238E27FC236}">
                <a16:creationId xmlns:a16="http://schemas.microsoft.com/office/drawing/2014/main" id="{4064C4F8-B89E-481A-A752-4C90CE5705BB}"/>
              </a:ext>
            </a:extLst>
          </p:cNvPr>
          <p:cNvPicPr>
            <a:picLocks noChangeAspect="1"/>
          </p:cNvPicPr>
          <p:nvPr/>
        </p:nvPicPr>
        <p:blipFill>
          <a:blip r:embed="rId2"/>
          <a:stretch>
            <a:fillRect/>
          </a:stretch>
        </p:blipFill>
        <p:spPr>
          <a:xfrm>
            <a:off x="1622323" y="1256419"/>
            <a:ext cx="5899354" cy="3657600"/>
          </a:xfrm>
          <a:prstGeom prst="rect">
            <a:avLst/>
          </a:prstGeom>
        </p:spPr>
      </p:pic>
    </p:spTree>
    <p:extLst>
      <p:ext uri="{BB962C8B-B14F-4D97-AF65-F5344CB8AC3E}">
        <p14:creationId xmlns:p14="http://schemas.microsoft.com/office/powerpoint/2010/main" val="1997544667"/>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1707FC24-6981-43D9-B525-C7832BA2246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ltGray">
          <a:xfrm>
            <a:off x="252663" y="233586"/>
            <a:ext cx="3249230" cy="4634664"/>
          </a:xfrm>
          <a:prstGeom prst="rect">
            <a:avLst/>
          </a:prstGeom>
          <a:solidFill>
            <a:srgbClr val="404040"/>
          </a:solidFill>
          <a:ln w="127000" cap="sq" cmpd="thinThick">
            <a:solidFill>
              <a:srgbClr val="40404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AFBFA8A-A06F-4C7A-B572-3D07CCFF9349}"/>
              </a:ext>
            </a:extLst>
          </p:cNvPr>
          <p:cNvSpPr>
            <a:spLocks noGrp="1"/>
          </p:cNvSpPr>
          <p:nvPr>
            <p:ph type="title"/>
          </p:nvPr>
        </p:nvSpPr>
        <p:spPr>
          <a:xfrm>
            <a:off x="557212" y="557213"/>
            <a:ext cx="2607469" cy="3721893"/>
          </a:xfrm>
        </p:spPr>
        <p:txBody>
          <a:bodyPr vert="horz" lIns="91440" tIns="45720" rIns="91440" bIns="45720" rtlCol="0" anchor="ctr">
            <a:normAutofit/>
          </a:bodyPr>
          <a:lstStyle/>
          <a:p>
            <a:pPr>
              <a:lnSpc>
                <a:spcPct val="90000"/>
              </a:lnSpc>
            </a:pPr>
            <a:r>
              <a:rPr lang="en-US" sz="3600" kern="1200">
                <a:solidFill>
                  <a:srgbClr val="FFFFFF"/>
                </a:solidFill>
                <a:latin typeface="+mj-lt"/>
                <a:ea typeface="+mj-ea"/>
                <a:cs typeface="+mj-cs"/>
              </a:rPr>
              <a:t>Mitch’s Exam History</a:t>
            </a:r>
          </a:p>
        </p:txBody>
      </p:sp>
      <p:pic>
        <p:nvPicPr>
          <p:cNvPr id="4" name="Picture 3">
            <a:extLst>
              <a:ext uri="{FF2B5EF4-FFF2-40B4-BE49-F238E27FC236}">
                <a16:creationId xmlns:a16="http://schemas.microsoft.com/office/drawing/2014/main" id="{7C09E841-BDDE-4072-90CD-6CF83EEF568B}"/>
              </a:ext>
            </a:extLst>
          </p:cNvPr>
          <p:cNvPicPr>
            <a:picLocks noChangeAspect="1"/>
          </p:cNvPicPr>
          <p:nvPr/>
        </p:nvPicPr>
        <p:blipFill>
          <a:blip r:embed="rId2"/>
          <a:stretch>
            <a:fillRect/>
          </a:stretch>
        </p:blipFill>
        <p:spPr>
          <a:xfrm>
            <a:off x="4038600" y="133349"/>
            <a:ext cx="4591886" cy="4846320"/>
          </a:xfrm>
          <a:prstGeom prst="rect">
            <a:avLst/>
          </a:prstGeom>
        </p:spPr>
      </p:pic>
    </p:spTree>
    <p:extLst>
      <p:ext uri="{BB962C8B-B14F-4D97-AF65-F5344CB8AC3E}">
        <p14:creationId xmlns:p14="http://schemas.microsoft.com/office/powerpoint/2010/main" val="610284395"/>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 name="Freeform: Shape 9">
            <a:extLst>
              <a:ext uri="{FF2B5EF4-FFF2-40B4-BE49-F238E27FC236}">
                <a16:creationId xmlns:a16="http://schemas.microsoft.com/office/drawing/2014/main" id="{46C2E80F-49A6-4372-B103-219D417A55E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63072" y="353193"/>
            <a:ext cx="3285756" cy="4419078"/>
          </a:xfrm>
          <a:custGeom>
            <a:avLst/>
            <a:gdLst>
              <a:gd name="connsiteX0" fmla="*/ 0 w 4381009"/>
              <a:gd name="connsiteY0" fmla="*/ 0 h 5892104"/>
              <a:gd name="connsiteX1" fmla="*/ 4157628 w 4381009"/>
              <a:gd name="connsiteY1" fmla="*/ 0 h 5892104"/>
              <a:gd name="connsiteX2" fmla="*/ 4169302 w 4381009"/>
              <a:gd name="connsiteY2" fmla="*/ 68659 h 5892104"/>
              <a:gd name="connsiteX3" fmla="*/ 4191571 w 4381009"/>
              <a:gd name="connsiteY3" fmla="*/ 205472 h 5892104"/>
              <a:gd name="connsiteX4" fmla="*/ 4213368 w 4381009"/>
              <a:gd name="connsiteY4" fmla="*/ 342890 h 5892104"/>
              <a:gd name="connsiteX5" fmla="*/ 4232030 w 4381009"/>
              <a:gd name="connsiteY5" fmla="*/ 480913 h 5892104"/>
              <a:gd name="connsiteX6" fmla="*/ 4250848 w 4381009"/>
              <a:gd name="connsiteY6" fmla="*/ 618332 h 5892104"/>
              <a:gd name="connsiteX7" fmla="*/ 4268412 w 4381009"/>
              <a:gd name="connsiteY7" fmla="*/ 756355 h 5892104"/>
              <a:gd name="connsiteX8" fmla="*/ 4283467 w 4381009"/>
              <a:gd name="connsiteY8" fmla="*/ 892563 h 5892104"/>
              <a:gd name="connsiteX9" fmla="*/ 4297737 w 4381009"/>
              <a:gd name="connsiteY9" fmla="*/ 1030587 h 5892104"/>
              <a:gd name="connsiteX10" fmla="*/ 4310754 w 4381009"/>
              <a:gd name="connsiteY10" fmla="*/ 1168005 h 5892104"/>
              <a:gd name="connsiteX11" fmla="*/ 4322045 w 4381009"/>
              <a:gd name="connsiteY11" fmla="*/ 1303002 h 5892104"/>
              <a:gd name="connsiteX12" fmla="*/ 4333336 w 4381009"/>
              <a:gd name="connsiteY12" fmla="*/ 1439815 h 5892104"/>
              <a:gd name="connsiteX13" fmla="*/ 4342745 w 4381009"/>
              <a:gd name="connsiteY13" fmla="*/ 1574812 h 5892104"/>
              <a:gd name="connsiteX14" fmla="*/ 4350115 w 4381009"/>
              <a:gd name="connsiteY14" fmla="*/ 1709808 h 5892104"/>
              <a:gd name="connsiteX15" fmla="*/ 4357799 w 4381009"/>
              <a:gd name="connsiteY15" fmla="*/ 1844200 h 5892104"/>
              <a:gd name="connsiteX16" fmla="*/ 4364229 w 4381009"/>
              <a:gd name="connsiteY16" fmla="*/ 1977381 h 5892104"/>
              <a:gd name="connsiteX17" fmla="*/ 4368777 w 4381009"/>
              <a:gd name="connsiteY17" fmla="*/ 2109351 h 5892104"/>
              <a:gd name="connsiteX18" fmla="*/ 4372697 w 4381009"/>
              <a:gd name="connsiteY18" fmla="*/ 2241321 h 5892104"/>
              <a:gd name="connsiteX19" fmla="*/ 4376461 w 4381009"/>
              <a:gd name="connsiteY19" fmla="*/ 2372080 h 5892104"/>
              <a:gd name="connsiteX20" fmla="*/ 4378186 w 4381009"/>
              <a:gd name="connsiteY20" fmla="*/ 2501023 h 5892104"/>
              <a:gd name="connsiteX21" fmla="*/ 4380068 w 4381009"/>
              <a:gd name="connsiteY21" fmla="*/ 2629966 h 5892104"/>
              <a:gd name="connsiteX22" fmla="*/ 4381009 w 4381009"/>
              <a:gd name="connsiteY22" fmla="*/ 2757093 h 5892104"/>
              <a:gd name="connsiteX23" fmla="*/ 4380068 w 4381009"/>
              <a:gd name="connsiteY23" fmla="*/ 2883010 h 5892104"/>
              <a:gd name="connsiteX24" fmla="*/ 4380068 w 4381009"/>
              <a:gd name="connsiteY24" fmla="*/ 3007715 h 5892104"/>
              <a:gd name="connsiteX25" fmla="*/ 4378186 w 4381009"/>
              <a:gd name="connsiteY25" fmla="*/ 3131210 h 5892104"/>
              <a:gd name="connsiteX26" fmla="*/ 4375363 w 4381009"/>
              <a:gd name="connsiteY26" fmla="*/ 3252283 h 5892104"/>
              <a:gd name="connsiteX27" fmla="*/ 4372697 w 4381009"/>
              <a:gd name="connsiteY27" fmla="*/ 3372146 h 5892104"/>
              <a:gd name="connsiteX28" fmla="*/ 4369718 w 4381009"/>
              <a:gd name="connsiteY28" fmla="*/ 3489587 h 5892104"/>
              <a:gd name="connsiteX29" fmla="*/ 4365170 w 4381009"/>
              <a:gd name="connsiteY29" fmla="*/ 3606423 h 5892104"/>
              <a:gd name="connsiteX30" fmla="*/ 4360309 w 4381009"/>
              <a:gd name="connsiteY30" fmla="*/ 3721443 h 5892104"/>
              <a:gd name="connsiteX31" fmla="*/ 4355918 w 4381009"/>
              <a:gd name="connsiteY31" fmla="*/ 3834041 h 5892104"/>
              <a:gd name="connsiteX32" fmla="*/ 4343529 w 4381009"/>
              <a:gd name="connsiteY32" fmla="*/ 4053789 h 5892104"/>
              <a:gd name="connsiteX33" fmla="*/ 4330356 w 4381009"/>
              <a:gd name="connsiteY33" fmla="*/ 4264457 h 5892104"/>
              <a:gd name="connsiteX34" fmla="*/ 4316556 w 4381009"/>
              <a:gd name="connsiteY34" fmla="*/ 4466650 h 5892104"/>
              <a:gd name="connsiteX35" fmla="*/ 4301344 w 4381009"/>
              <a:gd name="connsiteY35" fmla="*/ 4657946 h 5892104"/>
              <a:gd name="connsiteX36" fmla="*/ 4285506 w 4381009"/>
              <a:gd name="connsiteY36" fmla="*/ 4840767 h 5892104"/>
              <a:gd name="connsiteX37" fmla="*/ 4268412 w 4381009"/>
              <a:gd name="connsiteY37" fmla="*/ 5010269 h 5892104"/>
              <a:gd name="connsiteX38" fmla="*/ 4251633 w 4381009"/>
              <a:gd name="connsiteY38" fmla="*/ 5169481 h 5892104"/>
              <a:gd name="connsiteX39" fmla="*/ 4234853 w 4381009"/>
              <a:gd name="connsiteY39" fmla="*/ 5315980 h 5892104"/>
              <a:gd name="connsiteX40" fmla="*/ 4219014 w 4381009"/>
              <a:gd name="connsiteY40" fmla="*/ 5450371 h 5892104"/>
              <a:gd name="connsiteX41" fmla="*/ 4203959 w 4381009"/>
              <a:gd name="connsiteY41" fmla="*/ 5569628 h 5892104"/>
              <a:gd name="connsiteX42" fmla="*/ 4189689 w 4381009"/>
              <a:gd name="connsiteY42" fmla="*/ 5677384 h 5892104"/>
              <a:gd name="connsiteX43" fmla="*/ 4177770 w 4381009"/>
              <a:gd name="connsiteY43" fmla="*/ 5768189 h 5892104"/>
              <a:gd name="connsiteX44" fmla="*/ 4166479 w 4381009"/>
              <a:gd name="connsiteY44" fmla="*/ 5844465 h 5892104"/>
              <a:gd name="connsiteX45" fmla="*/ 4159132 w 4381009"/>
              <a:gd name="connsiteY45" fmla="*/ 5892104 h 5892104"/>
              <a:gd name="connsiteX46" fmla="*/ 0 w 4381009"/>
              <a:gd name="connsiteY46" fmla="*/ 5892104 h 5892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4381009" h="5892104">
                <a:moveTo>
                  <a:pt x="0" y="0"/>
                </a:moveTo>
                <a:lnTo>
                  <a:pt x="4157628" y="0"/>
                </a:lnTo>
                <a:lnTo>
                  <a:pt x="4169302" y="68659"/>
                </a:lnTo>
                <a:lnTo>
                  <a:pt x="4191571" y="205472"/>
                </a:lnTo>
                <a:lnTo>
                  <a:pt x="4213368" y="342890"/>
                </a:lnTo>
                <a:lnTo>
                  <a:pt x="4232030" y="480913"/>
                </a:lnTo>
                <a:lnTo>
                  <a:pt x="4250848" y="618332"/>
                </a:lnTo>
                <a:lnTo>
                  <a:pt x="4268412" y="756355"/>
                </a:lnTo>
                <a:lnTo>
                  <a:pt x="4283467" y="892563"/>
                </a:lnTo>
                <a:lnTo>
                  <a:pt x="4297737" y="1030587"/>
                </a:lnTo>
                <a:lnTo>
                  <a:pt x="4310754" y="1168005"/>
                </a:lnTo>
                <a:lnTo>
                  <a:pt x="4322045" y="1303002"/>
                </a:lnTo>
                <a:lnTo>
                  <a:pt x="4333336" y="1439815"/>
                </a:lnTo>
                <a:lnTo>
                  <a:pt x="4342745" y="1574812"/>
                </a:lnTo>
                <a:lnTo>
                  <a:pt x="4350115" y="1709808"/>
                </a:lnTo>
                <a:lnTo>
                  <a:pt x="4357799" y="1844200"/>
                </a:lnTo>
                <a:lnTo>
                  <a:pt x="4364229" y="1977381"/>
                </a:lnTo>
                <a:lnTo>
                  <a:pt x="4368777" y="2109351"/>
                </a:lnTo>
                <a:lnTo>
                  <a:pt x="4372697" y="2241321"/>
                </a:lnTo>
                <a:lnTo>
                  <a:pt x="4376461" y="2372080"/>
                </a:lnTo>
                <a:lnTo>
                  <a:pt x="4378186" y="2501023"/>
                </a:lnTo>
                <a:lnTo>
                  <a:pt x="4380068" y="2629966"/>
                </a:lnTo>
                <a:lnTo>
                  <a:pt x="4381009" y="2757093"/>
                </a:lnTo>
                <a:lnTo>
                  <a:pt x="4380068" y="2883010"/>
                </a:lnTo>
                <a:lnTo>
                  <a:pt x="4380068" y="3007715"/>
                </a:lnTo>
                <a:lnTo>
                  <a:pt x="4378186" y="3131210"/>
                </a:lnTo>
                <a:lnTo>
                  <a:pt x="4375363" y="3252283"/>
                </a:lnTo>
                <a:lnTo>
                  <a:pt x="4372697" y="3372146"/>
                </a:lnTo>
                <a:lnTo>
                  <a:pt x="4369718" y="3489587"/>
                </a:lnTo>
                <a:lnTo>
                  <a:pt x="4365170" y="3606423"/>
                </a:lnTo>
                <a:lnTo>
                  <a:pt x="4360309" y="3721443"/>
                </a:lnTo>
                <a:lnTo>
                  <a:pt x="4355918" y="3834041"/>
                </a:lnTo>
                <a:lnTo>
                  <a:pt x="4343529" y="4053789"/>
                </a:lnTo>
                <a:lnTo>
                  <a:pt x="4330356" y="4264457"/>
                </a:lnTo>
                <a:lnTo>
                  <a:pt x="4316556" y="4466650"/>
                </a:lnTo>
                <a:lnTo>
                  <a:pt x="4301344" y="4657946"/>
                </a:lnTo>
                <a:lnTo>
                  <a:pt x="4285506" y="4840767"/>
                </a:lnTo>
                <a:lnTo>
                  <a:pt x="4268412" y="5010269"/>
                </a:lnTo>
                <a:lnTo>
                  <a:pt x="4251633" y="5169481"/>
                </a:lnTo>
                <a:lnTo>
                  <a:pt x="4234853" y="5315980"/>
                </a:lnTo>
                <a:lnTo>
                  <a:pt x="4219014" y="5450371"/>
                </a:lnTo>
                <a:lnTo>
                  <a:pt x="4203959" y="5569628"/>
                </a:lnTo>
                <a:lnTo>
                  <a:pt x="4189689" y="5677384"/>
                </a:lnTo>
                <a:lnTo>
                  <a:pt x="4177770" y="5768189"/>
                </a:lnTo>
                <a:lnTo>
                  <a:pt x="4166479" y="5844465"/>
                </a:lnTo>
                <a:lnTo>
                  <a:pt x="4159132" y="5892104"/>
                </a:lnTo>
                <a:lnTo>
                  <a:pt x="0" y="5892104"/>
                </a:lnTo>
                <a:close/>
              </a:path>
            </a:pathLst>
          </a:custGeom>
          <a:solidFill>
            <a:srgbClr val="40404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2B39FC80-0014-4242-AA9F-6C1F8619072D}"/>
              </a:ext>
            </a:extLst>
          </p:cNvPr>
          <p:cNvSpPr>
            <a:spLocks noGrp="1"/>
          </p:cNvSpPr>
          <p:nvPr>
            <p:ph type="title"/>
          </p:nvPr>
        </p:nvSpPr>
        <p:spPr>
          <a:xfrm>
            <a:off x="647271" y="759003"/>
            <a:ext cx="2562119" cy="3596556"/>
          </a:xfrm>
        </p:spPr>
        <p:txBody>
          <a:bodyPr>
            <a:normAutofit/>
          </a:bodyPr>
          <a:lstStyle/>
          <a:p>
            <a:r>
              <a:rPr lang="en-US" dirty="0">
                <a:solidFill>
                  <a:srgbClr val="FFFFFF"/>
                </a:solidFill>
              </a:rPr>
              <a:t>Study Tips and Tricks</a:t>
            </a:r>
          </a:p>
        </p:txBody>
      </p:sp>
      <p:graphicFrame>
        <p:nvGraphicFramePr>
          <p:cNvPr id="5" name="Content Placeholder 2">
            <a:extLst>
              <a:ext uri="{FF2B5EF4-FFF2-40B4-BE49-F238E27FC236}">
                <a16:creationId xmlns:a16="http://schemas.microsoft.com/office/drawing/2014/main" id="{7053D21F-9820-440B-B846-D4BEFE25E30F}"/>
              </a:ext>
            </a:extLst>
          </p:cNvPr>
          <p:cNvGraphicFramePr>
            <a:graphicFrameLocks noGrp="1"/>
          </p:cNvGraphicFramePr>
          <p:nvPr>
            <p:ph idx="1"/>
            <p:extLst>
              <p:ext uri="{D42A27DB-BD31-4B8C-83A1-F6EECF244321}">
                <p14:modId xmlns:p14="http://schemas.microsoft.com/office/powerpoint/2010/main" val="741212586"/>
              </p:ext>
            </p:extLst>
          </p:nvPr>
        </p:nvGraphicFramePr>
        <p:xfrm>
          <a:off x="3895725" y="353193"/>
          <a:ext cx="4885203" cy="4414069"/>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96751761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2A8AA5BC-4F7A-4226-8F99-6D824B226A9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2493"/>
            <a:ext cx="9144000" cy="5145993"/>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3E5445C6-DD42-4979-86FF-03730E8C6DB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ltGray">
          <a:xfrm>
            <a:off x="241300" y="241299"/>
            <a:ext cx="8680116" cy="4660901"/>
          </a:xfrm>
          <a:prstGeom prst="rect">
            <a:avLst/>
          </a:prstGeom>
          <a:solidFill>
            <a:schemeClr val="bg1">
              <a:lumMod val="75000"/>
              <a:lumOff val="25000"/>
            </a:schemeClr>
          </a:solidFill>
          <a:ln w="127000" cap="sq" cmpd="thinThick">
            <a:solidFill>
              <a:schemeClr val="bg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25E5DA1D-BB45-4F00-BD64-315E5F236867}"/>
              </a:ext>
            </a:extLst>
          </p:cNvPr>
          <p:cNvSpPr>
            <a:spLocks noGrp="1"/>
          </p:cNvSpPr>
          <p:nvPr>
            <p:ph type="ctrTitle"/>
          </p:nvPr>
        </p:nvSpPr>
        <p:spPr>
          <a:xfrm>
            <a:off x="1143000" y="841771"/>
            <a:ext cx="6858000" cy="2130028"/>
          </a:xfrm>
        </p:spPr>
        <p:txBody>
          <a:bodyPr>
            <a:normAutofit/>
          </a:bodyPr>
          <a:lstStyle/>
          <a:p>
            <a:r>
              <a:rPr lang="en-US" dirty="0">
                <a:solidFill>
                  <a:schemeClr val="tx1"/>
                </a:solidFill>
              </a:rPr>
              <a:t>Getting Started</a:t>
            </a:r>
          </a:p>
        </p:txBody>
      </p:sp>
      <p:sp>
        <p:nvSpPr>
          <p:cNvPr id="3" name="Subtitle 2">
            <a:extLst>
              <a:ext uri="{FF2B5EF4-FFF2-40B4-BE49-F238E27FC236}">
                <a16:creationId xmlns:a16="http://schemas.microsoft.com/office/drawing/2014/main" id="{CB7C4C92-DE7E-49CD-9102-96AD256AC253}"/>
              </a:ext>
            </a:extLst>
          </p:cNvPr>
          <p:cNvSpPr>
            <a:spLocks noGrp="1"/>
          </p:cNvSpPr>
          <p:nvPr>
            <p:ph type="subTitle" idx="1"/>
          </p:nvPr>
        </p:nvSpPr>
        <p:spPr>
          <a:xfrm>
            <a:off x="1143000" y="3192327"/>
            <a:ext cx="6858000" cy="1200613"/>
          </a:xfrm>
        </p:spPr>
        <p:txBody>
          <a:bodyPr>
            <a:normAutofit/>
          </a:bodyPr>
          <a:lstStyle/>
          <a:p>
            <a:endParaRPr lang="en-US" dirty="0">
              <a:solidFill>
                <a:schemeClr val="accent1">
                  <a:lumMod val="60000"/>
                  <a:lumOff val="40000"/>
                </a:schemeClr>
              </a:solidFill>
            </a:endParaRPr>
          </a:p>
        </p:txBody>
      </p:sp>
      <p:cxnSp>
        <p:nvCxnSpPr>
          <p:cNvPr id="12" name="Straight Connector 11">
            <a:extLst>
              <a:ext uri="{FF2B5EF4-FFF2-40B4-BE49-F238E27FC236}">
                <a16:creationId xmlns:a16="http://schemas.microsoft.com/office/drawing/2014/main" id="{45000665-DFC7-417E-8FD7-516A0F15C975}"/>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3543300" y="3082062"/>
            <a:ext cx="2057400" cy="0"/>
          </a:xfrm>
          <a:prstGeom prst="line">
            <a:avLst/>
          </a:prstGeom>
          <a:ln w="12700">
            <a:solidFill>
              <a:schemeClr val="tx1">
                <a:lumMod val="8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88229190"/>
      </p:ext>
    </p:extLst>
  </p:cSld>
  <p:clrMapOvr>
    <a:overrideClrMapping bg1="dk1" tx1="lt1" bg2="dk2" tx2="lt2" accent1="accent1" accent2="accent2" accent3="accent3" accent4="accent4" accent5="accent5" accent6="accent6" hlink="hlink" folHlink="folHlink"/>
  </p:clrMapOvr>
</p:sld>
</file>

<file path=ppt/slides/slide4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 name="Freeform: Shape 9">
            <a:extLst>
              <a:ext uri="{FF2B5EF4-FFF2-40B4-BE49-F238E27FC236}">
                <a16:creationId xmlns:a16="http://schemas.microsoft.com/office/drawing/2014/main" id="{46C2E80F-49A6-4372-B103-219D417A55E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63072" y="353193"/>
            <a:ext cx="3285756" cy="4419078"/>
          </a:xfrm>
          <a:custGeom>
            <a:avLst/>
            <a:gdLst>
              <a:gd name="connsiteX0" fmla="*/ 0 w 4381009"/>
              <a:gd name="connsiteY0" fmla="*/ 0 h 5892104"/>
              <a:gd name="connsiteX1" fmla="*/ 4157628 w 4381009"/>
              <a:gd name="connsiteY1" fmla="*/ 0 h 5892104"/>
              <a:gd name="connsiteX2" fmla="*/ 4169302 w 4381009"/>
              <a:gd name="connsiteY2" fmla="*/ 68659 h 5892104"/>
              <a:gd name="connsiteX3" fmla="*/ 4191571 w 4381009"/>
              <a:gd name="connsiteY3" fmla="*/ 205472 h 5892104"/>
              <a:gd name="connsiteX4" fmla="*/ 4213368 w 4381009"/>
              <a:gd name="connsiteY4" fmla="*/ 342890 h 5892104"/>
              <a:gd name="connsiteX5" fmla="*/ 4232030 w 4381009"/>
              <a:gd name="connsiteY5" fmla="*/ 480913 h 5892104"/>
              <a:gd name="connsiteX6" fmla="*/ 4250848 w 4381009"/>
              <a:gd name="connsiteY6" fmla="*/ 618332 h 5892104"/>
              <a:gd name="connsiteX7" fmla="*/ 4268412 w 4381009"/>
              <a:gd name="connsiteY7" fmla="*/ 756355 h 5892104"/>
              <a:gd name="connsiteX8" fmla="*/ 4283467 w 4381009"/>
              <a:gd name="connsiteY8" fmla="*/ 892563 h 5892104"/>
              <a:gd name="connsiteX9" fmla="*/ 4297737 w 4381009"/>
              <a:gd name="connsiteY9" fmla="*/ 1030587 h 5892104"/>
              <a:gd name="connsiteX10" fmla="*/ 4310754 w 4381009"/>
              <a:gd name="connsiteY10" fmla="*/ 1168005 h 5892104"/>
              <a:gd name="connsiteX11" fmla="*/ 4322045 w 4381009"/>
              <a:gd name="connsiteY11" fmla="*/ 1303002 h 5892104"/>
              <a:gd name="connsiteX12" fmla="*/ 4333336 w 4381009"/>
              <a:gd name="connsiteY12" fmla="*/ 1439815 h 5892104"/>
              <a:gd name="connsiteX13" fmla="*/ 4342745 w 4381009"/>
              <a:gd name="connsiteY13" fmla="*/ 1574812 h 5892104"/>
              <a:gd name="connsiteX14" fmla="*/ 4350115 w 4381009"/>
              <a:gd name="connsiteY14" fmla="*/ 1709808 h 5892104"/>
              <a:gd name="connsiteX15" fmla="*/ 4357799 w 4381009"/>
              <a:gd name="connsiteY15" fmla="*/ 1844200 h 5892104"/>
              <a:gd name="connsiteX16" fmla="*/ 4364229 w 4381009"/>
              <a:gd name="connsiteY16" fmla="*/ 1977381 h 5892104"/>
              <a:gd name="connsiteX17" fmla="*/ 4368777 w 4381009"/>
              <a:gd name="connsiteY17" fmla="*/ 2109351 h 5892104"/>
              <a:gd name="connsiteX18" fmla="*/ 4372697 w 4381009"/>
              <a:gd name="connsiteY18" fmla="*/ 2241321 h 5892104"/>
              <a:gd name="connsiteX19" fmla="*/ 4376461 w 4381009"/>
              <a:gd name="connsiteY19" fmla="*/ 2372080 h 5892104"/>
              <a:gd name="connsiteX20" fmla="*/ 4378186 w 4381009"/>
              <a:gd name="connsiteY20" fmla="*/ 2501023 h 5892104"/>
              <a:gd name="connsiteX21" fmla="*/ 4380068 w 4381009"/>
              <a:gd name="connsiteY21" fmla="*/ 2629966 h 5892104"/>
              <a:gd name="connsiteX22" fmla="*/ 4381009 w 4381009"/>
              <a:gd name="connsiteY22" fmla="*/ 2757093 h 5892104"/>
              <a:gd name="connsiteX23" fmla="*/ 4380068 w 4381009"/>
              <a:gd name="connsiteY23" fmla="*/ 2883010 h 5892104"/>
              <a:gd name="connsiteX24" fmla="*/ 4380068 w 4381009"/>
              <a:gd name="connsiteY24" fmla="*/ 3007715 h 5892104"/>
              <a:gd name="connsiteX25" fmla="*/ 4378186 w 4381009"/>
              <a:gd name="connsiteY25" fmla="*/ 3131210 h 5892104"/>
              <a:gd name="connsiteX26" fmla="*/ 4375363 w 4381009"/>
              <a:gd name="connsiteY26" fmla="*/ 3252283 h 5892104"/>
              <a:gd name="connsiteX27" fmla="*/ 4372697 w 4381009"/>
              <a:gd name="connsiteY27" fmla="*/ 3372146 h 5892104"/>
              <a:gd name="connsiteX28" fmla="*/ 4369718 w 4381009"/>
              <a:gd name="connsiteY28" fmla="*/ 3489587 h 5892104"/>
              <a:gd name="connsiteX29" fmla="*/ 4365170 w 4381009"/>
              <a:gd name="connsiteY29" fmla="*/ 3606423 h 5892104"/>
              <a:gd name="connsiteX30" fmla="*/ 4360309 w 4381009"/>
              <a:gd name="connsiteY30" fmla="*/ 3721443 h 5892104"/>
              <a:gd name="connsiteX31" fmla="*/ 4355918 w 4381009"/>
              <a:gd name="connsiteY31" fmla="*/ 3834041 h 5892104"/>
              <a:gd name="connsiteX32" fmla="*/ 4343529 w 4381009"/>
              <a:gd name="connsiteY32" fmla="*/ 4053789 h 5892104"/>
              <a:gd name="connsiteX33" fmla="*/ 4330356 w 4381009"/>
              <a:gd name="connsiteY33" fmla="*/ 4264457 h 5892104"/>
              <a:gd name="connsiteX34" fmla="*/ 4316556 w 4381009"/>
              <a:gd name="connsiteY34" fmla="*/ 4466650 h 5892104"/>
              <a:gd name="connsiteX35" fmla="*/ 4301344 w 4381009"/>
              <a:gd name="connsiteY35" fmla="*/ 4657946 h 5892104"/>
              <a:gd name="connsiteX36" fmla="*/ 4285506 w 4381009"/>
              <a:gd name="connsiteY36" fmla="*/ 4840767 h 5892104"/>
              <a:gd name="connsiteX37" fmla="*/ 4268412 w 4381009"/>
              <a:gd name="connsiteY37" fmla="*/ 5010269 h 5892104"/>
              <a:gd name="connsiteX38" fmla="*/ 4251633 w 4381009"/>
              <a:gd name="connsiteY38" fmla="*/ 5169481 h 5892104"/>
              <a:gd name="connsiteX39" fmla="*/ 4234853 w 4381009"/>
              <a:gd name="connsiteY39" fmla="*/ 5315980 h 5892104"/>
              <a:gd name="connsiteX40" fmla="*/ 4219014 w 4381009"/>
              <a:gd name="connsiteY40" fmla="*/ 5450371 h 5892104"/>
              <a:gd name="connsiteX41" fmla="*/ 4203959 w 4381009"/>
              <a:gd name="connsiteY41" fmla="*/ 5569628 h 5892104"/>
              <a:gd name="connsiteX42" fmla="*/ 4189689 w 4381009"/>
              <a:gd name="connsiteY42" fmla="*/ 5677384 h 5892104"/>
              <a:gd name="connsiteX43" fmla="*/ 4177770 w 4381009"/>
              <a:gd name="connsiteY43" fmla="*/ 5768189 h 5892104"/>
              <a:gd name="connsiteX44" fmla="*/ 4166479 w 4381009"/>
              <a:gd name="connsiteY44" fmla="*/ 5844465 h 5892104"/>
              <a:gd name="connsiteX45" fmla="*/ 4159132 w 4381009"/>
              <a:gd name="connsiteY45" fmla="*/ 5892104 h 5892104"/>
              <a:gd name="connsiteX46" fmla="*/ 0 w 4381009"/>
              <a:gd name="connsiteY46" fmla="*/ 5892104 h 5892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4381009" h="5892104">
                <a:moveTo>
                  <a:pt x="0" y="0"/>
                </a:moveTo>
                <a:lnTo>
                  <a:pt x="4157628" y="0"/>
                </a:lnTo>
                <a:lnTo>
                  <a:pt x="4169302" y="68659"/>
                </a:lnTo>
                <a:lnTo>
                  <a:pt x="4191571" y="205472"/>
                </a:lnTo>
                <a:lnTo>
                  <a:pt x="4213368" y="342890"/>
                </a:lnTo>
                <a:lnTo>
                  <a:pt x="4232030" y="480913"/>
                </a:lnTo>
                <a:lnTo>
                  <a:pt x="4250848" y="618332"/>
                </a:lnTo>
                <a:lnTo>
                  <a:pt x="4268412" y="756355"/>
                </a:lnTo>
                <a:lnTo>
                  <a:pt x="4283467" y="892563"/>
                </a:lnTo>
                <a:lnTo>
                  <a:pt x="4297737" y="1030587"/>
                </a:lnTo>
                <a:lnTo>
                  <a:pt x="4310754" y="1168005"/>
                </a:lnTo>
                <a:lnTo>
                  <a:pt x="4322045" y="1303002"/>
                </a:lnTo>
                <a:lnTo>
                  <a:pt x="4333336" y="1439815"/>
                </a:lnTo>
                <a:lnTo>
                  <a:pt x="4342745" y="1574812"/>
                </a:lnTo>
                <a:lnTo>
                  <a:pt x="4350115" y="1709808"/>
                </a:lnTo>
                <a:lnTo>
                  <a:pt x="4357799" y="1844200"/>
                </a:lnTo>
                <a:lnTo>
                  <a:pt x="4364229" y="1977381"/>
                </a:lnTo>
                <a:lnTo>
                  <a:pt x="4368777" y="2109351"/>
                </a:lnTo>
                <a:lnTo>
                  <a:pt x="4372697" y="2241321"/>
                </a:lnTo>
                <a:lnTo>
                  <a:pt x="4376461" y="2372080"/>
                </a:lnTo>
                <a:lnTo>
                  <a:pt x="4378186" y="2501023"/>
                </a:lnTo>
                <a:lnTo>
                  <a:pt x="4380068" y="2629966"/>
                </a:lnTo>
                <a:lnTo>
                  <a:pt x="4381009" y="2757093"/>
                </a:lnTo>
                <a:lnTo>
                  <a:pt x="4380068" y="2883010"/>
                </a:lnTo>
                <a:lnTo>
                  <a:pt x="4380068" y="3007715"/>
                </a:lnTo>
                <a:lnTo>
                  <a:pt x="4378186" y="3131210"/>
                </a:lnTo>
                <a:lnTo>
                  <a:pt x="4375363" y="3252283"/>
                </a:lnTo>
                <a:lnTo>
                  <a:pt x="4372697" y="3372146"/>
                </a:lnTo>
                <a:lnTo>
                  <a:pt x="4369718" y="3489587"/>
                </a:lnTo>
                <a:lnTo>
                  <a:pt x="4365170" y="3606423"/>
                </a:lnTo>
                <a:lnTo>
                  <a:pt x="4360309" y="3721443"/>
                </a:lnTo>
                <a:lnTo>
                  <a:pt x="4355918" y="3834041"/>
                </a:lnTo>
                <a:lnTo>
                  <a:pt x="4343529" y="4053789"/>
                </a:lnTo>
                <a:lnTo>
                  <a:pt x="4330356" y="4264457"/>
                </a:lnTo>
                <a:lnTo>
                  <a:pt x="4316556" y="4466650"/>
                </a:lnTo>
                <a:lnTo>
                  <a:pt x="4301344" y="4657946"/>
                </a:lnTo>
                <a:lnTo>
                  <a:pt x="4285506" y="4840767"/>
                </a:lnTo>
                <a:lnTo>
                  <a:pt x="4268412" y="5010269"/>
                </a:lnTo>
                <a:lnTo>
                  <a:pt x="4251633" y="5169481"/>
                </a:lnTo>
                <a:lnTo>
                  <a:pt x="4234853" y="5315980"/>
                </a:lnTo>
                <a:lnTo>
                  <a:pt x="4219014" y="5450371"/>
                </a:lnTo>
                <a:lnTo>
                  <a:pt x="4203959" y="5569628"/>
                </a:lnTo>
                <a:lnTo>
                  <a:pt x="4189689" y="5677384"/>
                </a:lnTo>
                <a:lnTo>
                  <a:pt x="4177770" y="5768189"/>
                </a:lnTo>
                <a:lnTo>
                  <a:pt x="4166479" y="5844465"/>
                </a:lnTo>
                <a:lnTo>
                  <a:pt x="4159132" y="5892104"/>
                </a:lnTo>
                <a:lnTo>
                  <a:pt x="0" y="5892104"/>
                </a:lnTo>
                <a:close/>
              </a:path>
            </a:pathLst>
          </a:custGeom>
          <a:solidFill>
            <a:srgbClr val="40404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45BC80E5-C5ED-49D3-B861-EE3D863001BE}"/>
              </a:ext>
            </a:extLst>
          </p:cNvPr>
          <p:cNvSpPr>
            <a:spLocks noGrp="1"/>
          </p:cNvSpPr>
          <p:nvPr>
            <p:ph type="title"/>
          </p:nvPr>
        </p:nvSpPr>
        <p:spPr>
          <a:xfrm>
            <a:off x="647271" y="759003"/>
            <a:ext cx="2562119" cy="3596556"/>
          </a:xfrm>
        </p:spPr>
        <p:txBody>
          <a:bodyPr>
            <a:normAutofit/>
          </a:bodyPr>
          <a:lstStyle/>
          <a:p>
            <a:r>
              <a:rPr lang="en-US" dirty="0">
                <a:solidFill>
                  <a:srgbClr val="FFFFFF"/>
                </a:solidFill>
              </a:rPr>
              <a:t>Study Tips and Tricks</a:t>
            </a:r>
          </a:p>
        </p:txBody>
      </p:sp>
      <p:graphicFrame>
        <p:nvGraphicFramePr>
          <p:cNvPr id="5" name="Content Placeholder 2">
            <a:extLst>
              <a:ext uri="{FF2B5EF4-FFF2-40B4-BE49-F238E27FC236}">
                <a16:creationId xmlns:a16="http://schemas.microsoft.com/office/drawing/2014/main" id="{1A10AF2E-480A-4BE4-A1A0-F1E73C775993}"/>
              </a:ext>
            </a:extLst>
          </p:cNvPr>
          <p:cNvGraphicFramePr>
            <a:graphicFrameLocks noGrp="1"/>
          </p:cNvGraphicFramePr>
          <p:nvPr>
            <p:ph idx="1"/>
            <p:extLst>
              <p:ext uri="{D42A27DB-BD31-4B8C-83A1-F6EECF244321}">
                <p14:modId xmlns:p14="http://schemas.microsoft.com/office/powerpoint/2010/main" val="1043795770"/>
              </p:ext>
            </p:extLst>
          </p:nvPr>
        </p:nvGraphicFramePr>
        <p:xfrm>
          <a:off x="3895725" y="353193"/>
          <a:ext cx="4885203" cy="4414069"/>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1276005222"/>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0" name="Freeform: Shape 19">
            <a:extLst>
              <a:ext uri="{FF2B5EF4-FFF2-40B4-BE49-F238E27FC236}">
                <a16:creationId xmlns:a16="http://schemas.microsoft.com/office/drawing/2014/main" id="{46C2E80F-49A6-4372-B103-219D417A55E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63072" y="353193"/>
            <a:ext cx="3285756" cy="4419078"/>
          </a:xfrm>
          <a:custGeom>
            <a:avLst/>
            <a:gdLst>
              <a:gd name="connsiteX0" fmla="*/ 0 w 4381009"/>
              <a:gd name="connsiteY0" fmla="*/ 0 h 5892104"/>
              <a:gd name="connsiteX1" fmla="*/ 4157628 w 4381009"/>
              <a:gd name="connsiteY1" fmla="*/ 0 h 5892104"/>
              <a:gd name="connsiteX2" fmla="*/ 4169302 w 4381009"/>
              <a:gd name="connsiteY2" fmla="*/ 68659 h 5892104"/>
              <a:gd name="connsiteX3" fmla="*/ 4191571 w 4381009"/>
              <a:gd name="connsiteY3" fmla="*/ 205472 h 5892104"/>
              <a:gd name="connsiteX4" fmla="*/ 4213368 w 4381009"/>
              <a:gd name="connsiteY4" fmla="*/ 342890 h 5892104"/>
              <a:gd name="connsiteX5" fmla="*/ 4232030 w 4381009"/>
              <a:gd name="connsiteY5" fmla="*/ 480913 h 5892104"/>
              <a:gd name="connsiteX6" fmla="*/ 4250848 w 4381009"/>
              <a:gd name="connsiteY6" fmla="*/ 618332 h 5892104"/>
              <a:gd name="connsiteX7" fmla="*/ 4268412 w 4381009"/>
              <a:gd name="connsiteY7" fmla="*/ 756355 h 5892104"/>
              <a:gd name="connsiteX8" fmla="*/ 4283467 w 4381009"/>
              <a:gd name="connsiteY8" fmla="*/ 892563 h 5892104"/>
              <a:gd name="connsiteX9" fmla="*/ 4297737 w 4381009"/>
              <a:gd name="connsiteY9" fmla="*/ 1030587 h 5892104"/>
              <a:gd name="connsiteX10" fmla="*/ 4310754 w 4381009"/>
              <a:gd name="connsiteY10" fmla="*/ 1168005 h 5892104"/>
              <a:gd name="connsiteX11" fmla="*/ 4322045 w 4381009"/>
              <a:gd name="connsiteY11" fmla="*/ 1303002 h 5892104"/>
              <a:gd name="connsiteX12" fmla="*/ 4333336 w 4381009"/>
              <a:gd name="connsiteY12" fmla="*/ 1439815 h 5892104"/>
              <a:gd name="connsiteX13" fmla="*/ 4342745 w 4381009"/>
              <a:gd name="connsiteY13" fmla="*/ 1574812 h 5892104"/>
              <a:gd name="connsiteX14" fmla="*/ 4350115 w 4381009"/>
              <a:gd name="connsiteY14" fmla="*/ 1709808 h 5892104"/>
              <a:gd name="connsiteX15" fmla="*/ 4357799 w 4381009"/>
              <a:gd name="connsiteY15" fmla="*/ 1844200 h 5892104"/>
              <a:gd name="connsiteX16" fmla="*/ 4364229 w 4381009"/>
              <a:gd name="connsiteY16" fmla="*/ 1977381 h 5892104"/>
              <a:gd name="connsiteX17" fmla="*/ 4368777 w 4381009"/>
              <a:gd name="connsiteY17" fmla="*/ 2109351 h 5892104"/>
              <a:gd name="connsiteX18" fmla="*/ 4372697 w 4381009"/>
              <a:gd name="connsiteY18" fmla="*/ 2241321 h 5892104"/>
              <a:gd name="connsiteX19" fmla="*/ 4376461 w 4381009"/>
              <a:gd name="connsiteY19" fmla="*/ 2372080 h 5892104"/>
              <a:gd name="connsiteX20" fmla="*/ 4378186 w 4381009"/>
              <a:gd name="connsiteY20" fmla="*/ 2501023 h 5892104"/>
              <a:gd name="connsiteX21" fmla="*/ 4380068 w 4381009"/>
              <a:gd name="connsiteY21" fmla="*/ 2629966 h 5892104"/>
              <a:gd name="connsiteX22" fmla="*/ 4381009 w 4381009"/>
              <a:gd name="connsiteY22" fmla="*/ 2757093 h 5892104"/>
              <a:gd name="connsiteX23" fmla="*/ 4380068 w 4381009"/>
              <a:gd name="connsiteY23" fmla="*/ 2883010 h 5892104"/>
              <a:gd name="connsiteX24" fmla="*/ 4380068 w 4381009"/>
              <a:gd name="connsiteY24" fmla="*/ 3007715 h 5892104"/>
              <a:gd name="connsiteX25" fmla="*/ 4378186 w 4381009"/>
              <a:gd name="connsiteY25" fmla="*/ 3131210 h 5892104"/>
              <a:gd name="connsiteX26" fmla="*/ 4375363 w 4381009"/>
              <a:gd name="connsiteY26" fmla="*/ 3252283 h 5892104"/>
              <a:gd name="connsiteX27" fmla="*/ 4372697 w 4381009"/>
              <a:gd name="connsiteY27" fmla="*/ 3372146 h 5892104"/>
              <a:gd name="connsiteX28" fmla="*/ 4369718 w 4381009"/>
              <a:gd name="connsiteY28" fmla="*/ 3489587 h 5892104"/>
              <a:gd name="connsiteX29" fmla="*/ 4365170 w 4381009"/>
              <a:gd name="connsiteY29" fmla="*/ 3606423 h 5892104"/>
              <a:gd name="connsiteX30" fmla="*/ 4360309 w 4381009"/>
              <a:gd name="connsiteY30" fmla="*/ 3721443 h 5892104"/>
              <a:gd name="connsiteX31" fmla="*/ 4355918 w 4381009"/>
              <a:gd name="connsiteY31" fmla="*/ 3834041 h 5892104"/>
              <a:gd name="connsiteX32" fmla="*/ 4343529 w 4381009"/>
              <a:gd name="connsiteY32" fmla="*/ 4053789 h 5892104"/>
              <a:gd name="connsiteX33" fmla="*/ 4330356 w 4381009"/>
              <a:gd name="connsiteY33" fmla="*/ 4264457 h 5892104"/>
              <a:gd name="connsiteX34" fmla="*/ 4316556 w 4381009"/>
              <a:gd name="connsiteY34" fmla="*/ 4466650 h 5892104"/>
              <a:gd name="connsiteX35" fmla="*/ 4301344 w 4381009"/>
              <a:gd name="connsiteY35" fmla="*/ 4657946 h 5892104"/>
              <a:gd name="connsiteX36" fmla="*/ 4285506 w 4381009"/>
              <a:gd name="connsiteY36" fmla="*/ 4840767 h 5892104"/>
              <a:gd name="connsiteX37" fmla="*/ 4268412 w 4381009"/>
              <a:gd name="connsiteY37" fmla="*/ 5010269 h 5892104"/>
              <a:gd name="connsiteX38" fmla="*/ 4251633 w 4381009"/>
              <a:gd name="connsiteY38" fmla="*/ 5169481 h 5892104"/>
              <a:gd name="connsiteX39" fmla="*/ 4234853 w 4381009"/>
              <a:gd name="connsiteY39" fmla="*/ 5315980 h 5892104"/>
              <a:gd name="connsiteX40" fmla="*/ 4219014 w 4381009"/>
              <a:gd name="connsiteY40" fmla="*/ 5450371 h 5892104"/>
              <a:gd name="connsiteX41" fmla="*/ 4203959 w 4381009"/>
              <a:gd name="connsiteY41" fmla="*/ 5569628 h 5892104"/>
              <a:gd name="connsiteX42" fmla="*/ 4189689 w 4381009"/>
              <a:gd name="connsiteY42" fmla="*/ 5677384 h 5892104"/>
              <a:gd name="connsiteX43" fmla="*/ 4177770 w 4381009"/>
              <a:gd name="connsiteY43" fmla="*/ 5768189 h 5892104"/>
              <a:gd name="connsiteX44" fmla="*/ 4166479 w 4381009"/>
              <a:gd name="connsiteY44" fmla="*/ 5844465 h 5892104"/>
              <a:gd name="connsiteX45" fmla="*/ 4159132 w 4381009"/>
              <a:gd name="connsiteY45" fmla="*/ 5892104 h 5892104"/>
              <a:gd name="connsiteX46" fmla="*/ 0 w 4381009"/>
              <a:gd name="connsiteY46" fmla="*/ 5892104 h 5892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4381009" h="5892104">
                <a:moveTo>
                  <a:pt x="0" y="0"/>
                </a:moveTo>
                <a:lnTo>
                  <a:pt x="4157628" y="0"/>
                </a:lnTo>
                <a:lnTo>
                  <a:pt x="4169302" y="68659"/>
                </a:lnTo>
                <a:lnTo>
                  <a:pt x="4191571" y="205472"/>
                </a:lnTo>
                <a:lnTo>
                  <a:pt x="4213368" y="342890"/>
                </a:lnTo>
                <a:lnTo>
                  <a:pt x="4232030" y="480913"/>
                </a:lnTo>
                <a:lnTo>
                  <a:pt x="4250848" y="618332"/>
                </a:lnTo>
                <a:lnTo>
                  <a:pt x="4268412" y="756355"/>
                </a:lnTo>
                <a:lnTo>
                  <a:pt x="4283467" y="892563"/>
                </a:lnTo>
                <a:lnTo>
                  <a:pt x="4297737" y="1030587"/>
                </a:lnTo>
                <a:lnTo>
                  <a:pt x="4310754" y="1168005"/>
                </a:lnTo>
                <a:lnTo>
                  <a:pt x="4322045" y="1303002"/>
                </a:lnTo>
                <a:lnTo>
                  <a:pt x="4333336" y="1439815"/>
                </a:lnTo>
                <a:lnTo>
                  <a:pt x="4342745" y="1574812"/>
                </a:lnTo>
                <a:lnTo>
                  <a:pt x="4350115" y="1709808"/>
                </a:lnTo>
                <a:lnTo>
                  <a:pt x="4357799" y="1844200"/>
                </a:lnTo>
                <a:lnTo>
                  <a:pt x="4364229" y="1977381"/>
                </a:lnTo>
                <a:lnTo>
                  <a:pt x="4368777" y="2109351"/>
                </a:lnTo>
                <a:lnTo>
                  <a:pt x="4372697" y="2241321"/>
                </a:lnTo>
                <a:lnTo>
                  <a:pt x="4376461" y="2372080"/>
                </a:lnTo>
                <a:lnTo>
                  <a:pt x="4378186" y="2501023"/>
                </a:lnTo>
                <a:lnTo>
                  <a:pt x="4380068" y="2629966"/>
                </a:lnTo>
                <a:lnTo>
                  <a:pt x="4381009" y="2757093"/>
                </a:lnTo>
                <a:lnTo>
                  <a:pt x="4380068" y="2883010"/>
                </a:lnTo>
                <a:lnTo>
                  <a:pt x="4380068" y="3007715"/>
                </a:lnTo>
                <a:lnTo>
                  <a:pt x="4378186" y="3131210"/>
                </a:lnTo>
                <a:lnTo>
                  <a:pt x="4375363" y="3252283"/>
                </a:lnTo>
                <a:lnTo>
                  <a:pt x="4372697" y="3372146"/>
                </a:lnTo>
                <a:lnTo>
                  <a:pt x="4369718" y="3489587"/>
                </a:lnTo>
                <a:lnTo>
                  <a:pt x="4365170" y="3606423"/>
                </a:lnTo>
                <a:lnTo>
                  <a:pt x="4360309" y="3721443"/>
                </a:lnTo>
                <a:lnTo>
                  <a:pt x="4355918" y="3834041"/>
                </a:lnTo>
                <a:lnTo>
                  <a:pt x="4343529" y="4053789"/>
                </a:lnTo>
                <a:lnTo>
                  <a:pt x="4330356" y="4264457"/>
                </a:lnTo>
                <a:lnTo>
                  <a:pt x="4316556" y="4466650"/>
                </a:lnTo>
                <a:lnTo>
                  <a:pt x="4301344" y="4657946"/>
                </a:lnTo>
                <a:lnTo>
                  <a:pt x="4285506" y="4840767"/>
                </a:lnTo>
                <a:lnTo>
                  <a:pt x="4268412" y="5010269"/>
                </a:lnTo>
                <a:lnTo>
                  <a:pt x="4251633" y="5169481"/>
                </a:lnTo>
                <a:lnTo>
                  <a:pt x="4234853" y="5315980"/>
                </a:lnTo>
                <a:lnTo>
                  <a:pt x="4219014" y="5450371"/>
                </a:lnTo>
                <a:lnTo>
                  <a:pt x="4203959" y="5569628"/>
                </a:lnTo>
                <a:lnTo>
                  <a:pt x="4189689" y="5677384"/>
                </a:lnTo>
                <a:lnTo>
                  <a:pt x="4177770" y="5768189"/>
                </a:lnTo>
                <a:lnTo>
                  <a:pt x="4166479" y="5844465"/>
                </a:lnTo>
                <a:lnTo>
                  <a:pt x="4159132" y="5892104"/>
                </a:lnTo>
                <a:lnTo>
                  <a:pt x="0" y="5892104"/>
                </a:lnTo>
                <a:close/>
              </a:path>
            </a:pathLst>
          </a:custGeom>
          <a:solidFill>
            <a:srgbClr val="40404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52AC9D92-C622-44F2-9D72-D0BF939704B5}"/>
              </a:ext>
            </a:extLst>
          </p:cNvPr>
          <p:cNvSpPr>
            <a:spLocks noGrp="1"/>
          </p:cNvSpPr>
          <p:nvPr>
            <p:ph type="title"/>
          </p:nvPr>
        </p:nvSpPr>
        <p:spPr>
          <a:xfrm>
            <a:off x="647271" y="759003"/>
            <a:ext cx="2562119" cy="3596556"/>
          </a:xfrm>
        </p:spPr>
        <p:txBody>
          <a:bodyPr>
            <a:normAutofit/>
          </a:bodyPr>
          <a:lstStyle/>
          <a:p>
            <a:r>
              <a:rPr lang="en-US">
                <a:solidFill>
                  <a:srgbClr val="FFFFFF"/>
                </a:solidFill>
              </a:rPr>
              <a:t>Testing Tips</a:t>
            </a:r>
          </a:p>
        </p:txBody>
      </p:sp>
      <p:graphicFrame>
        <p:nvGraphicFramePr>
          <p:cNvPr id="5" name="Content Placeholder 2">
            <a:extLst>
              <a:ext uri="{FF2B5EF4-FFF2-40B4-BE49-F238E27FC236}">
                <a16:creationId xmlns:a16="http://schemas.microsoft.com/office/drawing/2014/main" id="{D78E603F-B674-48D1-87E3-F254ED4FAFEE}"/>
              </a:ext>
            </a:extLst>
          </p:cNvPr>
          <p:cNvGraphicFramePr>
            <a:graphicFrameLocks noGrp="1"/>
          </p:cNvGraphicFramePr>
          <p:nvPr>
            <p:ph idx="1"/>
            <p:extLst>
              <p:ext uri="{D42A27DB-BD31-4B8C-83A1-F6EECF244321}">
                <p14:modId xmlns:p14="http://schemas.microsoft.com/office/powerpoint/2010/main" val="651866741"/>
              </p:ext>
            </p:extLst>
          </p:nvPr>
        </p:nvGraphicFramePr>
        <p:xfrm>
          <a:off x="3895725" y="353193"/>
          <a:ext cx="4885203" cy="4414069"/>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4056665662"/>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2A8AA5BC-4F7A-4226-8F99-6D824B226A9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2493"/>
            <a:ext cx="9144000" cy="5145993"/>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3E5445C6-DD42-4979-86FF-03730E8C6DB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ltGray">
          <a:xfrm>
            <a:off x="241300" y="241299"/>
            <a:ext cx="8680116" cy="4660901"/>
          </a:xfrm>
          <a:prstGeom prst="rect">
            <a:avLst/>
          </a:prstGeom>
          <a:solidFill>
            <a:schemeClr val="bg1">
              <a:lumMod val="75000"/>
              <a:lumOff val="25000"/>
            </a:schemeClr>
          </a:solidFill>
          <a:ln w="127000" cap="sq" cmpd="thinThick">
            <a:solidFill>
              <a:schemeClr val="bg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25E5DA1D-BB45-4F00-BD64-315E5F236867}"/>
              </a:ext>
            </a:extLst>
          </p:cNvPr>
          <p:cNvSpPr>
            <a:spLocks noGrp="1"/>
          </p:cNvSpPr>
          <p:nvPr>
            <p:ph type="ctrTitle"/>
          </p:nvPr>
        </p:nvSpPr>
        <p:spPr>
          <a:xfrm>
            <a:off x="1143000" y="841771"/>
            <a:ext cx="6858000" cy="2130028"/>
          </a:xfrm>
        </p:spPr>
        <p:txBody>
          <a:bodyPr>
            <a:normAutofit/>
          </a:bodyPr>
          <a:lstStyle/>
          <a:p>
            <a:r>
              <a:rPr lang="en-US" dirty="0">
                <a:solidFill>
                  <a:schemeClr val="tx1"/>
                </a:solidFill>
              </a:rPr>
              <a:t>Deliberate Practice</a:t>
            </a:r>
          </a:p>
        </p:txBody>
      </p:sp>
      <p:sp>
        <p:nvSpPr>
          <p:cNvPr id="3" name="Subtitle 2">
            <a:extLst>
              <a:ext uri="{FF2B5EF4-FFF2-40B4-BE49-F238E27FC236}">
                <a16:creationId xmlns:a16="http://schemas.microsoft.com/office/drawing/2014/main" id="{CB7C4C92-DE7E-49CD-9102-96AD256AC253}"/>
              </a:ext>
            </a:extLst>
          </p:cNvPr>
          <p:cNvSpPr>
            <a:spLocks noGrp="1"/>
          </p:cNvSpPr>
          <p:nvPr>
            <p:ph type="subTitle" idx="1"/>
          </p:nvPr>
        </p:nvSpPr>
        <p:spPr>
          <a:xfrm>
            <a:off x="1143000" y="3192327"/>
            <a:ext cx="6858000" cy="1200613"/>
          </a:xfrm>
        </p:spPr>
        <p:txBody>
          <a:bodyPr>
            <a:normAutofit/>
          </a:bodyPr>
          <a:lstStyle/>
          <a:p>
            <a:endParaRPr lang="en-US" dirty="0">
              <a:solidFill>
                <a:schemeClr val="accent1">
                  <a:lumMod val="60000"/>
                  <a:lumOff val="40000"/>
                </a:schemeClr>
              </a:solidFill>
            </a:endParaRPr>
          </a:p>
        </p:txBody>
      </p:sp>
      <p:cxnSp>
        <p:nvCxnSpPr>
          <p:cNvPr id="12" name="Straight Connector 11">
            <a:extLst>
              <a:ext uri="{FF2B5EF4-FFF2-40B4-BE49-F238E27FC236}">
                <a16:creationId xmlns:a16="http://schemas.microsoft.com/office/drawing/2014/main" id="{45000665-DFC7-417E-8FD7-516A0F15C975}"/>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3543300" y="3082062"/>
            <a:ext cx="2057400" cy="0"/>
          </a:xfrm>
          <a:prstGeom prst="line">
            <a:avLst/>
          </a:prstGeom>
          <a:ln w="12700">
            <a:solidFill>
              <a:schemeClr val="tx1">
                <a:lumMod val="8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54093357"/>
      </p:ext>
    </p:extLst>
  </p:cSld>
  <p:clrMapOvr>
    <a:overrideClrMapping bg1="dk1" tx1="lt1" bg2="dk2" tx2="lt2" accent1="accent1" accent2="accent2" accent3="accent3" accent4="accent4" accent5="accent5" accent6="accent6" hlink="hlink" folHlink="folHlink"/>
  </p:clrMapOvr>
</p:sld>
</file>

<file path=ppt/slides/slide4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1" name="Rectangle 70">
            <a:extLst>
              <a:ext uri="{FF2B5EF4-FFF2-40B4-BE49-F238E27FC236}">
                <a16:creationId xmlns:a16="http://schemas.microsoft.com/office/drawing/2014/main" id="{32BC26D8-82FB-445E-AA49-62A77D7C1EE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9144000" cy="5143500"/>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3" name="Rectangle 72">
            <a:extLst>
              <a:ext uri="{FF2B5EF4-FFF2-40B4-BE49-F238E27FC236}">
                <a16:creationId xmlns:a16="http://schemas.microsoft.com/office/drawing/2014/main" id="{CB44330D-EA18-4254-AA95-EB49948539B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57759" y="360045"/>
            <a:ext cx="8428482" cy="442341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026" name="Picture 2" descr="I fear not the man who has practiced 10,000 kicks once, but I fear ...">
            <a:extLst>
              <a:ext uri="{FF2B5EF4-FFF2-40B4-BE49-F238E27FC236}">
                <a16:creationId xmlns:a16="http://schemas.microsoft.com/office/drawing/2014/main" id="{CD1664BA-A4D0-481D-BC09-5963AD651EAD}"/>
              </a:ext>
            </a:extLst>
          </p:cNvPr>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auto">
          <a:xfrm>
            <a:off x="1555177" y="482600"/>
            <a:ext cx="6033644" cy="417829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93054167"/>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2">
            <a:extLst>
              <a:ext uri="{28A0092B-C50C-407E-A947-70E740481C1C}">
                <a14:useLocalDpi xmlns:a14="http://schemas.microsoft.com/office/drawing/2010/main" val="0"/>
              </a:ext>
            </a:extLst>
          </a:blip>
          <a:srcRect/>
          <a:stretch/>
        </p:blipFill>
        <p:spPr>
          <a:xfrm>
            <a:off x="0" y="0"/>
            <a:ext cx="9144000" cy="5143500"/>
          </a:xfrm>
          <a:prstGeom prst="rect">
            <a:avLst/>
          </a:prstGeom>
        </p:spPr>
      </p:pic>
    </p:spTree>
    <p:extLst>
      <p:ext uri="{BB962C8B-B14F-4D97-AF65-F5344CB8AC3E}">
        <p14:creationId xmlns:p14="http://schemas.microsoft.com/office/powerpoint/2010/main" val="2631253288"/>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9" name="Freeform: Shape 8">
            <a:extLst>
              <a:ext uri="{FF2B5EF4-FFF2-40B4-BE49-F238E27FC236}">
                <a16:creationId xmlns:a16="http://schemas.microsoft.com/office/drawing/2014/main" id="{46C2E80F-49A6-4372-B103-219D417A55E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63072" y="353193"/>
            <a:ext cx="3285756" cy="4419078"/>
          </a:xfrm>
          <a:custGeom>
            <a:avLst/>
            <a:gdLst>
              <a:gd name="connsiteX0" fmla="*/ 0 w 4381009"/>
              <a:gd name="connsiteY0" fmla="*/ 0 h 5892104"/>
              <a:gd name="connsiteX1" fmla="*/ 4157628 w 4381009"/>
              <a:gd name="connsiteY1" fmla="*/ 0 h 5892104"/>
              <a:gd name="connsiteX2" fmla="*/ 4169302 w 4381009"/>
              <a:gd name="connsiteY2" fmla="*/ 68659 h 5892104"/>
              <a:gd name="connsiteX3" fmla="*/ 4191571 w 4381009"/>
              <a:gd name="connsiteY3" fmla="*/ 205472 h 5892104"/>
              <a:gd name="connsiteX4" fmla="*/ 4213368 w 4381009"/>
              <a:gd name="connsiteY4" fmla="*/ 342890 h 5892104"/>
              <a:gd name="connsiteX5" fmla="*/ 4232030 w 4381009"/>
              <a:gd name="connsiteY5" fmla="*/ 480913 h 5892104"/>
              <a:gd name="connsiteX6" fmla="*/ 4250848 w 4381009"/>
              <a:gd name="connsiteY6" fmla="*/ 618332 h 5892104"/>
              <a:gd name="connsiteX7" fmla="*/ 4268412 w 4381009"/>
              <a:gd name="connsiteY7" fmla="*/ 756355 h 5892104"/>
              <a:gd name="connsiteX8" fmla="*/ 4283467 w 4381009"/>
              <a:gd name="connsiteY8" fmla="*/ 892563 h 5892104"/>
              <a:gd name="connsiteX9" fmla="*/ 4297737 w 4381009"/>
              <a:gd name="connsiteY9" fmla="*/ 1030587 h 5892104"/>
              <a:gd name="connsiteX10" fmla="*/ 4310754 w 4381009"/>
              <a:gd name="connsiteY10" fmla="*/ 1168005 h 5892104"/>
              <a:gd name="connsiteX11" fmla="*/ 4322045 w 4381009"/>
              <a:gd name="connsiteY11" fmla="*/ 1303002 h 5892104"/>
              <a:gd name="connsiteX12" fmla="*/ 4333336 w 4381009"/>
              <a:gd name="connsiteY12" fmla="*/ 1439815 h 5892104"/>
              <a:gd name="connsiteX13" fmla="*/ 4342745 w 4381009"/>
              <a:gd name="connsiteY13" fmla="*/ 1574812 h 5892104"/>
              <a:gd name="connsiteX14" fmla="*/ 4350115 w 4381009"/>
              <a:gd name="connsiteY14" fmla="*/ 1709808 h 5892104"/>
              <a:gd name="connsiteX15" fmla="*/ 4357799 w 4381009"/>
              <a:gd name="connsiteY15" fmla="*/ 1844200 h 5892104"/>
              <a:gd name="connsiteX16" fmla="*/ 4364229 w 4381009"/>
              <a:gd name="connsiteY16" fmla="*/ 1977381 h 5892104"/>
              <a:gd name="connsiteX17" fmla="*/ 4368777 w 4381009"/>
              <a:gd name="connsiteY17" fmla="*/ 2109351 h 5892104"/>
              <a:gd name="connsiteX18" fmla="*/ 4372697 w 4381009"/>
              <a:gd name="connsiteY18" fmla="*/ 2241321 h 5892104"/>
              <a:gd name="connsiteX19" fmla="*/ 4376461 w 4381009"/>
              <a:gd name="connsiteY19" fmla="*/ 2372080 h 5892104"/>
              <a:gd name="connsiteX20" fmla="*/ 4378186 w 4381009"/>
              <a:gd name="connsiteY20" fmla="*/ 2501023 h 5892104"/>
              <a:gd name="connsiteX21" fmla="*/ 4380068 w 4381009"/>
              <a:gd name="connsiteY21" fmla="*/ 2629966 h 5892104"/>
              <a:gd name="connsiteX22" fmla="*/ 4381009 w 4381009"/>
              <a:gd name="connsiteY22" fmla="*/ 2757093 h 5892104"/>
              <a:gd name="connsiteX23" fmla="*/ 4380068 w 4381009"/>
              <a:gd name="connsiteY23" fmla="*/ 2883010 h 5892104"/>
              <a:gd name="connsiteX24" fmla="*/ 4380068 w 4381009"/>
              <a:gd name="connsiteY24" fmla="*/ 3007715 h 5892104"/>
              <a:gd name="connsiteX25" fmla="*/ 4378186 w 4381009"/>
              <a:gd name="connsiteY25" fmla="*/ 3131210 h 5892104"/>
              <a:gd name="connsiteX26" fmla="*/ 4375363 w 4381009"/>
              <a:gd name="connsiteY26" fmla="*/ 3252283 h 5892104"/>
              <a:gd name="connsiteX27" fmla="*/ 4372697 w 4381009"/>
              <a:gd name="connsiteY27" fmla="*/ 3372146 h 5892104"/>
              <a:gd name="connsiteX28" fmla="*/ 4369718 w 4381009"/>
              <a:gd name="connsiteY28" fmla="*/ 3489587 h 5892104"/>
              <a:gd name="connsiteX29" fmla="*/ 4365170 w 4381009"/>
              <a:gd name="connsiteY29" fmla="*/ 3606423 h 5892104"/>
              <a:gd name="connsiteX30" fmla="*/ 4360309 w 4381009"/>
              <a:gd name="connsiteY30" fmla="*/ 3721443 h 5892104"/>
              <a:gd name="connsiteX31" fmla="*/ 4355918 w 4381009"/>
              <a:gd name="connsiteY31" fmla="*/ 3834041 h 5892104"/>
              <a:gd name="connsiteX32" fmla="*/ 4343529 w 4381009"/>
              <a:gd name="connsiteY32" fmla="*/ 4053789 h 5892104"/>
              <a:gd name="connsiteX33" fmla="*/ 4330356 w 4381009"/>
              <a:gd name="connsiteY33" fmla="*/ 4264457 h 5892104"/>
              <a:gd name="connsiteX34" fmla="*/ 4316556 w 4381009"/>
              <a:gd name="connsiteY34" fmla="*/ 4466650 h 5892104"/>
              <a:gd name="connsiteX35" fmla="*/ 4301344 w 4381009"/>
              <a:gd name="connsiteY35" fmla="*/ 4657946 h 5892104"/>
              <a:gd name="connsiteX36" fmla="*/ 4285506 w 4381009"/>
              <a:gd name="connsiteY36" fmla="*/ 4840767 h 5892104"/>
              <a:gd name="connsiteX37" fmla="*/ 4268412 w 4381009"/>
              <a:gd name="connsiteY37" fmla="*/ 5010269 h 5892104"/>
              <a:gd name="connsiteX38" fmla="*/ 4251633 w 4381009"/>
              <a:gd name="connsiteY38" fmla="*/ 5169481 h 5892104"/>
              <a:gd name="connsiteX39" fmla="*/ 4234853 w 4381009"/>
              <a:gd name="connsiteY39" fmla="*/ 5315980 h 5892104"/>
              <a:gd name="connsiteX40" fmla="*/ 4219014 w 4381009"/>
              <a:gd name="connsiteY40" fmla="*/ 5450371 h 5892104"/>
              <a:gd name="connsiteX41" fmla="*/ 4203959 w 4381009"/>
              <a:gd name="connsiteY41" fmla="*/ 5569628 h 5892104"/>
              <a:gd name="connsiteX42" fmla="*/ 4189689 w 4381009"/>
              <a:gd name="connsiteY42" fmla="*/ 5677384 h 5892104"/>
              <a:gd name="connsiteX43" fmla="*/ 4177770 w 4381009"/>
              <a:gd name="connsiteY43" fmla="*/ 5768189 h 5892104"/>
              <a:gd name="connsiteX44" fmla="*/ 4166479 w 4381009"/>
              <a:gd name="connsiteY44" fmla="*/ 5844465 h 5892104"/>
              <a:gd name="connsiteX45" fmla="*/ 4159132 w 4381009"/>
              <a:gd name="connsiteY45" fmla="*/ 5892104 h 5892104"/>
              <a:gd name="connsiteX46" fmla="*/ 0 w 4381009"/>
              <a:gd name="connsiteY46" fmla="*/ 5892104 h 5892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4381009" h="5892104">
                <a:moveTo>
                  <a:pt x="0" y="0"/>
                </a:moveTo>
                <a:lnTo>
                  <a:pt x="4157628" y="0"/>
                </a:lnTo>
                <a:lnTo>
                  <a:pt x="4169302" y="68659"/>
                </a:lnTo>
                <a:lnTo>
                  <a:pt x="4191571" y="205472"/>
                </a:lnTo>
                <a:lnTo>
                  <a:pt x="4213368" y="342890"/>
                </a:lnTo>
                <a:lnTo>
                  <a:pt x="4232030" y="480913"/>
                </a:lnTo>
                <a:lnTo>
                  <a:pt x="4250848" y="618332"/>
                </a:lnTo>
                <a:lnTo>
                  <a:pt x="4268412" y="756355"/>
                </a:lnTo>
                <a:lnTo>
                  <a:pt x="4283467" y="892563"/>
                </a:lnTo>
                <a:lnTo>
                  <a:pt x="4297737" y="1030587"/>
                </a:lnTo>
                <a:lnTo>
                  <a:pt x="4310754" y="1168005"/>
                </a:lnTo>
                <a:lnTo>
                  <a:pt x="4322045" y="1303002"/>
                </a:lnTo>
                <a:lnTo>
                  <a:pt x="4333336" y="1439815"/>
                </a:lnTo>
                <a:lnTo>
                  <a:pt x="4342745" y="1574812"/>
                </a:lnTo>
                <a:lnTo>
                  <a:pt x="4350115" y="1709808"/>
                </a:lnTo>
                <a:lnTo>
                  <a:pt x="4357799" y="1844200"/>
                </a:lnTo>
                <a:lnTo>
                  <a:pt x="4364229" y="1977381"/>
                </a:lnTo>
                <a:lnTo>
                  <a:pt x="4368777" y="2109351"/>
                </a:lnTo>
                <a:lnTo>
                  <a:pt x="4372697" y="2241321"/>
                </a:lnTo>
                <a:lnTo>
                  <a:pt x="4376461" y="2372080"/>
                </a:lnTo>
                <a:lnTo>
                  <a:pt x="4378186" y="2501023"/>
                </a:lnTo>
                <a:lnTo>
                  <a:pt x="4380068" y="2629966"/>
                </a:lnTo>
                <a:lnTo>
                  <a:pt x="4381009" y="2757093"/>
                </a:lnTo>
                <a:lnTo>
                  <a:pt x="4380068" y="2883010"/>
                </a:lnTo>
                <a:lnTo>
                  <a:pt x="4380068" y="3007715"/>
                </a:lnTo>
                <a:lnTo>
                  <a:pt x="4378186" y="3131210"/>
                </a:lnTo>
                <a:lnTo>
                  <a:pt x="4375363" y="3252283"/>
                </a:lnTo>
                <a:lnTo>
                  <a:pt x="4372697" y="3372146"/>
                </a:lnTo>
                <a:lnTo>
                  <a:pt x="4369718" y="3489587"/>
                </a:lnTo>
                <a:lnTo>
                  <a:pt x="4365170" y="3606423"/>
                </a:lnTo>
                <a:lnTo>
                  <a:pt x="4360309" y="3721443"/>
                </a:lnTo>
                <a:lnTo>
                  <a:pt x="4355918" y="3834041"/>
                </a:lnTo>
                <a:lnTo>
                  <a:pt x="4343529" y="4053789"/>
                </a:lnTo>
                <a:lnTo>
                  <a:pt x="4330356" y="4264457"/>
                </a:lnTo>
                <a:lnTo>
                  <a:pt x="4316556" y="4466650"/>
                </a:lnTo>
                <a:lnTo>
                  <a:pt x="4301344" y="4657946"/>
                </a:lnTo>
                <a:lnTo>
                  <a:pt x="4285506" y="4840767"/>
                </a:lnTo>
                <a:lnTo>
                  <a:pt x="4268412" y="5010269"/>
                </a:lnTo>
                <a:lnTo>
                  <a:pt x="4251633" y="5169481"/>
                </a:lnTo>
                <a:lnTo>
                  <a:pt x="4234853" y="5315980"/>
                </a:lnTo>
                <a:lnTo>
                  <a:pt x="4219014" y="5450371"/>
                </a:lnTo>
                <a:lnTo>
                  <a:pt x="4203959" y="5569628"/>
                </a:lnTo>
                <a:lnTo>
                  <a:pt x="4189689" y="5677384"/>
                </a:lnTo>
                <a:lnTo>
                  <a:pt x="4177770" y="5768189"/>
                </a:lnTo>
                <a:lnTo>
                  <a:pt x="4166479" y="5844465"/>
                </a:lnTo>
                <a:lnTo>
                  <a:pt x="4159132" y="5892104"/>
                </a:lnTo>
                <a:lnTo>
                  <a:pt x="0" y="5892104"/>
                </a:lnTo>
                <a:close/>
              </a:path>
            </a:pathLst>
          </a:custGeom>
          <a:solidFill>
            <a:srgbClr val="40404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p:cNvSpPr>
            <a:spLocks noGrp="1"/>
          </p:cNvSpPr>
          <p:nvPr>
            <p:ph type="title"/>
          </p:nvPr>
        </p:nvSpPr>
        <p:spPr>
          <a:xfrm>
            <a:off x="647271" y="759003"/>
            <a:ext cx="2562119" cy="3596556"/>
          </a:xfrm>
        </p:spPr>
        <p:txBody>
          <a:bodyPr>
            <a:normAutofit/>
          </a:bodyPr>
          <a:lstStyle/>
          <a:p>
            <a:r>
              <a:rPr lang="en-US" sz="3200" dirty="0">
                <a:solidFill>
                  <a:srgbClr val="FFFFFF"/>
                </a:solidFill>
              </a:rPr>
              <a:t>What about a test environment?</a:t>
            </a:r>
          </a:p>
        </p:txBody>
      </p:sp>
      <p:graphicFrame>
        <p:nvGraphicFramePr>
          <p:cNvPr id="4" name="Content Placeholder 3"/>
          <p:cNvGraphicFramePr>
            <a:graphicFrameLocks noGrp="1"/>
          </p:cNvGraphicFramePr>
          <p:nvPr>
            <p:ph idx="1"/>
            <p:extLst>
              <p:ext uri="{D42A27DB-BD31-4B8C-83A1-F6EECF244321}">
                <p14:modId xmlns:p14="http://schemas.microsoft.com/office/powerpoint/2010/main" val="3778014137"/>
              </p:ext>
            </p:extLst>
          </p:nvPr>
        </p:nvGraphicFramePr>
        <p:xfrm>
          <a:off x="3895725" y="353193"/>
          <a:ext cx="4885203" cy="4414069"/>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2804836338"/>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 name="Freeform: Shape 9">
            <a:extLst>
              <a:ext uri="{FF2B5EF4-FFF2-40B4-BE49-F238E27FC236}">
                <a16:creationId xmlns:a16="http://schemas.microsoft.com/office/drawing/2014/main" id="{46C2E80F-49A6-4372-B103-219D417A55E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63072" y="353193"/>
            <a:ext cx="3285756" cy="4419078"/>
          </a:xfrm>
          <a:custGeom>
            <a:avLst/>
            <a:gdLst>
              <a:gd name="connsiteX0" fmla="*/ 0 w 4381009"/>
              <a:gd name="connsiteY0" fmla="*/ 0 h 5892104"/>
              <a:gd name="connsiteX1" fmla="*/ 4157628 w 4381009"/>
              <a:gd name="connsiteY1" fmla="*/ 0 h 5892104"/>
              <a:gd name="connsiteX2" fmla="*/ 4169302 w 4381009"/>
              <a:gd name="connsiteY2" fmla="*/ 68659 h 5892104"/>
              <a:gd name="connsiteX3" fmla="*/ 4191571 w 4381009"/>
              <a:gd name="connsiteY3" fmla="*/ 205472 h 5892104"/>
              <a:gd name="connsiteX4" fmla="*/ 4213368 w 4381009"/>
              <a:gd name="connsiteY4" fmla="*/ 342890 h 5892104"/>
              <a:gd name="connsiteX5" fmla="*/ 4232030 w 4381009"/>
              <a:gd name="connsiteY5" fmla="*/ 480913 h 5892104"/>
              <a:gd name="connsiteX6" fmla="*/ 4250848 w 4381009"/>
              <a:gd name="connsiteY6" fmla="*/ 618332 h 5892104"/>
              <a:gd name="connsiteX7" fmla="*/ 4268412 w 4381009"/>
              <a:gd name="connsiteY7" fmla="*/ 756355 h 5892104"/>
              <a:gd name="connsiteX8" fmla="*/ 4283467 w 4381009"/>
              <a:gd name="connsiteY8" fmla="*/ 892563 h 5892104"/>
              <a:gd name="connsiteX9" fmla="*/ 4297737 w 4381009"/>
              <a:gd name="connsiteY9" fmla="*/ 1030587 h 5892104"/>
              <a:gd name="connsiteX10" fmla="*/ 4310754 w 4381009"/>
              <a:gd name="connsiteY10" fmla="*/ 1168005 h 5892104"/>
              <a:gd name="connsiteX11" fmla="*/ 4322045 w 4381009"/>
              <a:gd name="connsiteY11" fmla="*/ 1303002 h 5892104"/>
              <a:gd name="connsiteX12" fmla="*/ 4333336 w 4381009"/>
              <a:gd name="connsiteY12" fmla="*/ 1439815 h 5892104"/>
              <a:gd name="connsiteX13" fmla="*/ 4342745 w 4381009"/>
              <a:gd name="connsiteY13" fmla="*/ 1574812 h 5892104"/>
              <a:gd name="connsiteX14" fmla="*/ 4350115 w 4381009"/>
              <a:gd name="connsiteY14" fmla="*/ 1709808 h 5892104"/>
              <a:gd name="connsiteX15" fmla="*/ 4357799 w 4381009"/>
              <a:gd name="connsiteY15" fmla="*/ 1844200 h 5892104"/>
              <a:gd name="connsiteX16" fmla="*/ 4364229 w 4381009"/>
              <a:gd name="connsiteY16" fmla="*/ 1977381 h 5892104"/>
              <a:gd name="connsiteX17" fmla="*/ 4368777 w 4381009"/>
              <a:gd name="connsiteY17" fmla="*/ 2109351 h 5892104"/>
              <a:gd name="connsiteX18" fmla="*/ 4372697 w 4381009"/>
              <a:gd name="connsiteY18" fmla="*/ 2241321 h 5892104"/>
              <a:gd name="connsiteX19" fmla="*/ 4376461 w 4381009"/>
              <a:gd name="connsiteY19" fmla="*/ 2372080 h 5892104"/>
              <a:gd name="connsiteX20" fmla="*/ 4378186 w 4381009"/>
              <a:gd name="connsiteY20" fmla="*/ 2501023 h 5892104"/>
              <a:gd name="connsiteX21" fmla="*/ 4380068 w 4381009"/>
              <a:gd name="connsiteY21" fmla="*/ 2629966 h 5892104"/>
              <a:gd name="connsiteX22" fmla="*/ 4381009 w 4381009"/>
              <a:gd name="connsiteY22" fmla="*/ 2757093 h 5892104"/>
              <a:gd name="connsiteX23" fmla="*/ 4380068 w 4381009"/>
              <a:gd name="connsiteY23" fmla="*/ 2883010 h 5892104"/>
              <a:gd name="connsiteX24" fmla="*/ 4380068 w 4381009"/>
              <a:gd name="connsiteY24" fmla="*/ 3007715 h 5892104"/>
              <a:gd name="connsiteX25" fmla="*/ 4378186 w 4381009"/>
              <a:gd name="connsiteY25" fmla="*/ 3131210 h 5892104"/>
              <a:gd name="connsiteX26" fmla="*/ 4375363 w 4381009"/>
              <a:gd name="connsiteY26" fmla="*/ 3252283 h 5892104"/>
              <a:gd name="connsiteX27" fmla="*/ 4372697 w 4381009"/>
              <a:gd name="connsiteY27" fmla="*/ 3372146 h 5892104"/>
              <a:gd name="connsiteX28" fmla="*/ 4369718 w 4381009"/>
              <a:gd name="connsiteY28" fmla="*/ 3489587 h 5892104"/>
              <a:gd name="connsiteX29" fmla="*/ 4365170 w 4381009"/>
              <a:gd name="connsiteY29" fmla="*/ 3606423 h 5892104"/>
              <a:gd name="connsiteX30" fmla="*/ 4360309 w 4381009"/>
              <a:gd name="connsiteY30" fmla="*/ 3721443 h 5892104"/>
              <a:gd name="connsiteX31" fmla="*/ 4355918 w 4381009"/>
              <a:gd name="connsiteY31" fmla="*/ 3834041 h 5892104"/>
              <a:gd name="connsiteX32" fmla="*/ 4343529 w 4381009"/>
              <a:gd name="connsiteY32" fmla="*/ 4053789 h 5892104"/>
              <a:gd name="connsiteX33" fmla="*/ 4330356 w 4381009"/>
              <a:gd name="connsiteY33" fmla="*/ 4264457 h 5892104"/>
              <a:gd name="connsiteX34" fmla="*/ 4316556 w 4381009"/>
              <a:gd name="connsiteY34" fmla="*/ 4466650 h 5892104"/>
              <a:gd name="connsiteX35" fmla="*/ 4301344 w 4381009"/>
              <a:gd name="connsiteY35" fmla="*/ 4657946 h 5892104"/>
              <a:gd name="connsiteX36" fmla="*/ 4285506 w 4381009"/>
              <a:gd name="connsiteY36" fmla="*/ 4840767 h 5892104"/>
              <a:gd name="connsiteX37" fmla="*/ 4268412 w 4381009"/>
              <a:gd name="connsiteY37" fmla="*/ 5010269 h 5892104"/>
              <a:gd name="connsiteX38" fmla="*/ 4251633 w 4381009"/>
              <a:gd name="connsiteY38" fmla="*/ 5169481 h 5892104"/>
              <a:gd name="connsiteX39" fmla="*/ 4234853 w 4381009"/>
              <a:gd name="connsiteY39" fmla="*/ 5315980 h 5892104"/>
              <a:gd name="connsiteX40" fmla="*/ 4219014 w 4381009"/>
              <a:gd name="connsiteY40" fmla="*/ 5450371 h 5892104"/>
              <a:gd name="connsiteX41" fmla="*/ 4203959 w 4381009"/>
              <a:gd name="connsiteY41" fmla="*/ 5569628 h 5892104"/>
              <a:gd name="connsiteX42" fmla="*/ 4189689 w 4381009"/>
              <a:gd name="connsiteY42" fmla="*/ 5677384 h 5892104"/>
              <a:gd name="connsiteX43" fmla="*/ 4177770 w 4381009"/>
              <a:gd name="connsiteY43" fmla="*/ 5768189 h 5892104"/>
              <a:gd name="connsiteX44" fmla="*/ 4166479 w 4381009"/>
              <a:gd name="connsiteY44" fmla="*/ 5844465 h 5892104"/>
              <a:gd name="connsiteX45" fmla="*/ 4159132 w 4381009"/>
              <a:gd name="connsiteY45" fmla="*/ 5892104 h 5892104"/>
              <a:gd name="connsiteX46" fmla="*/ 0 w 4381009"/>
              <a:gd name="connsiteY46" fmla="*/ 5892104 h 5892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4381009" h="5892104">
                <a:moveTo>
                  <a:pt x="0" y="0"/>
                </a:moveTo>
                <a:lnTo>
                  <a:pt x="4157628" y="0"/>
                </a:lnTo>
                <a:lnTo>
                  <a:pt x="4169302" y="68659"/>
                </a:lnTo>
                <a:lnTo>
                  <a:pt x="4191571" y="205472"/>
                </a:lnTo>
                <a:lnTo>
                  <a:pt x="4213368" y="342890"/>
                </a:lnTo>
                <a:lnTo>
                  <a:pt x="4232030" y="480913"/>
                </a:lnTo>
                <a:lnTo>
                  <a:pt x="4250848" y="618332"/>
                </a:lnTo>
                <a:lnTo>
                  <a:pt x="4268412" y="756355"/>
                </a:lnTo>
                <a:lnTo>
                  <a:pt x="4283467" y="892563"/>
                </a:lnTo>
                <a:lnTo>
                  <a:pt x="4297737" y="1030587"/>
                </a:lnTo>
                <a:lnTo>
                  <a:pt x="4310754" y="1168005"/>
                </a:lnTo>
                <a:lnTo>
                  <a:pt x="4322045" y="1303002"/>
                </a:lnTo>
                <a:lnTo>
                  <a:pt x="4333336" y="1439815"/>
                </a:lnTo>
                <a:lnTo>
                  <a:pt x="4342745" y="1574812"/>
                </a:lnTo>
                <a:lnTo>
                  <a:pt x="4350115" y="1709808"/>
                </a:lnTo>
                <a:lnTo>
                  <a:pt x="4357799" y="1844200"/>
                </a:lnTo>
                <a:lnTo>
                  <a:pt x="4364229" y="1977381"/>
                </a:lnTo>
                <a:lnTo>
                  <a:pt x="4368777" y="2109351"/>
                </a:lnTo>
                <a:lnTo>
                  <a:pt x="4372697" y="2241321"/>
                </a:lnTo>
                <a:lnTo>
                  <a:pt x="4376461" y="2372080"/>
                </a:lnTo>
                <a:lnTo>
                  <a:pt x="4378186" y="2501023"/>
                </a:lnTo>
                <a:lnTo>
                  <a:pt x="4380068" y="2629966"/>
                </a:lnTo>
                <a:lnTo>
                  <a:pt x="4381009" y="2757093"/>
                </a:lnTo>
                <a:lnTo>
                  <a:pt x="4380068" y="2883010"/>
                </a:lnTo>
                <a:lnTo>
                  <a:pt x="4380068" y="3007715"/>
                </a:lnTo>
                <a:lnTo>
                  <a:pt x="4378186" y="3131210"/>
                </a:lnTo>
                <a:lnTo>
                  <a:pt x="4375363" y="3252283"/>
                </a:lnTo>
                <a:lnTo>
                  <a:pt x="4372697" y="3372146"/>
                </a:lnTo>
                <a:lnTo>
                  <a:pt x="4369718" y="3489587"/>
                </a:lnTo>
                <a:lnTo>
                  <a:pt x="4365170" y="3606423"/>
                </a:lnTo>
                <a:lnTo>
                  <a:pt x="4360309" y="3721443"/>
                </a:lnTo>
                <a:lnTo>
                  <a:pt x="4355918" y="3834041"/>
                </a:lnTo>
                <a:lnTo>
                  <a:pt x="4343529" y="4053789"/>
                </a:lnTo>
                <a:lnTo>
                  <a:pt x="4330356" y="4264457"/>
                </a:lnTo>
                <a:lnTo>
                  <a:pt x="4316556" y="4466650"/>
                </a:lnTo>
                <a:lnTo>
                  <a:pt x="4301344" y="4657946"/>
                </a:lnTo>
                <a:lnTo>
                  <a:pt x="4285506" y="4840767"/>
                </a:lnTo>
                <a:lnTo>
                  <a:pt x="4268412" y="5010269"/>
                </a:lnTo>
                <a:lnTo>
                  <a:pt x="4251633" y="5169481"/>
                </a:lnTo>
                <a:lnTo>
                  <a:pt x="4234853" y="5315980"/>
                </a:lnTo>
                <a:lnTo>
                  <a:pt x="4219014" y="5450371"/>
                </a:lnTo>
                <a:lnTo>
                  <a:pt x="4203959" y="5569628"/>
                </a:lnTo>
                <a:lnTo>
                  <a:pt x="4189689" y="5677384"/>
                </a:lnTo>
                <a:lnTo>
                  <a:pt x="4177770" y="5768189"/>
                </a:lnTo>
                <a:lnTo>
                  <a:pt x="4166479" y="5844465"/>
                </a:lnTo>
                <a:lnTo>
                  <a:pt x="4159132" y="5892104"/>
                </a:lnTo>
                <a:lnTo>
                  <a:pt x="0" y="5892104"/>
                </a:lnTo>
                <a:close/>
              </a:path>
            </a:pathLst>
          </a:custGeom>
          <a:solidFill>
            <a:srgbClr val="40404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668A4CC5-1B9D-41CE-876D-27415E31A59C}"/>
              </a:ext>
            </a:extLst>
          </p:cNvPr>
          <p:cNvSpPr>
            <a:spLocks noGrp="1"/>
          </p:cNvSpPr>
          <p:nvPr>
            <p:ph type="title"/>
          </p:nvPr>
        </p:nvSpPr>
        <p:spPr>
          <a:xfrm>
            <a:off x="647271" y="759003"/>
            <a:ext cx="2562119" cy="3596556"/>
          </a:xfrm>
        </p:spPr>
        <p:txBody>
          <a:bodyPr>
            <a:normAutofit/>
          </a:bodyPr>
          <a:lstStyle/>
          <a:p>
            <a:r>
              <a:rPr lang="en-US">
                <a:solidFill>
                  <a:srgbClr val="FFFFFF"/>
                </a:solidFill>
              </a:rPr>
              <a:t>How To Ask For Help</a:t>
            </a:r>
          </a:p>
        </p:txBody>
      </p:sp>
      <p:graphicFrame>
        <p:nvGraphicFramePr>
          <p:cNvPr id="5" name="Content Placeholder 2">
            <a:extLst>
              <a:ext uri="{FF2B5EF4-FFF2-40B4-BE49-F238E27FC236}">
                <a16:creationId xmlns:a16="http://schemas.microsoft.com/office/drawing/2014/main" id="{69EE899A-8E6A-4345-A646-49BC5A36A19C}"/>
              </a:ext>
            </a:extLst>
          </p:cNvPr>
          <p:cNvGraphicFramePr>
            <a:graphicFrameLocks noGrp="1"/>
          </p:cNvGraphicFramePr>
          <p:nvPr>
            <p:ph idx="1"/>
            <p:extLst>
              <p:ext uri="{D42A27DB-BD31-4B8C-83A1-F6EECF244321}">
                <p14:modId xmlns:p14="http://schemas.microsoft.com/office/powerpoint/2010/main" val="1221443416"/>
              </p:ext>
            </p:extLst>
          </p:nvPr>
        </p:nvGraphicFramePr>
        <p:xfrm>
          <a:off x="3895725" y="353193"/>
          <a:ext cx="4885203" cy="4414069"/>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889585631"/>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A4AC5506-6312-4701-8D3C-40187889A94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488814"/>
            <a:ext cx="9144000" cy="552413"/>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a:xfrm>
            <a:off x="417399" y="482600"/>
            <a:ext cx="8408193" cy="558627"/>
          </a:xfrm>
        </p:spPr>
        <p:txBody>
          <a:bodyPr vert="horz" lIns="91440" tIns="45720" rIns="91440" bIns="45720" rtlCol="0" anchor="ctr">
            <a:normAutofit/>
          </a:bodyPr>
          <a:lstStyle/>
          <a:p>
            <a:pPr>
              <a:lnSpc>
                <a:spcPct val="90000"/>
              </a:lnSpc>
            </a:pPr>
            <a:r>
              <a:rPr lang="en-US" sz="2400" kern="1200">
                <a:solidFill>
                  <a:schemeClr val="bg1"/>
                </a:solidFill>
                <a:latin typeface="+mj-lt"/>
                <a:ea typeface="+mj-ea"/>
                <a:cs typeface="+mj-cs"/>
              </a:rPr>
              <a:t>Questions?</a:t>
            </a:r>
          </a:p>
        </p:txBody>
      </p:sp>
      <p:pic>
        <p:nvPicPr>
          <p:cNvPr id="8" name="Content Placeholder 7"/>
          <p:cNvPicPr>
            <a:picLocks noGrp="1" noChangeAspect="1"/>
          </p:cNvPicPr>
          <p:nvPr>
            <p:ph idx="1"/>
          </p:nvPr>
        </p:nvPicPr>
        <p:blipFill>
          <a:blip r:embed="rId2" cstate="print">
            <a:extLst>
              <a:ext uri="{28A0092B-C50C-407E-A947-70E740481C1C}">
                <a14:useLocalDpi xmlns:a14="http://schemas.microsoft.com/office/drawing/2010/main" val="0"/>
              </a:ext>
            </a:extLst>
          </a:blip>
          <a:stretch>
            <a:fillRect/>
          </a:stretch>
        </p:blipFill>
        <p:spPr>
          <a:xfrm>
            <a:off x="3181648" y="1256420"/>
            <a:ext cx="2780703" cy="3295649"/>
          </a:xfrm>
          <a:prstGeom prst="rect">
            <a:avLst/>
          </a:prstGeom>
        </p:spPr>
      </p:pic>
    </p:spTree>
    <p:extLst>
      <p:ext uri="{BB962C8B-B14F-4D97-AF65-F5344CB8AC3E}">
        <p14:creationId xmlns:p14="http://schemas.microsoft.com/office/powerpoint/2010/main" val="1020764473"/>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A4AC5506-6312-4701-8D3C-40187889A94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488814"/>
            <a:ext cx="9144000" cy="552413"/>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a:xfrm>
            <a:off x="417399" y="482600"/>
            <a:ext cx="8408193" cy="558627"/>
          </a:xfrm>
        </p:spPr>
        <p:txBody>
          <a:bodyPr vert="horz" lIns="91440" tIns="45720" rIns="91440" bIns="45720" rtlCol="0" anchor="ctr">
            <a:normAutofit/>
          </a:bodyPr>
          <a:lstStyle/>
          <a:p>
            <a:pPr>
              <a:lnSpc>
                <a:spcPct val="90000"/>
              </a:lnSpc>
            </a:pPr>
            <a:r>
              <a:rPr lang="en-US" sz="2400" kern="1200">
                <a:solidFill>
                  <a:schemeClr val="bg1"/>
                </a:solidFill>
                <a:latin typeface="+mj-lt"/>
                <a:ea typeface="+mj-ea"/>
                <a:cs typeface="+mj-cs"/>
              </a:rPr>
              <a:t>Thank You</a:t>
            </a:r>
          </a:p>
        </p:txBody>
      </p:sp>
      <p:pic>
        <p:nvPicPr>
          <p:cNvPr id="4" name="Content Placeholder 3"/>
          <p:cNvPicPr>
            <a:picLocks noGrp="1" noChangeAspect="1"/>
          </p:cNvPicPr>
          <p:nvPr>
            <p:ph idx="1"/>
          </p:nvPr>
        </p:nvPicPr>
        <p:blipFill>
          <a:blip r:embed="rId2" cstate="print">
            <a:extLst>
              <a:ext uri="{28A0092B-C50C-407E-A947-70E740481C1C}">
                <a14:useLocalDpi xmlns:a14="http://schemas.microsoft.com/office/drawing/2010/main" val="0"/>
              </a:ext>
            </a:extLst>
          </a:blip>
          <a:stretch>
            <a:fillRect/>
          </a:stretch>
        </p:blipFill>
        <p:spPr>
          <a:xfrm>
            <a:off x="2540960" y="1256420"/>
            <a:ext cx="4062079" cy="3295649"/>
          </a:xfrm>
          <a:prstGeom prst="rect">
            <a:avLst/>
          </a:prstGeom>
        </p:spPr>
      </p:pic>
    </p:spTree>
    <p:extLst>
      <p:ext uri="{BB962C8B-B14F-4D97-AF65-F5344CB8AC3E}">
        <p14:creationId xmlns:p14="http://schemas.microsoft.com/office/powerpoint/2010/main" val="188167994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5" name="Picture 4"/>
          <p:cNvPicPr>
            <a:picLocks noChangeAspect="1"/>
          </p:cNvPicPr>
          <p:nvPr/>
        </p:nvPicPr>
        <p:blipFill rotWithShape="1">
          <a:blip r:embed="rId2">
            <a:extLst>
              <a:ext uri="{28A0092B-C50C-407E-A947-70E740481C1C}">
                <a14:useLocalDpi xmlns:a14="http://schemas.microsoft.com/office/drawing/2010/main" val="0"/>
              </a:ext>
            </a:extLst>
          </a:blip>
          <a:srcRect r="2178" b="1"/>
          <a:stretch/>
        </p:blipFill>
        <p:spPr>
          <a:xfrm rot="21600000">
            <a:off x="482600" y="606957"/>
            <a:ext cx="8178799" cy="3929583"/>
          </a:xfrm>
          <a:prstGeom prst="rect">
            <a:avLst/>
          </a:prstGeom>
        </p:spPr>
      </p:pic>
    </p:spTree>
    <p:extLst>
      <p:ext uri="{BB962C8B-B14F-4D97-AF65-F5344CB8AC3E}">
        <p14:creationId xmlns:p14="http://schemas.microsoft.com/office/powerpoint/2010/main" val="417312374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9" name="Rectangle 48">
            <a:extLst>
              <a:ext uri="{FF2B5EF4-FFF2-40B4-BE49-F238E27FC236}">
                <a16:creationId xmlns:a16="http://schemas.microsoft.com/office/drawing/2014/main" id="{3A5B4632-C963-4296-86F0-79AA9EA5AE9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ltGray">
          <a:xfrm>
            <a:off x="253746" y="227693"/>
            <a:ext cx="3251495" cy="4422557"/>
          </a:xfrm>
          <a:prstGeom prst="rect">
            <a:avLst/>
          </a:prstGeom>
          <a:solidFill>
            <a:schemeClr val="tx1">
              <a:lumMod val="75000"/>
              <a:lumOff val="25000"/>
            </a:schemeClr>
          </a:solidFill>
          <a:ln w="127000" cap="sq" cmpd="thinThick">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a:xfrm>
            <a:off x="445770" y="477843"/>
            <a:ext cx="2851707" cy="3942279"/>
          </a:xfrm>
        </p:spPr>
        <p:txBody>
          <a:bodyPr>
            <a:normAutofit/>
          </a:bodyPr>
          <a:lstStyle/>
          <a:p>
            <a:r>
              <a:rPr lang="en-US" sz="3600" dirty="0">
                <a:solidFill>
                  <a:schemeClr val="bg1"/>
                </a:solidFill>
              </a:rPr>
              <a:t>Stages of Knowledge</a:t>
            </a:r>
            <a:br>
              <a:rPr lang="en-US" sz="3600" dirty="0">
                <a:solidFill>
                  <a:schemeClr val="bg1"/>
                </a:solidFill>
              </a:rPr>
            </a:br>
            <a:r>
              <a:rPr lang="en-US" sz="2400" dirty="0">
                <a:solidFill>
                  <a:schemeClr val="bg1"/>
                </a:solidFill>
              </a:rPr>
              <a:t>(for Dynamics 365)</a:t>
            </a:r>
            <a:endParaRPr lang="en-US" sz="3600" dirty="0">
              <a:solidFill>
                <a:schemeClr val="bg1"/>
              </a:solidFill>
            </a:endParaRPr>
          </a:p>
        </p:txBody>
      </p:sp>
      <p:graphicFrame>
        <p:nvGraphicFramePr>
          <p:cNvPr id="4" name="Content Placeholder 3"/>
          <p:cNvGraphicFramePr>
            <a:graphicFrameLocks noGrp="1"/>
          </p:cNvGraphicFramePr>
          <p:nvPr>
            <p:ph idx="1"/>
            <p:extLst>
              <p:ext uri="{D42A27DB-BD31-4B8C-83A1-F6EECF244321}">
                <p14:modId xmlns:p14="http://schemas.microsoft.com/office/powerpoint/2010/main" val="3042389103"/>
              </p:ext>
            </p:extLst>
          </p:nvPr>
        </p:nvGraphicFramePr>
        <p:xfrm>
          <a:off x="3875238" y="227693"/>
          <a:ext cx="4941519" cy="442255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180160620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9" name="Freeform: Shape 8">
            <a:extLst>
              <a:ext uri="{FF2B5EF4-FFF2-40B4-BE49-F238E27FC236}">
                <a16:creationId xmlns:a16="http://schemas.microsoft.com/office/drawing/2014/main" id="{46C2E80F-49A6-4372-B103-219D417A55E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63072" y="353193"/>
            <a:ext cx="3285756" cy="4419078"/>
          </a:xfrm>
          <a:custGeom>
            <a:avLst/>
            <a:gdLst>
              <a:gd name="connsiteX0" fmla="*/ 0 w 4381009"/>
              <a:gd name="connsiteY0" fmla="*/ 0 h 5892104"/>
              <a:gd name="connsiteX1" fmla="*/ 4157628 w 4381009"/>
              <a:gd name="connsiteY1" fmla="*/ 0 h 5892104"/>
              <a:gd name="connsiteX2" fmla="*/ 4169302 w 4381009"/>
              <a:gd name="connsiteY2" fmla="*/ 68659 h 5892104"/>
              <a:gd name="connsiteX3" fmla="*/ 4191571 w 4381009"/>
              <a:gd name="connsiteY3" fmla="*/ 205472 h 5892104"/>
              <a:gd name="connsiteX4" fmla="*/ 4213368 w 4381009"/>
              <a:gd name="connsiteY4" fmla="*/ 342890 h 5892104"/>
              <a:gd name="connsiteX5" fmla="*/ 4232030 w 4381009"/>
              <a:gd name="connsiteY5" fmla="*/ 480913 h 5892104"/>
              <a:gd name="connsiteX6" fmla="*/ 4250848 w 4381009"/>
              <a:gd name="connsiteY6" fmla="*/ 618332 h 5892104"/>
              <a:gd name="connsiteX7" fmla="*/ 4268412 w 4381009"/>
              <a:gd name="connsiteY7" fmla="*/ 756355 h 5892104"/>
              <a:gd name="connsiteX8" fmla="*/ 4283467 w 4381009"/>
              <a:gd name="connsiteY8" fmla="*/ 892563 h 5892104"/>
              <a:gd name="connsiteX9" fmla="*/ 4297737 w 4381009"/>
              <a:gd name="connsiteY9" fmla="*/ 1030587 h 5892104"/>
              <a:gd name="connsiteX10" fmla="*/ 4310754 w 4381009"/>
              <a:gd name="connsiteY10" fmla="*/ 1168005 h 5892104"/>
              <a:gd name="connsiteX11" fmla="*/ 4322045 w 4381009"/>
              <a:gd name="connsiteY11" fmla="*/ 1303002 h 5892104"/>
              <a:gd name="connsiteX12" fmla="*/ 4333336 w 4381009"/>
              <a:gd name="connsiteY12" fmla="*/ 1439815 h 5892104"/>
              <a:gd name="connsiteX13" fmla="*/ 4342745 w 4381009"/>
              <a:gd name="connsiteY13" fmla="*/ 1574812 h 5892104"/>
              <a:gd name="connsiteX14" fmla="*/ 4350115 w 4381009"/>
              <a:gd name="connsiteY14" fmla="*/ 1709808 h 5892104"/>
              <a:gd name="connsiteX15" fmla="*/ 4357799 w 4381009"/>
              <a:gd name="connsiteY15" fmla="*/ 1844200 h 5892104"/>
              <a:gd name="connsiteX16" fmla="*/ 4364229 w 4381009"/>
              <a:gd name="connsiteY16" fmla="*/ 1977381 h 5892104"/>
              <a:gd name="connsiteX17" fmla="*/ 4368777 w 4381009"/>
              <a:gd name="connsiteY17" fmla="*/ 2109351 h 5892104"/>
              <a:gd name="connsiteX18" fmla="*/ 4372697 w 4381009"/>
              <a:gd name="connsiteY18" fmla="*/ 2241321 h 5892104"/>
              <a:gd name="connsiteX19" fmla="*/ 4376461 w 4381009"/>
              <a:gd name="connsiteY19" fmla="*/ 2372080 h 5892104"/>
              <a:gd name="connsiteX20" fmla="*/ 4378186 w 4381009"/>
              <a:gd name="connsiteY20" fmla="*/ 2501023 h 5892104"/>
              <a:gd name="connsiteX21" fmla="*/ 4380068 w 4381009"/>
              <a:gd name="connsiteY21" fmla="*/ 2629966 h 5892104"/>
              <a:gd name="connsiteX22" fmla="*/ 4381009 w 4381009"/>
              <a:gd name="connsiteY22" fmla="*/ 2757093 h 5892104"/>
              <a:gd name="connsiteX23" fmla="*/ 4380068 w 4381009"/>
              <a:gd name="connsiteY23" fmla="*/ 2883010 h 5892104"/>
              <a:gd name="connsiteX24" fmla="*/ 4380068 w 4381009"/>
              <a:gd name="connsiteY24" fmla="*/ 3007715 h 5892104"/>
              <a:gd name="connsiteX25" fmla="*/ 4378186 w 4381009"/>
              <a:gd name="connsiteY25" fmla="*/ 3131210 h 5892104"/>
              <a:gd name="connsiteX26" fmla="*/ 4375363 w 4381009"/>
              <a:gd name="connsiteY26" fmla="*/ 3252283 h 5892104"/>
              <a:gd name="connsiteX27" fmla="*/ 4372697 w 4381009"/>
              <a:gd name="connsiteY27" fmla="*/ 3372146 h 5892104"/>
              <a:gd name="connsiteX28" fmla="*/ 4369718 w 4381009"/>
              <a:gd name="connsiteY28" fmla="*/ 3489587 h 5892104"/>
              <a:gd name="connsiteX29" fmla="*/ 4365170 w 4381009"/>
              <a:gd name="connsiteY29" fmla="*/ 3606423 h 5892104"/>
              <a:gd name="connsiteX30" fmla="*/ 4360309 w 4381009"/>
              <a:gd name="connsiteY30" fmla="*/ 3721443 h 5892104"/>
              <a:gd name="connsiteX31" fmla="*/ 4355918 w 4381009"/>
              <a:gd name="connsiteY31" fmla="*/ 3834041 h 5892104"/>
              <a:gd name="connsiteX32" fmla="*/ 4343529 w 4381009"/>
              <a:gd name="connsiteY32" fmla="*/ 4053789 h 5892104"/>
              <a:gd name="connsiteX33" fmla="*/ 4330356 w 4381009"/>
              <a:gd name="connsiteY33" fmla="*/ 4264457 h 5892104"/>
              <a:gd name="connsiteX34" fmla="*/ 4316556 w 4381009"/>
              <a:gd name="connsiteY34" fmla="*/ 4466650 h 5892104"/>
              <a:gd name="connsiteX35" fmla="*/ 4301344 w 4381009"/>
              <a:gd name="connsiteY35" fmla="*/ 4657946 h 5892104"/>
              <a:gd name="connsiteX36" fmla="*/ 4285506 w 4381009"/>
              <a:gd name="connsiteY36" fmla="*/ 4840767 h 5892104"/>
              <a:gd name="connsiteX37" fmla="*/ 4268412 w 4381009"/>
              <a:gd name="connsiteY37" fmla="*/ 5010269 h 5892104"/>
              <a:gd name="connsiteX38" fmla="*/ 4251633 w 4381009"/>
              <a:gd name="connsiteY38" fmla="*/ 5169481 h 5892104"/>
              <a:gd name="connsiteX39" fmla="*/ 4234853 w 4381009"/>
              <a:gd name="connsiteY39" fmla="*/ 5315980 h 5892104"/>
              <a:gd name="connsiteX40" fmla="*/ 4219014 w 4381009"/>
              <a:gd name="connsiteY40" fmla="*/ 5450371 h 5892104"/>
              <a:gd name="connsiteX41" fmla="*/ 4203959 w 4381009"/>
              <a:gd name="connsiteY41" fmla="*/ 5569628 h 5892104"/>
              <a:gd name="connsiteX42" fmla="*/ 4189689 w 4381009"/>
              <a:gd name="connsiteY42" fmla="*/ 5677384 h 5892104"/>
              <a:gd name="connsiteX43" fmla="*/ 4177770 w 4381009"/>
              <a:gd name="connsiteY43" fmla="*/ 5768189 h 5892104"/>
              <a:gd name="connsiteX44" fmla="*/ 4166479 w 4381009"/>
              <a:gd name="connsiteY44" fmla="*/ 5844465 h 5892104"/>
              <a:gd name="connsiteX45" fmla="*/ 4159132 w 4381009"/>
              <a:gd name="connsiteY45" fmla="*/ 5892104 h 5892104"/>
              <a:gd name="connsiteX46" fmla="*/ 0 w 4381009"/>
              <a:gd name="connsiteY46" fmla="*/ 5892104 h 5892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4381009" h="5892104">
                <a:moveTo>
                  <a:pt x="0" y="0"/>
                </a:moveTo>
                <a:lnTo>
                  <a:pt x="4157628" y="0"/>
                </a:lnTo>
                <a:lnTo>
                  <a:pt x="4169302" y="68659"/>
                </a:lnTo>
                <a:lnTo>
                  <a:pt x="4191571" y="205472"/>
                </a:lnTo>
                <a:lnTo>
                  <a:pt x="4213368" y="342890"/>
                </a:lnTo>
                <a:lnTo>
                  <a:pt x="4232030" y="480913"/>
                </a:lnTo>
                <a:lnTo>
                  <a:pt x="4250848" y="618332"/>
                </a:lnTo>
                <a:lnTo>
                  <a:pt x="4268412" y="756355"/>
                </a:lnTo>
                <a:lnTo>
                  <a:pt x="4283467" y="892563"/>
                </a:lnTo>
                <a:lnTo>
                  <a:pt x="4297737" y="1030587"/>
                </a:lnTo>
                <a:lnTo>
                  <a:pt x="4310754" y="1168005"/>
                </a:lnTo>
                <a:lnTo>
                  <a:pt x="4322045" y="1303002"/>
                </a:lnTo>
                <a:lnTo>
                  <a:pt x="4333336" y="1439815"/>
                </a:lnTo>
                <a:lnTo>
                  <a:pt x="4342745" y="1574812"/>
                </a:lnTo>
                <a:lnTo>
                  <a:pt x="4350115" y="1709808"/>
                </a:lnTo>
                <a:lnTo>
                  <a:pt x="4357799" y="1844200"/>
                </a:lnTo>
                <a:lnTo>
                  <a:pt x="4364229" y="1977381"/>
                </a:lnTo>
                <a:lnTo>
                  <a:pt x="4368777" y="2109351"/>
                </a:lnTo>
                <a:lnTo>
                  <a:pt x="4372697" y="2241321"/>
                </a:lnTo>
                <a:lnTo>
                  <a:pt x="4376461" y="2372080"/>
                </a:lnTo>
                <a:lnTo>
                  <a:pt x="4378186" y="2501023"/>
                </a:lnTo>
                <a:lnTo>
                  <a:pt x="4380068" y="2629966"/>
                </a:lnTo>
                <a:lnTo>
                  <a:pt x="4381009" y="2757093"/>
                </a:lnTo>
                <a:lnTo>
                  <a:pt x="4380068" y="2883010"/>
                </a:lnTo>
                <a:lnTo>
                  <a:pt x="4380068" y="3007715"/>
                </a:lnTo>
                <a:lnTo>
                  <a:pt x="4378186" y="3131210"/>
                </a:lnTo>
                <a:lnTo>
                  <a:pt x="4375363" y="3252283"/>
                </a:lnTo>
                <a:lnTo>
                  <a:pt x="4372697" y="3372146"/>
                </a:lnTo>
                <a:lnTo>
                  <a:pt x="4369718" y="3489587"/>
                </a:lnTo>
                <a:lnTo>
                  <a:pt x="4365170" y="3606423"/>
                </a:lnTo>
                <a:lnTo>
                  <a:pt x="4360309" y="3721443"/>
                </a:lnTo>
                <a:lnTo>
                  <a:pt x="4355918" y="3834041"/>
                </a:lnTo>
                <a:lnTo>
                  <a:pt x="4343529" y="4053789"/>
                </a:lnTo>
                <a:lnTo>
                  <a:pt x="4330356" y="4264457"/>
                </a:lnTo>
                <a:lnTo>
                  <a:pt x="4316556" y="4466650"/>
                </a:lnTo>
                <a:lnTo>
                  <a:pt x="4301344" y="4657946"/>
                </a:lnTo>
                <a:lnTo>
                  <a:pt x="4285506" y="4840767"/>
                </a:lnTo>
                <a:lnTo>
                  <a:pt x="4268412" y="5010269"/>
                </a:lnTo>
                <a:lnTo>
                  <a:pt x="4251633" y="5169481"/>
                </a:lnTo>
                <a:lnTo>
                  <a:pt x="4234853" y="5315980"/>
                </a:lnTo>
                <a:lnTo>
                  <a:pt x="4219014" y="5450371"/>
                </a:lnTo>
                <a:lnTo>
                  <a:pt x="4203959" y="5569628"/>
                </a:lnTo>
                <a:lnTo>
                  <a:pt x="4189689" y="5677384"/>
                </a:lnTo>
                <a:lnTo>
                  <a:pt x="4177770" y="5768189"/>
                </a:lnTo>
                <a:lnTo>
                  <a:pt x="4166479" y="5844465"/>
                </a:lnTo>
                <a:lnTo>
                  <a:pt x="4159132" y="5892104"/>
                </a:lnTo>
                <a:lnTo>
                  <a:pt x="0" y="5892104"/>
                </a:lnTo>
                <a:close/>
              </a:path>
            </a:pathLst>
          </a:custGeom>
          <a:solidFill>
            <a:srgbClr val="40404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p:cNvSpPr>
            <a:spLocks noGrp="1"/>
          </p:cNvSpPr>
          <p:nvPr>
            <p:ph type="title"/>
          </p:nvPr>
        </p:nvSpPr>
        <p:spPr>
          <a:xfrm>
            <a:off x="647271" y="759003"/>
            <a:ext cx="2562119" cy="3596556"/>
          </a:xfrm>
        </p:spPr>
        <p:txBody>
          <a:bodyPr>
            <a:normAutofit/>
          </a:bodyPr>
          <a:lstStyle/>
          <a:p>
            <a:r>
              <a:rPr lang="en-US" dirty="0">
                <a:solidFill>
                  <a:srgbClr val="FFFFFF"/>
                </a:solidFill>
              </a:rPr>
              <a:t>End User</a:t>
            </a:r>
          </a:p>
        </p:txBody>
      </p:sp>
      <p:graphicFrame>
        <p:nvGraphicFramePr>
          <p:cNvPr id="4" name="Content Placeholder 3"/>
          <p:cNvGraphicFramePr>
            <a:graphicFrameLocks noGrp="1"/>
          </p:cNvGraphicFramePr>
          <p:nvPr>
            <p:ph idx="1"/>
            <p:extLst>
              <p:ext uri="{D42A27DB-BD31-4B8C-83A1-F6EECF244321}">
                <p14:modId xmlns:p14="http://schemas.microsoft.com/office/powerpoint/2010/main" val="1759564075"/>
              </p:ext>
            </p:extLst>
          </p:nvPr>
        </p:nvGraphicFramePr>
        <p:xfrm>
          <a:off x="3895725" y="353193"/>
          <a:ext cx="4885203" cy="4414069"/>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49498855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9" name="Freeform: Shape 8">
            <a:extLst>
              <a:ext uri="{FF2B5EF4-FFF2-40B4-BE49-F238E27FC236}">
                <a16:creationId xmlns:a16="http://schemas.microsoft.com/office/drawing/2014/main" id="{46C2E80F-49A6-4372-B103-219D417A55E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63072" y="353193"/>
            <a:ext cx="3285756" cy="4419078"/>
          </a:xfrm>
          <a:custGeom>
            <a:avLst/>
            <a:gdLst>
              <a:gd name="connsiteX0" fmla="*/ 0 w 4381009"/>
              <a:gd name="connsiteY0" fmla="*/ 0 h 5892104"/>
              <a:gd name="connsiteX1" fmla="*/ 4157628 w 4381009"/>
              <a:gd name="connsiteY1" fmla="*/ 0 h 5892104"/>
              <a:gd name="connsiteX2" fmla="*/ 4169302 w 4381009"/>
              <a:gd name="connsiteY2" fmla="*/ 68659 h 5892104"/>
              <a:gd name="connsiteX3" fmla="*/ 4191571 w 4381009"/>
              <a:gd name="connsiteY3" fmla="*/ 205472 h 5892104"/>
              <a:gd name="connsiteX4" fmla="*/ 4213368 w 4381009"/>
              <a:gd name="connsiteY4" fmla="*/ 342890 h 5892104"/>
              <a:gd name="connsiteX5" fmla="*/ 4232030 w 4381009"/>
              <a:gd name="connsiteY5" fmla="*/ 480913 h 5892104"/>
              <a:gd name="connsiteX6" fmla="*/ 4250848 w 4381009"/>
              <a:gd name="connsiteY6" fmla="*/ 618332 h 5892104"/>
              <a:gd name="connsiteX7" fmla="*/ 4268412 w 4381009"/>
              <a:gd name="connsiteY7" fmla="*/ 756355 h 5892104"/>
              <a:gd name="connsiteX8" fmla="*/ 4283467 w 4381009"/>
              <a:gd name="connsiteY8" fmla="*/ 892563 h 5892104"/>
              <a:gd name="connsiteX9" fmla="*/ 4297737 w 4381009"/>
              <a:gd name="connsiteY9" fmla="*/ 1030587 h 5892104"/>
              <a:gd name="connsiteX10" fmla="*/ 4310754 w 4381009"/>
              <a:gd name="connsiteY10" fmla="*/ 1168005 h 5892104"/>
              <a:gd name="connsiteX11" fmla="*/ 4322045 w 4381009"/>
              <a:gd name="connsiteY11" fmla="*/ 1303002 h 5892104"/>
              <a:gd name="connsiteX12" fmla="*/ 4333336 w 4381009"/>
              <a:gd name="connsiteY12" fmla="*/ 1439815 h 5892104"/>
              <a:gd name="connsiteX13" fmla="*/ 4342745 w 4381009"/>
              <a:gd name="connsiteY13" fmla="*/ 1574812 h 5892104"/>
              <a:gd name="connsiteX14" fmla="*/ 4350115 w 4381009"/>
              <a:gd name="connsiteY14" fmla="*/ 1709808 h 5892104"/>
              <a:gd name="connsiteX15" fmla="*/ 4357799 w 4381009"/>
              <a:gd name="connsiteY15" fmla="*/ 1844200 h 5892104"/>
              <a:gd name="connsiteX16" fmla="*/ 4364229 w 4381009"/>
              <a:gd name="connsiteY16" fmla="*/ 1977381 h 5892104"/>
              <a:gd name="connsiteX17" fmla="*/ 4368777 w 4381009"/>
              <a:gd name="connsiteY17" fmla="*/ 2109351 h 5892104"/>
              <a:gd name="connsiteX18" fmla="*/ 4372697 w 4381009"/>
              <a:gd name="connsiteY18" fmla="*/ 2241321 h 5892104"/>
              <a:gd name="connsiteX19" fmla="*/ 4376461 w 4381009"/>
              <a:gd name="connsiteY19" fmla="*/ 2372080 h 5892104"/>
              <a:gd name="connsiteX20" fmla="*/ 4378186 w 4381009"/>
              <a:gd name="connsiteY20" fmla="*/ 2501023 h 5892104"/>
              <a:gd name="connsiteX21" fmla="*/ 4380068 w 4381009"/>
              <a:gd name="connsiteY21" fmla="*/ 2629966 h 5892104"/>
              <a:gd name="connsiteX22" fmla="*/ 4381009 w 4381009"/>
              <a:gd name="connsiteY22" fmla="*/ 2757093 h 5892104"/>
              <a:gd name="connsiteX23" fmla="*/ 4380068 w 4381009"/>
              <a:gd name="connsiteY23" fmla="*/ 2883010 h 5892104"/>
              <a:gd name="connsiteX24" fmla="*/ 4380068 w 4381009"/>
              <a:gd name="connsiteY24" fmla="*/ 3007715 h 5892104"/>
              <a:gd name="connsiteX25" fmla="*/ 4378186 w 4381009"/>
              <a:gd name="connsiteY25" fmla="*/ 3131210 h 5892104"/>
              <a:gd name="connsiteX26" fmla="*/ 4375363 w 4381009"/>
              <a:gd name="connsiteY26" fmla="*/ 3252283 h 5892104"/>
              <a:gd name="connsiteX27" fmla="*/ 4372697 w 4381009"/>
              <a:gd name="connsiteY27" fmla="*/ 3372146 h 5892104"/>
              <a:gd name="connsiteX28" fmla="*/ 4369718 w 4381009"/>
              <a:gd name="connsiteY28" fmla="*/ 3489587 h 5892104"/>
              <a:gd name="connsiteX29" fmla="*/ 4365170 w 4381009"/>
              <a:gd name="connsiteY29" fmla="*/ 3606423 h 5892104"/>
              <a:gd name="connsiteX30" fmla="*/ 4360309 w 4381009"/>
              <a:gd name="connsiteY30" fmla="*/ 3721443 h 5892104"/>
              <a:gd name="connsiteX31" fmla="*/ 4355918 w 4381009"/>
              <a:gd name="connsiteY31" fmla="*/ 3834041 h 5892104"/>
              <a:gd name="connsiteX32" fmla="*/ 4343529 w 4381009"/>
              <a:gd name="connsiteY32" fmla="*/ 4053789 h 5892104"/>
              <a:gd name="connsiteX33" fmla="*/ 4330356 w 4381009"/>
              <a:gd name="connsiteY33" fmla="*/ 4264457 h 5892104"/>
              <a:gd name="connsiteX34" fmla="*/ 4316556 w 4381009"/>
              <a:gd name="connsiteY34" fmla="*/ 4466650 h 5892104"/>
              <a:gd name="connsiteX35" fmla="*/ 4301344 w 4381009"/>
              <a:gd name="connsiteY35" fmla="*/ 4657946 h 5892104"/>
              <a:gd name="connsiteX36" fmla="*/ 4285506 w 4381009"/>
              <a:gd name="connsiteY36" fmla="*/ 4840767 h 5892104"/>
              <a:gd name="connsiteX37" fmla="*/ 4268412 w 4381009"/>
              <a:gd name="connsiteY37" fmla="*/ 5010269 h 5892104"/>
              <a:gd name="connsiteX38" fmla="*/ 4251633 w 4381009"/>
              <a:gd name="connsiteY38" fmla="*/ 5169481 h 5892104"/>
              <a:gd name="connsiteX39" fmla="*/ 4234853 w 4381009"/>
              <a:gd name="connsiteY39" fmla="*/ 5315980 h 5892104"/>
              <a:gd name="connsiteX40" fmla="*/ 4219014 w 4381009"/>
              <a:gd name="connsiteY40" fmla="*/ 5450371 h 5892104"/>
              <a:gd name="connsiteX41" fmla="*/ 4203959 w 4381009"/>
              <a:gd name="connsiteY41" fmla="*/ 5569628 h 5892104"/>
              <a:gd name="connsiteX42" fmla="*/ 4189689 w 4381009"/>
              <a:gd name="connsiteY42" fmla="*/ 5677384 h 5892104"/>
              <a:gd name="connsiteX43" fmla="*/ 4177770 w 4381009"/>
              <a:gd name="connsiteY43" fmla="*/ 5768189 h 5892104"/>
              <a:gd name="connsiteX44" fmla="*/ 4166479 w 4381009"/>
              <a:gd name="connsiteY44" fmla="*/ 5844465 h 5892104"/>
              <a:gd name="connsiteX45" fmla="*/ 4159132 w 4381009"/>
              <a:gd name="connsiteY45" fmla="*/ 5892104 h 5892104"/>
              <a:gd name="connsiteX46" fmla="*/ 0 w 4381009"/>
              <a:gd name="connsiteY46" fmla="*/ 5892104 h 5892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4381009" h="5892104">
                <a:moveTo>
                  <a:pt x="0" y="0"/>
                </a:moveTo>
                <a:lnTo>
                  <a:pt x="4157628" y="0"/>
                </a:lnTo>
                <a:lnTo>
                  <a:pt x="4169302" y="68659"/>
                </a:lnTo>
                <a:lnTo>
                  <a:pt x="4191571" y="205472"/>
                </a:lnTo>
                <a:lnTo>
                  <a:pt x="4213368" y="342890"/>
                </a:lnTo>
                <a:lnTo>
                  <a:pt x="4232030" y="480913"/>
                </a:lnTo>
                <a:lnTo>
                  <a:pt x="4250848" y="618332"/>
                </a:lnTo>
                <a:lnTo>
                  <a:pt x="4268412" y="756355"/>
                </a:lnTo>
                <a:lnTo>
                  <a:pt x="4283467" y="892563"/>
                </a:lnTo>
                <a:lnTo>
                  <a:pt x="4297737" y="1030587"/>
                </a:lnTo>
                <a:lnTo>
                  <a:pt x="4310754" y="1168005"/>
                </a:lnTo>
                <a:lnTo>
                  <a:pt x="4322045" y="1303002"/>
                </a:lnTo>
                <a:lnTo>
                  <a:pt x="4333336" y="1439815"/>
                </a:lnTo>
                <a:lnTo>
                  <a:pt x="4342745" y="1574812"/>
                </a:lnTo>
                <a:lnTo>
                  <a:pt x="4350115" y="1709808"/>
                </a:lnTo>
                <a:lnTo>
                  <a:pt x="4357799" y="1844200"/>
                </a:lnTo>
                <a:lnTo>
                  <a:pt x="4364229" y="1977381"/>
                </a:lnTo>
                <a:lnTo>
                  <a:pt x="4368777" y="2109351"/>
                </a:lnTo>
                <a:lnTo>
                  <a:pt x="4372697" y="2241321"/>
                </a:lnTo>
                <a:lnTo>
                  <a:pt x="4376461" y="2372080"/>
                </a:lnTo>
                <a:lnTo>
                  <a:pt x="4378186" y="2501023"/>
                </a:lnTo>
                <a:lnTo>
                  <a:pt x="4380068" y="2629966"/>
                </a:lnTo>
                <a:lnTo>
                  <a:pt x="4381009" y="2757093"/>
                </a:lnTo>
                <a:lnTo>
                  <a:pt x="4380068" y="2883010"/>
                </a:lnTo>
                <a:lnTo>
                  <a:pt x="4380068" y="3007715"/>
                </a:lnTo>
                <a:lnTo>
                  <a:pt x="4378186" y="3131210"/>
                </a:lnTo>
                <a:lnTo>
                  <a:pt x="4375363" y="3252283"/>
                </a:lnTo>
                <a:lnTo>
                  <a:pt x="4372697" y="3372146"/>
                </a:lnTo>
                <a:lnTo>
                  <a:pt x="4369718" y="3489587"/>
                </a:lnTo>
                <a:lnTo>
                  <a:pt x="4365170" y="3606423"/>
                </a:lnTo>
                <a:lnTo>
                  <a:pt x="4360309" y="3721443"/>
                </a:lnTo>
                <a:lnTo>
                  <a:pt x="4355918" y="3834041"/>
                </a:lnTo>
                <a:lnTo>
                  <a:pt x="4343529" y="4053789"/>
                </a:lnTo>
                <a:lnTo>
                  <a:pt x="4330356" y="4264457"/>
                </a:lnTo>
                <a:lnTo>
                  <a:pt x="4316556" y="4466650"/>
                </a:lnTo>
                <a:lnTo>
                  <a:pt x="4301344" y="4657946"/>
                </a:lnTo>
                <a:lnTo>
                  <a:pt x="4285506" y="4840767"/>
                </a:lnTo>
                <a:lnTo>
                  <a:pt x="4268412" y="5010269"/>
                </a:lnTo>
                <a:lnTo>
                  <a:pt x="4251633" y="5169481"/>
                </a:lnTo>
                <a:lnTo>
                  <a:pt x="4234853" y="5315980"/>
                </a:lnTo>
                <a:lnTo>
                  <a:pt x="4219014" y="5450371"/>
                </a:lnTo>
                <a:lnTo>
                  <a:pt x="4203959" y="5569628"/>
                </a:lnTo>
                <a:lnTo>
                  <a:pt x="4189689" y="5677384"/>
                </a:lnTo>
                <a:lnTo>
                  <a:pt x="4177770" y="5768189"/>
                </a:lnTo>
                <a:lnTo>
                  <a:pt x="4166479" y="5844465"/>
                </a:lnTo>
                <a:lnTo>
                  <a:pt x="4159132" y="5892104"/>
                </a:lnTo>
                <a:lnTo>
                  <a:pt x="0" y="5892104"/>
                </a:lnTo>
                <a:close/>
              </a:path>
            </a:pathLst>
          </a:custGeom>
          <a:solidFill>
            <a:srgbClr val="40404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p:cNvSpPr>
            <a:spLocks noGrp="1"/>
          </p:cNvSpPr>
          <p:nvPr>
            <p:ph type="title"/>
          </p:nvPr>
        </p:nvSpPr>
        <p:spPr>
          <a:xfrm>
            <a:off x="647271" y="759003"/>
            <a:ext cx="2562119" cy="3596556"/>
          </a:xfrm>
        </p:spPr>
        <p:txBody>
          <a:bodyPr>
            <a:normAutofit/>
          </a:bodyPr>
          <a:lstStyle/>
          <a:p>
            <a:r>
              <a:rPr lang="en-US" dirty="0">
                <a:solidFill>
                  <a:srgbClr val="FFFFFF"/>
                </a:solidFill>
              </a:rPr>
              <a:t>Power User</a:t>
            </a:r>
          </a:p>
        </p:txBody>
      </p:sp>
      <p:graphicFrame>
        <p:nvGraphicFramePr>
          <p:cNvPr id="4" name="Content Placeholder 3"/>
          <p:cNvGraphicFramePr>
            <a:graphicFrameLocks noGrp="1"/>
          </p:cNvGraphicFramePr>
          <p:nvPr>
            <p:ph idx="1"/>
            <p:extLst>
              <p:ext uri="{D42A27DB-BD31-4B8C-83A1-F6EECF244321}">
                <p14:modId xmlns:p14="http://schemas.microsoft.com/office/powerpoint/2010/main" val="705803891"/>
              </p:ext>
            </p:extLst>
          </p:nvPr>
        </p:nvGraphicFramePr>
        <p:xfrm>
          <a:off x="3895725" y="353193"/>
          <a:ext cx="4885203" cy="4414069"/>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166339102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 name="Freeform: Shape 9">
            <a:extLst>
              <a:ext uri="{FF2B5EF4-FFF2-40B4-BE49-F238E27FC236}">
                <a16:creationId xmlns:a16="http://schemas.microsoft.com/office/drawing/2014/main" id="{46C2E80F-49A6-4372-B103-219D417A55E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63072" y="353193"/>
            <a:ext cx="3285756" cy="4419078"/>
          </a:xfrm>
          <a:custGeom>
            <a:avLst/>
            <a:gdLst>
              <a:gd name="connsiteX0" fmla="*/ 0 w 4381009"/>
              <a:gd name="connsiteY0" fmla="*/ 0 h 5892104"/>
              <a:gd name="connsiteX1" fmla="*/ 4157628 w 4381009"/>
              <a:gd name="connsiteY1" fmla="*/ 0 h 5892104"/>
              <a:gd name="connsiteX2" fmla="*/ 4169302 w 4381009"/>
              <a:gd name="connsiteY2" fmla="*/ 68659 h 5892104"/>
              <a:gd name="connsiteX3" fmla="*/ 4191571 w 4381009"/>
              <a:gd name="connsiteY3" fmla="*/ 205472 h 5892104"/>
              <a:gd name="connsiteX4" fmla="*/ 4213368 w 4381009"/>
              <a:gd name="connsiteY4" fmla="*/ 342890 h 5892104"/>
              <a:gd name="connsiteX5" fmla="*/ 4232030 w 4381009"/>
              <a:gd name="connsiteY5" fmla="*/ 480913 h 5892104"/>
              <a:gd name="connsiteX6" fmla="*/ 4250848 w 4381009"/>
              <a:gd name="connsiteY6" fmla="*/ 618332 h 5892104"/>
              <a:gd name="connsiteX7" fmla="*/ 4268412 w 4381009"/>
              <a:gd name="connsiteY7" fmla="*/ 756355 h 5892104"/>
              <a:gd name="connsiteX8" fmla="*/ 4283467 w 4381009"/>
              <a:gd name="connsiteY8" fmla="*/ 892563 h 5892104"/>
              <a:gd name="connsiteX9" fmla="*/ 4297737 w 4381009"/>
              <a:gd name="connsiteY9" fmla="*/ 1030587 h 5892104"/>
              <a:gd name="connsiteX10" fmla="*/ 4310754 w 4381009"/>
              <a:gd name="connsiteY10" fmla="*/ 1168005 h 5892104"/>
              <a:gd name="connsiteX11" fmla="*/ 4322045 w 4381009"/>
              <a:gd name="connsiteY11" fmla="*/ 1303002 h 5892104"/>
              <a:gd name="connsiteX12" fmla="*/ 4333336 w 4381009"/>
              <a:gd name="connsiteY12" fmla="*/ 1439815 h 5892104"/>
              <a:gd name="connsiteX13" fmla="*/ 4342745 w 4381009"/>
              <a:gd name="connsiteY13" fmla="*/ 1574812 h 5892104"/>
              <a:gd name="connsiteX14" fmla="*/ 4350115 w 4381009"/>
              <a:gd name="connsiteY14" fmla="*/ 1709808 h 5892104"/>
              <a:gd name="connsiteX15" fmla="*/ 4357799 w 4381009"/>
              <a:gd name="connsiteY15" fmla="*/ 1844200 h 5892104"/>
              <a:gd name="connsiteX16" fmla="*/ 4364229 w 4381009"/>
              <a:gd name="connsiteY16" fmla="*/ 1977381 h 5892104"/>
              <a:gd name="connsiteX17" fmla="*/ 4368777 w 4381009"/>
              <a:gd name="connsiteY17" fmla="*/ 2109351 h 5892104"/>
              <a:gd name="connsiteX18" fmla="*/ 4372697 w 4381009"/>
              <a:gd name="connsiteY18" fmla="*/ 2241321 h 5892104"/>
              <a:gd name="connsiteX19" fmla="*/ 4376461 w 4381009"/>
              <a:gd name="connsiteY19" fmla="*/ 2372080 h 5892104"/>
              <a:gd name="connsiteX20" fmla="*/ 4378186 w 4381009"/>
              <a:gd name="connsiteY20" fmla="*/ 2501023 h 5892104"/>
              <a:gd name="connsiteX21" fmla="*/ 4380068 w 4381009"/>
              <a:gd name="connsiteY21" fmla="*/ 2629966 h 5892104"/>
              <a:gd name="connsiteX22" fmla="*/ 4381009 w 4381009"/>
              <a:gd name="connsiteY22" fmla="*/ 2757093 h 5892104"/>
              <a:gd name="connsiteX23" fmla="*/ 4380068 w 4381009"/>
              <a:gd name="connsiteY23" fmla="*/ 2883010 h 5892104"/>
              <a:gd name="connsiteX24" fmla="*/ 4380068 w 4381009"/>
              <a:gd name="connsiteY24" fmla="*/ 3007715 h 5892104"/>
              <a:gd name="connsiteX25" fmla="*/ 4378186 w 4381009"/>
              <a:gd name="connsiteY25" fmla="*/ 3131210 h 5892104"/>
              <a:gd name="connsiteX26" fmla="*/ 4375363 w 4381009"/>
              <a:gd name="connsiteY26" fmla="*/ 3252283 h 5892104"/>
              <a:gd name="connsiteX27" fmla="*/ 4372697 w 4381009"/>
              <a:gd name="connsiteY27" fmla="*/ 3372146 h 5892104"/>
              <a:gd name="connsiteX28" fmla="*/ 4369718 w 4381009"/>
              <a:gd name="connsiteY28" fmla="*/ 3489587 h 5892104"/>
              <a:gd name="connsiteX29" fmla="*/ 4365170 w 4381009"/>
              <a:gd name="connsiteY29" fmla="*/ 3606423 h 5892104"/>
              <a:gd name="connsiteX30" fmla="*/ 4360309 w 4381009"/>
              <a:gd name="connsiteY30" fmla="*/ 3721443 h 5892104"/>
              <a:gd name="connsiteX31" fmla="*/ 4355918 w 4381009"/>
              <a:gd name="connsiteY31" fmla="*/ 3834041 h 5892104"/>
              <a:gd name="connsiteX32" fmla="*/ 4343529 w 4381009"/>
              <a:gd name="connsiteY32" fmla="*/ 4053789 h 5892104"/>
              <a:gd name="connsiteX33" fmla="*/ 4330356 w 4381009"/>
              <a:gd name="connsiteY33" fmla="*/ 4264457 h 5892104"/>
              <a:gd name="connsiteX34" fmla="*/ 4316556 w 4381009"/>
              <a:gd name="connsiteY34" fmla="*/ 4466650 h 5892104"/>
              <a:gd name="connsiteX35" fmla="*/ 4301344 w 4381009"/>
              <a:gd name="connsiteY35" fmla="*/ 4657946 h 5892104"/>
              <a:gd name="connsiteX36" fmla="*/ 4285506 w 4381009"/>
              <a:gd name="connsiteY36" fmla="*/ 4840767 h 5892104"/>
              <a:gd name="connsiteX37" fmla="*/ 4268412 w 4381009"/>
              <a:gd name="connsiteY37" fmla="*/ 5010269 h 5892104"/>
              <a:gd name="connsiteX38" fmla="*/ 4251633 w 4381009"/>
              <a:gd name="connsiteY38" fmla="*/ 5169481 h 5892104"/>
              <a:gd name="connsiteX39" fmla="*/ 4234853 w 4381009"/>
              <a:gd name="connsiteY39" fmla="*/ 5315980 h 5892104"/>
              <a:gd name="connsiteX40" fmla="*/ 4219014 w 4381009"/>
              <a:gd name="connsiteY40" fmla="*/ 5450371 h 5892104"/>
              <a:gd name="connsiteX41" fmla="*/ 4203959 w 4381009"/>
              <a:gd name="connsiteY41" fmla="*/ 5569628 h 5892104"/>
              <a:gd name="connsiteX42" fmla="*/ 4189689 w 4381009"/>
              <a:gd name="connsiteY42" fmla="*/ 5677384 h 5892104"/>
              <a:gd name="connsiteX43" fmla="*/ 4177770 w 4381009"/>
              <a:gd name="connsiteY43" fmla="*/ 5768189 h 5892104"/>
              <a:gd name="connsiteX44" fmla="*/ 4166479 w 4381009"/>
              <a:gd name="connsiteY44" fmla="*/ 5844465 h 5892104"/>
              <a:gd name="connsiteX45" fmla="*/ 4159132 w 4381009"/>
              <a:gd name="connsiteY45" fmla="*/ 5892104 h 5892104"/>
              <a:gd name="connsiteX46" fmla="*/ 0 w 4381009"/>
              <a:gd name="connsiteY46" fmla="*/ 5892104 h 5892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4381009" h="5892104">
                <a:moveTo>
                  <a:pt x="0" y="0"/>
                </a:moveTo>
                <a:lnTo>
                  <a:pt x="4157628" y="0"/>
                </a:lnTo>
                <a:lnTo>
                  <a:pt x="4169302" y="68659"/>
                </a:lnTo>
                <a:lnTo>
                  <a:pt x="4191571" y="205472"/>
                </a:lnTo>
                <a:lnTo>
                  <a:pt x="4213368" y="342890"/>
                </a:lnTo>
                <a:lnTo>
                  <a:pt x="4232030" y="480913"/>
                </a:lnTo>
                <a:lnTo>
                  <a:pt x="4250848" y="618332"/>
                </a:lnTo>
                <a:lnTo>
                  <a:pt x="4268412" y="756355"/>
                </a:lnTo>
                <a:lnTo>
                  <a:pt x="4283467" y="892563"/>
                </a:lnTo>
                <a:lnTo>
                  <a:pt x="4297737" y="1030587"/>
                </a:lnTo>
                <a:lnTo>
                  <a:pt x="4310754" y="1168005"/>
                </a:lnTo>
                <a:lnTo>
                  <a:pt x="4322045" y="1303002"/>
                </a:lnTo>
                <a:lnTo>
                  <a:pt x="4333336" y="1439815"/>
                </a:lnTo>
                <a:lnTo>
                  <a:pt x="4342745" y="1574812"/>
                </a:lnTo>
                <a:lnTo>
                  <a:pt x="4350115" y="1709808"/>
                </a:lnTo>
                <a:lnTo>
                  <a:pt x="4357799" y="1844200"/>
                </a:lnTo>
                <a:lnTo>
                  <a:pt x="4364229" y="1977381"/>
                </a:lnTo>
                <a:lnTo>
                  <a:pt x="4368777" y="2109351"/>
                </a:lnTo>
                <a:lnTo>
                  <a:pt x="4372697" y="2241321"/>
                </a:lnTo>
                <a:lnTo>
                  <a:pt x="4376461" y="2372080"/>
                </a:lnTo>
                <a:lnTo>
                  <a:pt x="4378186" y="2501023"/>
                </a:lnTo>
                <a:lnTo>
                  <a:pt x="4380068" y="2629966"/>
                </a:lnTo>
                <a:lnTo>
                  <a:pt x="4381009" y="2757093"/>
                </a:lnTo>
                <a:lnTo>
                  <a:pt x="4380068" y="2883010"/>
                </a:lnTo>
                <a:lnTo>
                  <a:pt x="4380068" y="3007715"/>
                </a:lnTo>
                <a:lnTo>
                  <a:pt x="4378186" y="3131210"/>
                </a:lnTo>
                <a:lnTo>
                  <a:pt x="4375363" y="3252283"/>
                </a:lnTo>
                <a:lnTo>
                  <a:pt x="4372697" y="3372146"/>
                </a:lnTo>
                <a:lnTo>
                  <a:pt x="4369718" y="3489587"/>
                </a:lnTo>
                <a:lnTo>
                  <a:pt x="4365170" y="3606423"/>
                </a:lnTo>
                <a:lnTo>
                  <a:pt x="4360309" y="3721443"/>
                </a:lnTo>
                <a:lnTo>
                  <a:pt x="4355918" y="3834041"/>
                </a:lnTo>
                <a:lnTo>
                  <a:pt x="4343529" y="4053789"/>
                </a:lnTo>
                <a:lnTo>
                  <a:pt x="4330356" y="4264457"/>
                </a:lnTo>
                <a:lnTo>
                  <a:pt x="4316556" y="4466650"/>
                </a:lnTo>
                <a:lnTo>
                  <a:pt x="4301344" y="4657946"/>
                </a:lnTo>
                <a:lnTo>
                  <a:pt x="4285506" y="4840767"/>
                </a:lnTo>
                <a:lnTo>
                  <a:pt x="4268412" y="5010269"/>
                </a:lnTo>
                <a:lnTo>
                  <a:pt x="4251633" y="5169481"/>
                </a:lnTo>
                <a:lnTo>
                  <a:pt x="4234853" y="5315980"/>
                </a:lnTo>
                <a:lnTo>
                  <a:pt x="4219014" y="5450371"/>
                </a:lnTo>
                <a:lnTo>
                  <a:pt x="4203959" y="5569628"/>
                </a:lnTo>
                <a:lnTo>
                  <a:pt x="4189689" y="5677384"/>
                </a:lnTo>
                <a:lnTo>
                  <a:pt x="4177770" y="5768189"/>
                </a:lnTo>
                <a:lnTo>
                  <a:pt x="4166479" y="5844465"/>
                </a:lnTo>
                <a:lnTo>
                  <a:pt x="4159132" y="5892104"/>
                </a:lnTo>
                <a:lnTo>
                  <a:pt x="0" y="5892104"/>
                </a:lnTo>
                <a:close/>
              </a:path>
            </a:pathLst>
          </a:custGeom>
          <a:solidFill>
            <a:srgbClr val="40404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C9775FF8-7234-4DC4-B692-6D7680348A15}"/>
              </a:ext>
            </a:extLst>
          </p:cNvPr>
          <p:cNvSpPr>
            <a:spLocks noGrp="1"/>
          </p:cNvSpPr>
          <p:nvPr>
            <p:ph type="title"/>
          </p:nvPr>
        </p:nvSpPr>
        <p:spPr>
          <a:xfrm>
            <a:off x="647271" y="759003"/>
            <a:ext cx="2562119" cy="3596556"/>
          </a:xfrm>
        </p:spPr>
        <p:txBody>
          <a:bodyPr>
            <a:normAutofit/>
          </a:bodyPr>
          <a:lstStyle/>
          <a:p>
            <a:r>
              <a:rPr lang="en-US" sz="3200" dirty="0">
                <a:solidFill>
                  <a:srgbClr val="FFFFFF"/>
                </a:solidFill>
              </a:rPr>
              <a:t>Administrator</a:t>
            </a:r>
          </a:p>
        </p:txBody>
      </p:sp>
      <p:graphicFrame>
        <p:nvGraphicFramePr>
          <p:cNvPr id="5" name="Content Placeholder 2">
            <a:extLst>
              <a:ext uri="{FF2B5EF4-FFF2-40B4-BE49-F238E27FC236}">
                <a16:creationId xmlns:a16="http://schemas.microsoft.com/office/drawing/2014/main" id="{27BC0BE9-859D-46E6-A8FB-AFC317FAAF33}"/>
              </a:ext>
            </a:extLst>
          </p:cNvPr>
          <p:cNvGraphicFramePr>
            <a:graphicFrameLocks noGrp="1"/>
          </p:cNvGraphicFramePr>
          <p:nvPr>
            <p:ph idx="1"/>
            <p:extLst>
              <p:ext uri="{D42A27DB-BD31-4B8C-83A1-F6EECF244321}">
                <p14:modId xmlns:p14="http://schemas.microsoft.com/office/powerpoint/2010/main" val="337597912"/>
              </p:ext>
            </p:extLst>
          </p:nvPr>
        </p:nvGraphicFramePr>
        <p:xfrm>
          <a:off x="3895725" y="353193"/>
          <a:ext cx="4885203" cy="4414069"/>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400030261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6</TotalTime>
  <Words>1330</Words>
  <Application>Microsoft Office PowerPoint</Application>
  <PresentationFormat>On-screen Show (16:9)</PresentationFormat>
  <Paragraphs>397</Paragraphs>
  <Slides>48</Slides>
  <Notes>5</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48</vt:i4>
      </vt:variant>
    </vt:vector>
  </HeadingPairs>
  <TitlesOfParts>
    <vt:vector size="56" baseType="lpstr">
      <vt:lpstr>Arial</vt:lpstr>
      <vt:lpstr>Calibri</vt:lpstr>
      <vt:lpstr>Segoe Light</vt:lpstr>
      <vt:lpstr>Segoe UI</vt:lpstr>
      <vt:lpstr>Segoe UI Semibold</vt:lpstr>
      <vt:lpstr>Segoe UI Semilight</vt:lpstr>
      <vt:lpstr>Office Theme</vt:lpstr>
      <vt:lpstr>think-cell Slide</vt:lpstr>
      <vt:lpstr>Dynamics 365: Learning what you need</vt:lpstr>
      <vt:lpstr>Mitch Milam</vt:lpstr>
      <vt:lpstr>Dynamics 365 Training</vt:lpstr>
      <vt:lpstr>Getting Started</vt:lpstr>
      <vt:lpstr>PowerPoint Presentation</vt:lpstr>
      <vt:lpstr>Stages of Knowledge (for Dynamics 365)</vt:lpstr>
      <vt:lpstr>End User</vt:lpstr>
      <vt:lpstr>Power User</vt:lpstr>
      <vt:lpstr>Administrator</vt:lpstr>
      <vt:lpstr>Customizer</vt:lpstr>
      <vt:lpstr>Developer</vt:lpstr>
      <vt:lpstr>Architect</vt:lpstr>
      <vt:lpstr>Education</vt:lpstr>
      <vt:lpstr>PowerPoint Presentation</vt:lpstr>
      <vt:lpstr>PowerPoint Presentation</vt:lpstr>
      <vt:lpstr>Resource Types</vt:lpstr>
      <vt:lpstr>Useful Web Sites</vt:lpstr>
      <vt:lpstr>My Training Resources  xrmcoaches.com</vt:lpstr>
      <vt:lpstr>Help &amp; Training</vt:lpstr>
      <vt:lpstr>Define Your Path</vt:lpstr>
      <vt:lpstr>Define Your Main Goal</vt:lpstr>
      <vt:lpstr>Functional Curve</vt:lpstr>
      <vt:lpstr>Learn By Function</vt:lpstr>
      <vt:lpstr>The Microsoft Cloud </vt:lpstr>
      <vt:lpstr>The Dynamics 365 approach to AI </vt:lpstr>
      <vt:lpstr>What if we applied AI &amp; BI to your sales journey…</vt:lpstr>
      <vt:lpstr>Don’t be overwhelmed</vt:lpstr>
      <vt:lpstr>Certification as a Guide</vt:lpstr>
      <vt:lpstr>Sample Learning Plan</vt:lpstr>
      <vt:lpstr>And Don’t Forget…</vt:lpstr>
      <vt:lpstr>Tips and Tricks</vt:lpstr>
      <vt:lpstr>Learning in a Nutshell</vt:lpstr>
      <vt:lpstr>Exams and Certifications</vt:lpstr>
      <vt:lpstr>Current Exam List</vt:lpstr>
      <vt:lpstr>Certifications</vt:lpstr>
      <vt:lpstr>Power Apps + Dynamics 365 Solution Architect Expert</vt:lpstr>
      <vt:lpstr>Finance and Operations Apps Solution Architect Expert</vt:lpstr>
      <vt:lpstr>Mitch’s Exam History</vt:lpstr>
      <vt:lpstr>Study Tips and Tricks</vt:lpstr>
      <vt:lpstr>Study Tips and Tricks</vt:lpstr>
      <vt:lpstr>Testing Tips</vt:lpstr>
      <vt:lpstr>Deliberate Practice</vt:lpstr>
      <vt:lpstr>PowerPoint Presentation</vt:lpstr>
      <vt:lpstr>PowerPoint Presentation</vt:lpstr>
      <vt:lpstr>What about a test environment?</vt:lpstr>
      <vt:lpstr>How To Ask For Help</vt:lpstr>
      <vt:lpstr>Questions?</vt:lpstr>
      <vt:lpstr>Thank You</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ynamics 365: Learning what you need</dc:title>
  <dc:creator>Mitch Milam</dc:creator>
  <cp:lastModifiedBy>Mitch Milam</cp:lastModifiedBy>
  <cp:revision>2</cp:revision>
  <dcterms:created xsi:type="dcterms:W3CDTF">2020-04-03T13:45:47Z</dcterms:created>
  <dcterms:modified xsi:type="dcterms:W3CDTF">2020-04-03T13:52:14Z</dcterms:modified>
</cp:coreProperties>
</file>